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presentation.xml" ContentType="application/vnd.openxmlformats-officedocument.presentationml.presentation.main+xml"/>
  <Override PartName="/ppt/diagrams/data6.xml" ContentType="application/vnd.openxmlformats-officedocument.drawingml.diagramData+xml"/>
  <Override PartName="/ppt/diagrams/data5.xml" ContentType="application/vnd.openxmlformats-officedocument.drawingml.diagramData+xml"/>
  <Override PartName="/ppt/diagrams/data4.xml" ContentType="application/vnd.openxmlformats-officedocument.drawingml.diagramData+xml"/>
  <Override PartName="/ppt/diagrams/data3.xml" ContentType="application/vnd.openxmlformats-officedocument.drawingml.diagramData+xml"/>
  <Override PartName="/ppt/diagrams/data2.xml" ContentType="application/vnd.openxmlformats-officedocument.drawingml.diagramData+xml"/>
  <Override PartName="/ppt/diagrams/data1.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13.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65.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commentAuthors.xml" ContentType="application/vnd.openxmlformats-officedocument.presentationml.commentAuthors+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4.xml" ContentType="application/vnd.openxmlformats-officedocument.theme+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heme/theme5.xml" ContentType="application/vnd.openxmlformats-officedocument.theme+xml"/>
  <Override PartName="/ppt/theme/theme6.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3.xml" ContentType="application/vnd.openxmlformats-officedocument.presentationml.tags+xml"/>
  <Override PartName="/ppt/tags/tag7.xml" ContentType="application/vnd.openxmlformats-officedocument.presentationml.tags+xml"/>
  <Override PartName="/docProps/custom.xml" ContentType="application/vnd.openxmlformats-officedocument.custom-properties+xml"/>
  <Override PartName="/docMetadata/LabelInfo.xml" ContentType="application/vnd.ms-office.classificationlabels+xml"/>
  <Override PartName="/ppt/tags/tag9.xml" ContentType="application/vnd.openxmlformats-officedocument.presentationml.tags+xml"/>
  <Override PartName="/docProps/core.xml" ContentType="application/vnd.openxmlformats-package.core-properties+xml"/>
  <Override PartName="/ppt/revisionInfo.xml" ContentType="application/vnd.ms-powerpoint.revisioninfo+xml"/>
  <Override PartName="/ppt/tags/tag8.xml" ContentType="application/vnd.openxmlformats-officedocument.presentationml.tags+xml"/>
  <Override PartName="/ppt/tags/tag6.xml" ContentType="application/vnd.openxmlformats-officedocument.presentationml.tag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1"/>
    <p:sldMasterId id="2147483717" r:id="rId2"/>
    <p:sldMasterId id="2147483733" r:id="rId3"/>
    <p:sldMasterId id="2147483767" r:id="rId4"/>
  </p:sldMasterIdLst>
  <p:notesMasterIdLst>
    <p:notesMasterId r:id="rId42"/>
  </p:notesMasterIdLst>
  <p:handoutMasterIdLst>
    <p:handoutMasterId r:id="rId43"/>
  </p:handoutMasterIdLst>
  <p:sldIdLst>
    <p:sldId id="265" r:id="rId5"/>
    <p:sldId id="356" r:id="rId6"/>
    <p:sldId id="328" r:id="rId7"/>
    <p:sldId id="331" r:id="rId8"/>
    <p:sldId id="2145709512" r:id="rId9"/>
    <p:sldId id="2145709513" r:id="rId10"/>
    <p:sldId id="359" r:id="rId11"/>
    <p:sldId id="330" r:id="rId12"/>
    <p:sldId id="332" r:id="rId13"/>
    <p:sldId id="347" r:id="rId14"/>
    <p:sldId id="353" r:id="rId15"/>
    <p:sldId id="360" r:id="rId16"/>
    <p:sldId id="2145709514" r:id="rId17"/>
    <p:sldId id="2050" r:id="rId18"/>
    <p:sldId id="283" r:id="rId19"/>
    <p:sldId id="2145709521" r:id="rId20"/>
    <p:sldId id="2145709522" r:id="rId21"/>
    <p:sldId id="2145708004" r:id="rId22"/>
    <p:sldId id="2145707998" r:id="rId23"/>
    <p:sldId id="2145708000" r:id="rId24"/>
    <p:sldId id="1859" r:id="rId25"/>
    <p:sldId id="2145707987" r:id="rId26"/>
    <p:sldId id="2145709515" r:id="rId27"/>
    <p:sldId id="362" r:id="rId28"/>
    <p:sldId id="322" r:id="rId29"/>
    <p:sldId id="342" r:id="rId30"/>
    <p:sldId id="2145709516" r:id="rId31"/>
    <p:sldId id="1811" r:id="rId32"/>
    <p:sldId id="1812" r:id="rId33"/>
    <p:sldId id="2145709517" r:id="rId34"/>
    <p:sldId id="2145709518" r:id="rId35"/>
    <p:sldId id="2145709519" r:id="rId36"/>
    <p:sldId id="2145709520" r:id="rId37"/>
    <p:sldId id="2145709511" r:id="rId38"/>
    <p:sldId id="1631" r:id="rId39"/>
    <p:sldId id="333" r:id="rId40"/>
    <p:sldId id="325" r:id="rId4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2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s Hartley          Transnet Freight Rail   PTA" initials="RHTFRP" lastIdx="3" clrIdx="0">
    <p:extLst>
      <p:ext uri="{19B8F6BF-5375-455C-9EA6-DF929625EA0E}">
        <p15:presenceInfo xmlns:p15="http://schemas.microsoft.com/office/powerpoint/2012/main" userId="S-1-5-21-1640810889-138994040-1532301402-360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2313"/>
    <a:srgbClr val="E0E0D0"/>
    <a:srgbClr val="F0F0E9"/>
    <a:srgbClr val="6F90A7"/>
    <a:srgbClr val="E77F00"/>
    <a:srgbClr val="C2BBAD"/>
    <a:srgbClr val="69614E"/>
    <a:srgbClr val="A1A250"/>
    <a:srgbClr val="A2AA3D"/>
    <a:srgbClr val="84B5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8886F2-EF41-4E70-A9F7-8826D0634C83}" v="234" dt="2025-11-15T17:39:15.3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47" autoAdjust="0"/>
    <p:restoredTop sz="94660"/>
  </p:normalViewPr>
  <p:slideViewPr>
    <p:cSldViewPr snapToGrid="0" showGuides="1">
      <p:cViewPr varScale="1">
        <p:scale>
          <a:sx n="63" d="100"/>
          <a:sy n="63" d="100"/>
        </p:scale>
        <p:origin x="796" y="32"/>
      </p:cViewPr>
      <p:guideLst>
        <p:guide orient="horz" pos="2523"/>
        <p:guide pos="3840"/>
      </p:guideLst>
    </p:cSldViewPr>
  </p:slideViewPr>
  <p:notesTextViewPr>
    <p:cViewPr>
      <p:scale>
        <a:sx n="1" d="1"/>
        <a:sy n="1" d="1"/>
      </p:scale>
      <p:origin x="0" y="0"/>
    </p:cViewPr>
  </p:notesTextViewPr>
  <p:sorterViewPr>
    <p:cViewPr>
      <p:scale>
        <a:sx n="100" d="100"/>
        <a:sy n="100" d="100"/>
      </p:scale>
      <p:origin x="0" y="-1308"/>
    </p:cViewPr>
  </p:sorterViewPr>
  <p:notesViewPr>
    <p:cSldViewPr snapToGrid="0" showGuides="1">
      <p:cViewPr varScale="1">
        <p:scale>
          <a:sx n="54" d="100"/>
          <a:sy n="54" d="100"/>
        </p:scale>
        <p:origin x="2562"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50" Type="http://schemas.openxmlformats.org/officeDocument/2006/relationships/customXml" Target="../customXml/item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52" Type="http://schemas.openxmlformats.org/officeDocument/2006/relationships/customXml" Target="../customXml/item3.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customXml" Target="../customXml/item2.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1B75FB-EADE-4596-8072-FB878393BD43}" type="doc">
      <dgm:prSet loTypeId="urn:microsoft.com/office/officeart/2005/8/layout/vList2" loCatId="list" qsTypeId="urn:microsoft.com/office/officeart/2005/8/quickstyle/simple1" qsCatId="simple" csTypeId="urn:microsoft.com/office/officeart/2005/8/colors/accent1_1" csCatId="accent1"/>
      <dgm:spPr/>
      <dgm:t>
        <a:bodyPr/>
        <a:lstStyle/>
        <a:p>
          <a:endParaRPr lang="en-ZA"/>
        </a:p>
      </dgm:t>
    </dgm:pt>
    <dgm:pt modelId="{176B917D-FB2E-426A-A035-3EAA90C6730A}">
      <dgm:prSet/>
      <dgm:spPr/>
      <dgm:t>
        <a:bodyPr/>
        <a:lstStyle/>
        <a:p>
          <a:r>
            <a:rPr lang="en-US"/>
            <a:t>The off-shelf equipment should be delivered in 6 months within the current financial year and the equipment that requires customisation should be delivered before the end of the financial year 2027/28. Transnet reserve the right to withdraw the contract at no cost provided the contractor fails to deliver the first track bulldozer within the specified time frame. Table below indicate the high-level project deliverables.</a:t>
          </a:r>
          <a:endParaRPr lang="en-ZA"/>
        </a:p>
      </dgm:t>
    </dgm:pt>
    <dgm:pt modelId="{B725125B-1F27-452C-A43C-42E5AD40491C}" type="parTrans" cxnId="{E1B81F2B-0566-4570-AD6B-DCD564180BD9}">
      <dgm:prSet/>
      <dgm:spPr/>
      <dgm:t>
        <a:bodyPr/>
        <a:lstStyle/>
        <a:p>
          <a:endParaRPr lang="en-ZA"/>
        </a:p>
      </dgm:t>
    </dgm:pt>
    <dgm:pt modelId="{6E80AE17-A057-422A-8344-A8A251D36C97}" type="sibTrans" cxnId="{E1B81F2B-0566-4570-AD6B-DCD564180BD9}">
      <dgm:prSet/>
      <dgm:spPr/>
      <dgm:t>
        <a:bodyPr/>
        <a:lstStyle/>
        <a:p>
          <a:endParaRPr lang="en-ZA"/>
        </a:p>
      </dgm:t>
    </dgm:pt>
    <dgm:pt modelId="{248502C0-9439-4CB5-B72D-727B9EA5C07C}" type="pres">
      <dgm:prSet presAssocID="{161B75FB-EADE-4596-8072-FB878393BD43}" presName="linear" presStyleCnt="0">
        <dgm:presLayoutVars>
          <dgm:animLvl val="lvl"/>
          <dgm:resizeHandles val="exact"/>
        </dgm:presLayoutVars>
      </dgm:prSet>
      <dgm:spPr/>
    </dgm:pt>
    <dgm:pt modelId="{84033794-6589-4E87-868E-05421DE3610C}" type="pres">
      <dgm:prSet presAssocID="{176B917D-FB2E-426A-A035-3EAA90C6730A}" presName="parentText" presStyleLbl="node1" presStyleIdx="0" presStyleCnt="1">
        <dgm:presLayoutVars>
          <dgm:chMax val="0"/>
          <dgm:bulletEnabled val="1"/>
        </dgm:presLayoutVars>
      </dgm:prSet>
      <dgm:spPr/>
    </dgm:pt>
  </dgm:ptLst>
  <dgm:cxnLst>
    <dgm:cxn modelId="{E1B81F2B-0566-4570-AD6B-DCD564180BD9}" srcId="{161B75FB-EADE-4596-8072-FB878393BD43}" destId="{176B917D-FB2E-426A-A035-3EAA90C6730A}" srcOrd="0" destOrd="0" parTransId="{B725125B-1F27-452C-A43C-42E5AD40491C}" sibTransId="{6E80AE17-A057-422A-8344-A8A251D36C97}"/>
    <dgm:cxn modelId="{64077E88-2055-473C-A215-2394B7E9EB49}" type="presOf" srcId="{161B75FB-EADE-4596-8072-FB878393BD43}" destId="{248502C0-9439-4CB5-B72D-727B9EA5C07C}" srcOrd="0" destOrd="0" presId="urn:microsoft.com/office/officeart/2005/8/layout/vList2"/>
    <dgm:cxn modelId="{367513B7-E7F5-42C6-A226-58645AF579F3}" type="presOf" srcId="{176B917D-FB2E-426A-A035-3EAA90C6730A}" destId="{84033794-6589-4E87-868E-05421DE3610C}" srcOrd="0" destOrd="0" presId="urn:microsoft.com/office/officeart/2005/8/layout/vList2"/>
    <dgm:cxn modelId="{342556B5-29D5-4CFE-BA28-BE9C8C988CE9}" type="presParOf" srcId="{248502C0-9439-4CB5-B72D-727B9EA5C07C}" destId="{84033794-6589-4E87-868E-05421DE3610C}"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86B526-FB15-488D-B926-C06C127FEC4F}"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ZA"/>
        </a:p>
      </dgm:t>
    </dgm:pt>
    <dgm:pt modelId="{16438022-6EBC-4214-9AA2-37D3DB3F6BCE}">
      <dgm:prSet/>
      <dgm:spPr/>
      <dgm:t>
        <a:bodyPr/>
        <a:lstStyle/>
        <a:p>
          <a:r>
            <a:rPr lang="en-US" dirty="0"/>
            <a:t>The recovery track bulldozers are used in a derailment site to lift or pull the wagons away from the rail track if the wagon is damaged. And if the wagon can still be used, the track bulldozers assist in putting the wagon back on track. Normally the track bulldozers are operated in pairs of 2 depending on each scenario to pull the rolling stock. The technical requirement for the track bulldozers is outlined in the attached specification in </a:t>
          </a:r>
          <a:r>
            <a:rPr lang="en-US" b="1" dirty="0"/>
            <a:t>Annexure A</a:t>
          </a:r>
          <a:r>
            <a:rPr lang="en-US" dirty="0"/>
            <a:t>:</a:t>
          </a:r>
          <a:endParaRPr lang="en-ZA" dirty="0"/>
        </a:p>
      </dgm:t>
    </dgm:pt>
    <dgm:pt modelId="{036ADF1B-2341-4F75-8504-18148AB46CC0}" type="parTrans" cxnId="{362EE13A-9F57-4DC3-B3A1-BEB74B693DC3}">
      <dgm:prSet/>
      <dgm:spPr/>
      <dgm:t>
        <a:bodyPr/>
        <a:lstStyle/>
        <a:p>
          <a:endParaRPr lang="en-ZA"/>
        </a:p>
      </dgm:t>
    </dgm:pt>
    <dgm:pt modelId="{08E1B62F-A82F-423D-B9BE-927F945939E9}" type="sibTrans" cxnId="{362EE13A-9F57-4DC3-B3A1-BEB74B693DC3}">
      <dgm:prSet/>
      <dgm:spPr/>
      <dgm:t>
        <a:bodyPr/>
        <a:lstStyle/>
        <a:p>
          <a:endParaRPr lang="en-ZA"/>
        </a:p>
      </dgm:t>
    </dgm:pt>
    <dgm:pt modelId="{D2BC66CA-0A6C-45CC-A5FC-C9BD052A9634}" type="pres">
      <dgm:prSet presAssocID="{0986B526-FB15-488D-B926-C06C127FEC4F}" presName="linear" presStyleCnt="0">
        <dgm:presLayoutVars>
          <dgm:animLvl val="lvl"/>
          <dgm:resizeHandles val="exact"/>
        </dgm:presLayoutVars>
      </dgm:prSet>
      <dgm:spPr/>
    </dgm:pt>
    <dgm:pt modelId="{4BB75BFB-73FC-4594-9DAF-EB5598C89933}" type="pres">
      <dgm:prSet presAssocID="{16438022-6EBC-4214-9AA2-37D3DB3F6BCE}" presName="parentText" presStyleLbl="node1" presStyleIdx="0" presStyleCnt="1" custScaleY="121197">
        <dgm:presLayoutVars>
          <dgm:chMax val="0"/>
          <dgm:bulletEnabled val="1"/>
        </dgm:presLayoutVars>
      </dgm:prSet>
      <dgm:spPr/>
    </dgm:pt>
  </dgm:ptLst>
  <dgm:cxnLst>
    <dgm:cxn modelId="{1A247213-F7E0-4DE3-BD48-AD79832D5AA1}" type="presOf" srcId="{16438022-6EBC-4214-9AA2-37D3DB3F6BCE}" destId="{4BB75BFB-73FC-4594-9DAF-EB5598C89933}" srcOrd="0" destOrd="0" presId="urn:microsoft.com/office/officeart/2005/8/layout/vList2"/>
    <dgm:cxn modelId="{E37F2736-D03D-436B-8AF0-2295176D4186}" type="presOf" srcId="{0986B526-FB15-488D-B926-C06C127FEC4F}" destId="{D2BC66CA-0A6C-45CC-A5FC-C9BD052A9634}" srcOrd="0" destOrd="0" presId="urn:microsoft.com/office/officeart/2005/8/layout/vList2"/>
    <dgm:cxn modelId="{362EE13A-9F57-4DC3-B3A1-BEB74B693DC3}" srcId="{0986B526-FB15-488D-B926-C06C127FEC4F}" destId="{16438022-6EBC-4214-9AA2-37D3DB3F6BCE}" srcOrd="0" destOrd="0" parTransId="{036ADF1B-2341-4F75-8504-18148AB46CC0}" sibTransId="{08E1B62F-A82F-423D-B9BE-927F945939E9}"/>
    <dgm:cxn modelId="{50CFFD2A-A3F9-429E-AD8E-140E969A9218}" type="presParOf" srcId="{D2BC66CA-0A6C-45CC-A5FC-C9BD052A9634}" destId="{4BB75BFB-73FC-4594-9DAF-EB5598C8993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21CBA03-1DF1-4BFD-9AB3-E838AB39019E}" type="doc">
      <dgm:prSet loTypeId="urn:microsoft.com/office/officeart/2005/8/layout/vList2" loCatId="list" qsTypeId="urn:microsoft.com/office/officeart/2005/8/quickstyle/simple1" qsCatId="simple" csTypeId="urn:microsoft.com/office/officeart/2005/8/colors/accent3_5" csCatId="accent3"/>
      <dgm:spPr/>
      <dgm:t>
        <a:bodyPr/>
        <a:lstStyle/>
        <a:p>
          <a:endParaRPr lang="en-ZA"/>
        </a:p>
      </dgm:t>
    </dgm:pt>
    <dgm:pt modelId="{905C5BFC-899E-48C3-AE95-A2FDE3E59AF8}">
      <dgm:prSet/>
      <dgm:spPr/>
      <dgm:t>
        <a:bodyPr/>
        <a:lstStyle/>
        <a:p>
          <a:r>
            <a:rPr lang="en-US" b="0" i="0" baseline="0"/>
            <a:t>The excavators are used in a derailment site to put back the commodity into the wagon in case of a spillage and to offload the commodity from the derailed wagon in a case where the wagon is totally damaged. The lowbed trailers will be used to transport excavators and track bulldozers via road. The technical requirements for excavators and lowbed trailers are as per the attached specification in Annexure A:</a:t>
          </a:r>
          <a:endParaRPr lang="en-ZA"/>
        </a:p>
      </dgm:t>
    </dgm:pt>
    <dgm:pt modelId="{05E64E58-5723-41B1-AB85-2D306C6A5616}" type="parTrans" cxnId="{DFB206BC-B1D8-4FCF-8DA5-F5BEBB350BBE}">
      <dgm:prSet/>
      <dgm:spPr/>
      <dgm:t>
        <a:bodyPr/>
        <a:lstStyle/>
        <a:p>
          <a:endParaRPr lang="en-ZA"/>
        </a:p>
      </dgm:t>
    </dgm:pt>
    <dgm:pt modelId="{E44B1AF9-3801-4157-B0AD-D8F0AA337108}" type="sibTrans" cxnId="{DFB206BC-B1D8-4FCF-8DA5-F5BEBB350BBE}">
      <dgm:prSet/>
      <dgm:spPr/>
      <dgm:t>
        <a:bodyPr/>
        <a:lstStyle/>
        <a:p>
          <a:endParaRPr lang="en-ZA"/>
        </a:p>
      </dgm:t>
    </dgm:pt>
    <dgm:pt modelId="{F3D6DCBA-6607-43CB-B744-CA36F7B2A08E}" type="pres">
      <dgm:prSet presAssocID="{921CBA03-1DF1-4BFD-9AB3-E838AB39019E}" presName="linear" presStyleCnt="0">
        <dgm:presLayoutVars>
          <dgm:animLvl val="lvl"/>
          <dgm:resizeHandles val="exact"/>
        </dgm:presLayoutVars>
      </dgm:prSet>
      <dgm:spPr/>
    </dgm:pt>
    <dgm:pt modelId="{B69FADE4-A07A-4D4F-82B4-942019CBC0A0}" type="pres">
      <dgm:prSet presAssocID="{905C5BFC-899E-48C3-AE95-A2FDE3E59AF8}" presName="parentText" presStyleLbl="node1" presStyleIdx="0" presStyleCnt="1">
        <dgm:presLayoutVars>
          <dgm:chMax val="0"/>
          <dgm:bulletEnabled val="1"/>
        </dgm:presLayoutVars>
      </dgm:prSet>
      <dgm:spPr/>
    </dgm:pt>
  </dgm:ptLst>
  <dgm:cxnLst>
    <dgm:cxn modelId="{65A63698-380A-4901-B07A-6561FF81C326}" type="presOf" srcId="{921CBA03-1DF1-4BFD-9AB3-E838AB39019E}" destId="{F3D6DCBA-6607-43CB-B744-CA36F7B2A08E}" srcOrd="0" destOrd="0" presId="urn:microsoft.com/office/officeart/2005/8/layout/vList2"/>
    <dgm:cxn modelId="{DFB206BC-B1D8-4FCF-8DA5-F5BEBB350BBE}" srcId="{921CBA03-1DF1-4BFD-9AB3-E838AB39019E}" destId="{905C5BFC-899E-48C3-AE95-A2FDE3E59AF8}" srcOrd="0" destOrd="0" parTransId="{05E64E58-5723-41B1-AB85-2D306C6A5616}" sibTransId="{E44B1AF9-3801-4157-B0AD-D8F0AA337108}"/>
    <dgm:cxn modelId="{A7EBD5F2-BF30-4A33-A297-EB3B7E9DA4BF}" type="presOf" srcId="{905C5BFC-899E-48C3-AE95-A2FDE3E59AF8}" destId="{B69FADE4-A07A-4D4F-82B4-942019CBC0A0}" srcOrd="0" destOrd="0" presId="urn:microsoft.com/office/officeart/2005/8/layout/vList2"/>
    <dgm:cxn modelId="{7BA61FA0-D84F-4520-A1AD-1DCAD371F80E}" type="presParOf" srcId="{F3D6DCBA-6607-43CB-B744-CA36F7B2A08E}" destId="{B69FADE4-A07A-4D4F-82B4-942019CBC0A0}"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7E4A236-210D-4286-AF86-66F56C3A176E}"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ZA"/>
        </a:p>
      </dgm:t>
    </dgm:pt>
    <dgm:pt modelId="{9C85D78F-55CD-44DB-BC8B-99A9D6752A05}">
      <dgm:prSet/>
      <dgm:spPr/>
      <dgm:t>
        <a:bodyPr/>
        <a:lstStyle/>
        <a:p>
          <a:r>
            <a:rPr lang="en-US" dirty="0"/>
            <a:t>The excavators, low bed trailer and track bulldozers should be easy to maintain and the spares parts should be available for maintenance and sustainability with a proven local technical support availability.</a:t>
          </a:r>
          <a:endParaRPr lang="en-ZA" dirty="0"/>
        </a:p>
      </dgm:t>
    </dgm:pt>
    <dgm:pt modelId="{A6104F05-244C-4DDA-8C6E-6800EF99B11A}" type="parTrans" cxnId="{D5C88A8D-06A6-4F63-8937-E4B820901E68}">
      <dgm:prSet/>
      <dgm:spPr/>
      <dgm:t>
        <a:bodyPr/>
        <a:lstStyle/>
        <a:p>
          <a:endParaRPr lang="en-ZA"/>
        </a:p>
      </dgm:t>
    </dgm:pt>
    <dgm:pt modelId="{6BD13D86-EEE6-495D-B2CF-433B1220BB05}" type="sibTrans" cxnId="{D5C88A8D-06A6-4F63-8937-E4B820901E68}">
      <dgm:prSet/>
      <dgm:spPr/>
      <dgm:t>
        <a:bodyPr/>
        <a:lstStyle/>
        <a:p>
          <a:endParaRPr lang="en-ZA"/>
        </a:p>
      </dgm:t>
    </dgm:pt>
    <dgm:pt modelId="{5B5E6BAC-9051-4E1C-AB8F-EC763A437CB5}">
      <dgm:prSet/>
      <dgm:spPr/>
      <dgm:t>
        <a:bodyPr/>
        <a:lstStyle/>
        <a:p>
          <a:r>
            <a:rPr lang="en-US" dirty="0"/>
            <a:t>The excavators, low bed trailer and track bulldozers must come with 7 000 hours/ 7-years maintenance plan whichever comes first.</a:t>
          </a:r>
          <a:endParaRPr lang="en-ZA" dirty="0"/>
        </a:p>
      </dgm:t>
    </dgm:pt>
    <dgm:pt modelId="{1EA2C82F-CDB5-465D-AD66-2944B0475484}" type="parTrans" cxnId="{A5415F40-D7B3-4A75-A201-0579A6C417D8}">
      <dgm:prSet/>
      <dgm:spPr/>
      <dgm:t>
        <a:bodyPr/>
        <a:lstStyle/>
        <a:p>
          <a:endParaRPr lang="en-ZA"/>
        </a:p>
      </dgm:t>
    </dgm:pt>
    <dgm:pt modelId="{F197A057-FEFC-43FC-99A6-CD1558D84883}" type="sibTrans" cxnId="{A5415F40-D7B3-4A75-A201-0579A6C417D8}">
      <dgm:prSet/>
      <dgm:spPr/>
      <dgm:t>
        <a:bodyPr/>
        <a:lstStyle/>
        <a:p>
          <a:endParaRPr lang="en-ZA"/>
        </a:p>
      </dgm:t>
    </dgm:pt>
    <dgm:pt modelId="{77376E54-B690-4E4A-B8D9-BAB24201ADC6}">
      <dgm:prSet/>
      <dgm:spPr/>
      <dgm:t>
        <a:bodyPr/>
        <a:lstStyle/>
        <a:p>
          <a:r>
            <a:rPr lang="en-US" dirty="0"/>
            <a:t>The excavators, low bed trailer and track-track bulldozers must be able to operate and withstand all weather conditions.</a:t>
          </a:r>
          <a:endParaRPr lang="en-ZA" dirty="0"/>
        </a:p>
      </dgm:t>
    </dgm:pt>
    <dgm:pt modelId="{179F9E89-DC47-4FEA-993D-BCC97B7BB43D}" type="parTrans" cxnId="{9683CA0A-FD71-46D9-BB33-AD3FA873A85E}">
      <dgm:prSet/>
      <dgm:spPr/>
      <dgm:t>
        <a:bodyPr/>
        <a:lstStyle/>
        <a:p>
          <a:endParaRPr lang="en-ZA"/>
        </a:p>
      </dgm:t>
    </dgm:pt>
    <dgm:pt modelId="{4FD1EA53-2389-477A-BBB5-3BCB32CF2062}" type="sibTrans" cxnId="{9683CA0A-FD71-46D9-BB33-AD3FA873A85E}">
      <dgm:prSet/>
      <dgm:spPr/>
      <dgm:t>
        <a:bodyPr/>
        <a:lstStyle/>
        <a:p>
          <a:endParaRPr lang="en-ZA"/>
        </a:p>
      </dgm:t>
    </dgm:pt>
    <dgm:pt modelId="{67F52D9F-E8D6-4E48-A0BE-F22C474E1CF8}" type="pres">
      <dgm:prSet presAssocID="{27E4A236-210D-4286-AF86-66F56C3A176E}" presName="linearFlow" presStyleCnt="0">
        <dgm:presLayoutVars>
          <dgm:dir/>
          <dgm:resizeHandles val="exact"/>
        </dgm:presLayoutVars>
      </dgm:prSet>
      <dgm:spPr/>
    </dgm:pt>
    <dgm:pt modelId="{8FA3EFFD-CC72-447D-8D79-C2E1AB33FF38}" type="pres">
      <dgm:prSet presAssocID="{9C85D78F-55CD-44DB-BC8B-99A9D6752A05}" presName="composite" presStyleCnt="0"/>
      <dgm:spPr/>
    </dgm:pt>
    <dgm:pt modelId="{40D760EF-C58C-4DDE-B5E8-43A4E2874CA2}" type="pres">
      <dgm:prSet presAssocID="{9C85D78F-55CD-44DB-BC8B-99A9D6752A05}" presName="imgShp" presStyleLbl="fgImgPlace1" presStyleIdx="0" presStyleCnt="3" custLinFactY="200000" custLinFactNeighborX="-91541" custLinFactNeighborY="246948"/>
      <dgm:spPr/>
    </dgm:pt>
    <dgm:pt modelId="{E68A7AF9-B78E-4070-B293-25D63DBC66A7}" type="pres">
      <dgm:prSet presAssocID="{9C85D78F-55CD-44DB-BC8B-99A9D6752A05}" presName="txShp" presStyleLbl="node1" presStyleIdx="0" presStyleCnt="3" custScaleX="138307" custLinFactNeighborX="0" custLinFactNeighborY="-7934">
        <dgm:presLayoutVars>
          <dgm:bulletEnabled val="1"/>
        </dgm:presLayoutVars>
      </dgm:prSet>
      <dgm:spPr/>
    </dgm:pt>
    <dgm:pt modelId="{59BD2E63-7EBF-4EFA-87B6-F9D5BD0CD313}" type="pres">
      <dgm:prSet presAssocID="{6BD13D86-EEE6-495D-B2CF-433B1220BB05}" presName="spacing" presStyleCnt="0"/>
      <dgm:spPr/>
    </dgm:pt>
    <dgm:pt modelId="{D813E985-BF4F-49A0-8341-D88E5D2C3A43}" type="pres">
      <dgm:prSet presAssocID="{5B5E6BAC-9051-4E1C-AB8F-EC763A437CB5}" presName="composite" presStyleCnt="0"/>
      <dgm:spPr/>
    </dgm:pt>
    <dgm:pt modelId="{3CA3793B-CD07-4AE1-80C5-EC397BE8A4A9}" type="pres">
      <dgm:prSet presAssocID="{5B5E6BAC-9051-4E1C-AB8F-EC763A437CB5}" presName="imgShp" presStyleLbl="fgImgPlace1" presStyleIdx="1" presStyleCnt="3" custLinFactX="29352" custLinFactY="121948" custLinFactNeighborX="100000" custLinFactNeighborY="200000"/>
      <dgm:spPr/>
    </dgm:pt>
    <dgm:pt modelId="{FA6DC3F7-713C-4E89-8CF4-9C482872CB31}" type="pres">
      <dgm:prSet presAssocID="{5B5E6BAC-9051-4E1C-AB8F-EC763A437CB5}" presName="txShp" presStyleLbl="node1" presStyleIdx="1" presStyleCnt="3" custScaleX="137771" custLinFactNeighborX="0" custLinFactNeighborY="1990">
        <dgm:presLayoutVars>
          <dgm:bulletEnabled val="1"/>
        </dgm:presLayoutVars>
      </dgm:prSet>
      <dgm:spPr/>
    </dgm:pt>
    <dgm:pt modelId="{E0595637-CD79-4A20-92D2-3472EA2B2311}" type="pres">
      <dgm:prSet presAssocID="{F197A057-FEFC-43FC-99A6-CD1558D84883}" presName="spacing" presStyleCnt="0"/>
      <dgm:spPr/>
    </dgm:pt>
    <dgm:pt modelId="{FA9C4110-670A-4D2B-9CD4-F93DF097AC8F}" type="pres">
      <dgm:prSet presAssocID="{77376E54-B690-4E4A-B8D9-BAB24201ADC6}" presName="composite" presStyleCnt="0"/>
      <dgm:spPr/>
    </dgm:pt>
    <dgm:pt modelId="{5674F28D-6B33-4DAD-8BB3-44E45149EC18}" type="pres">
      <dgm:prSet presAssocID="{77376E54-B690-4E4A-B8D9-BAB24201ADC6}" presName="imgShp" presStyleLbl="fgImgPlace1" presStyleIdx="2" presStyleCnt="3" custLinFactX="835057" custLinFactY="-100000" custLinFactNeighborX="900000" custLinFactNeighborY="-193823"/>
      <dgm:spPr/>
    </dgm:pt>
    <dgm:pt modelId="{4184A07B-FC86-4EB2-AE19-4775FDB587D5}" type="pres">
      <dgm:prSet presAssocID="{77376E54-B690-4E4A-B8D9-BAB24201ADC6}" presName="txShp" presStyleLbl="node1" presStyleIdx="2" presStyleCnt="3" custScaleX="138887" custLinFactNeighborX="-64" custLinFactNeighborY="-17342">
        <dgm:presLayoutVars>
          <dgm:bulletEnabled val="1"/>
        </dgm:presLayoutVars>
      </dgm:prSet>
      <dgm:spPr/>
    </dgm:pt>
  </dgm:ptLst>
  <dgm:cxnLst>
    <dgm:cxn modelId="{9683CA0A-FD71-46D9-BB33-AD3FA873A85E}" srcId="{27E4A236-210D-4286-AF86-66F56C3A176E}" destId="{77376E54-B690-4E4A-B8D9-BAB24201ADC6}" srcOrd="2" destOrd="0" parTransId="{179F9E89-DC47-4FEA-993D-BCC97B7BB43D}" sibTransId="{4FD1EA53-2389-477A-BBB5-3BCB32CF2062}"/>
    <dgm:cxn modelId="{B5EB473D-193B-43C0-9675-7F776F0BB9F7}" type="presOf" srcId="{9C85D78F-55CD-44DB-BC8B-99A9D6752A05}" destId="{E68A7AF9-B78E-4070-B293-25D63DBC66A7}" srcOrd="0" destOrd="0" presId="urn:microsoft.com/office/officeart/2005/8/layout/vList3"/>
    <dgm:cxn modelId="{A5415F40-D7B3-4A75-A201-0579A6C417D8}" srcId="{27E4A236-210D-4286-AF86-66F56C3A176E}" destId="{5B5E6BAC-9051-4E1C-AB8F-EC763A437CB5}" srcOrd="1" destOrd="0" parTransId="{1EA2C82F-CDB5-465D-AD66-2944B0475484}" sibTransId="{F197A057-FEFC-43FC-99A6-CD1558D84883}"/>
    <dgm:cxn modelId="{D5C88A8D-06A6-4F63-8937-E4B820901E68}" srcId="{27E4A236-210D-4286-AF86-66F56C3A176E}" destId="{9C85D78F-55CD-44DB-BC8B-99A9D6752A05}" srcOrd="0" destOrd="0" parTransId="{A6104F05-244C-4DDA-8C6E-6800EF99B11A}" sibTransId="{6BD13D86-EEE6-495D-B2CF-433B1220BB05}"/>
    <dgm:cxn modelId="{C0CEBDDA-8A9F-4825-8035-F6CD80424D39}" type="presOf" srcId="{27E4A236-210D-4286-AF86-66F56C3A176E}" destId="{67F52D9F-E8D6-4E48-A0BE-F22C474E1CF8}" srcOrd="0" destOrd="0" presId="urn:microsoft.com/office/officeart/2005/8/layout/vList3"/>
    <dgm:cxn modelId="{2BAB0BE3-9C9E-4BBC-A04B-A155D2FA66D2}" type="presOf" srcId="{77376E54-B690-4E4A-B8D9-BAB24201ADC6}" destId="{4184A07B-FC86-4EB2-AE19-4775FDB587D5}" srcOrd="0" destOrd="0" presId="urn:microsoft.com/office/officeart/2005/8/layout/vList3"/>
    <dgm:cxn modelId="{F9653CEC-6A5D-458C-99B4-95045D91EC06}" type="presOf" srcId="{5B5E6BAC-9051-4E1C-AB8F-EC763A437CB5}" destId="{FA6DC3F7-713C-4E89-8CF4-9C482872CB31}" srcOrd="0" destOrd="0" presId="urn:microsoft.com/office/officeart/2005/8/layout/vList3"/>
    <dgm:cxn modelId="{6F12277B-2C8F-468D-B38D-2EBB3FE02A13}" type="presParOf" srcId="{67F52D9F-E8D6-4E48-A0BE-F22C474E1CF8}" destId="{8FA3EFFD-CC72-447D-8D79-C2E1AB33FF38}" srcOrd="0" destOrd="0" presId="urn:microsoft.com/office/officeart/2005/8/layout/vList3"/>
    <dgm:cxn modelId="{087715E5-1E12-4FD9-961F-972F063D43B5}" type="presParOf" srcId="{8FA3EFFD-CC72-447D-8D79-C2E1AB33FF38}" destId="{40D760EF-C58C-4DDE-B5E8-43A4E2874CA2}" srcOrd="0" destOrd="0" presId="urn:microsoft.com/office/officeart/2005/8/layout/vList3"/>
    <dgm:cxn modelId="{B1151CB3-E715-423E-BDD4-A17140C4BEED}" type="presParOf" srcId="{8FA3EFFD-CC72-447D-8D79-C2E1AB33FF38}" destId="{E68A7AF9-B78E-4070-B293-25D63DBC66A7}" srcOrd="1" destOrd="0" presId="urn:microsoft.com/office/officeart/2005/8/layout/vList3"/>
    <dgm:cxn modelId="{7FD68543-BC5A-4AA5-AF08-E32895026A36}" type="presParOf" srcId="{67F52D9F-E8D6-4E48-A0BE-F22C474E1CF8}" destId="{59BD2E63-7EBF-4EFA-87B6-F9D5BD0CD313}" srcOrd="1" destOrd="0" presId="urn:microsoft.com/office/officeart/2005/8/layout/vList3"/>
    <dgm:cxn modelId="{EB2DBF63-F860-488D-90AD-05FF98061D5D}" type="presParOf" srcId="{67F52D9F-E8D6-4E48-A0BE-F22C474E1CF8}" destId="{D813E985-BF4F-49A0-8341-D88E5D2C3A43}" srcOrd="2" destOrd="0" presId="urn:microsoft.com/office/officeart/2005/8/layout/vList3"/>
    <dgm:cxn modelId="{59513C5F-5029-46A7-889B-5870B8FD5563}" type="presParOf" srcId="{D813E985-BF4F-49A0-8341-D88E5D2C3A43}" destId="{3CA3793B-CD07-4AE1-80C5-EC397BE8A4A9}" srcOrd="0" destOrd="0" presId="urn:microsoft.com/office/officeart/2005/8/layout/vList3"/>
    <dgm:cxn modelId="{F84CEF38-96ED-4AF8-8732-536835FB8891}" type="presParOf" srcId="{D813E985-BF4F-49A0-8341-D88E5D2C3A43}" destId="{FA6DC3F7-713C-4E89-8CF4-9C482872CB31}" srcOrd="1" destOrd="0" presId="urn:microsoft.com/office/officeart/2005/8/layout/vList3"/>
    <dgm:cxn modelId="{E43081B1-0068-4745-BA50-894CE2C204B4}" type="presParOf" srcId="{67F52D9F-E8D6-4E48-A0BE-F22C474E1CF8}" destId="{E0595637-CD79-4A20-92D2-3472EA2B2311}" srcOrd="3" destOrd="0" presId="urn:microsoft.com/office/officeart/2005/8/layout/vList3"/>
    <dgm:cxn modelId="{84160C2D-AA66-414B-AC8E-1A0857E1AF22}" type="presParOf" srcId="{67F52D9F-E8D6-4E48-A0BE-F22C474E1CF8}" destId="{FA9C4110-670A-4D2B-9CD4-F93DF097AC8F}" srcOrd="4" destOrd="0" presId="urn:microsoft.com/office/officeart/2005/8/layout/vList3"/>
    <dgm:cxn modelId="{E41B8FF1-465D-47CB-84C4-6A4D96680F53}" type="presParOf" srcId="{FA9C4110-670A-4D2B-9CD4-F93DF097AC8F}" destId="{5674F28D-6B33-4DAD-8BB3-44E45149EC18}" srcOrd="0" destOrd="0" presId="urn:microsoft.com/office/officeart/2005/8/layout/vList3"/>
    <dgm:cxn modelId="{0881E8E1-B19F-4B77-BDA1-A46A1B6524EE}" type="presParOf" srcId="{FA9C4110-670A-4D2B-9CD4-F93DF097AC8F}" destId="{4184A07B-FC86-4EB2-AE19-4775FDB587D5}"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493E547-7023-4383-B427-1ADD6FE7C149}" type="doc">
      <dgm:prSet loTypeId="urn:microsoft.com/office/officeart/2005/8/layout/vList2" loCatId="list" qsTypeId="urn:microsoft.com/office/officeart/2005/8/quickstyle/simple3" qsCatId="simple" csTypeId="urn:microsoft.com/office/officeart/2005/8/colors/colorful5" csCatId="colorful" phldr="1"/>
      <dgm:spPr/>
      <dgm:t>
        <a:bodyPr/>
        <a:lstStyle/>
        <a:p>
          <a:endParaRPr lang="en-ZA"/>
        </a:p>
      </dgm:t>
    </dgm:pt>
    <dgm:pt modelId="{EB3CAC7C-DFA1-4852-B346-0CB1FC7EB136}">
      <dgm:prSet custT="1"/>
      <dgm:spPr/>
      <dgm:t>
        <a:bodyPr/>
        <a:lstStyle/>
        <a:p>
          <a:r>
            <a:rPr lang="en-US" sz="1400" dirty="0"/>
            <a:t>The recovery equipment to be delivered should comply to the following but not limited to regulatory requirements and standards:</a:t>
          </a:r>
          <a:endParaRPr lang="en-ZA" sz="1400" dirty="0"/>
        </a:p>
      </dgm:t>
    </dgm:pt>
    <dgm:pt modelId="{8C1E436F-6F53-4652-A3BE-55B8BAD91249}" type="parTrans" cxnId="{19321FBF-C5C0-4CE3-9F76-37CCC7492FFB}">
      <dgm:prSet/>
      <dgm:spPr/>
      <dgm:t>
        <a:bodyPr/>
        <a:lstStyle/>
        <a:p>
          <a:endParaRPr lang="en-ZA" sz="1400"/>
        </a:p>
      </dgm:t>
    </dgm:pt>
    <dgm:pt modelId="{B98BB2DD-ED77-4C58-BDA6-CA2B2215D980}" type="sibTrans" cxnId="{19321FBF-C5C0-4CE3-9F76-37CCC7492FFB}">
      <dgm:prSet/>
      <dgm:spPr/>
      <dgm:t>
        <a:bodyPr/>
        <a:lstStyle/>
        <a:p>
          <a:endParaRPr lang="en-ZA" sz="1400"/>
        </a:p>
      </dgm:t>
    </dgm:pt>
    <dgm:pt modelId="{724BE4A1-E2A8-4423-A138-BA0CF2174007}" type="pres">
      <dgm:prSet presAssocID="{C493E547-7023-4383-B427-1ADD6FE7C149}" presName="linear" presStyleCnt="0">
        <dgm:presLayoutVars>
          <dgm:animLvl val="lvl"/>
          <dgm:resizeHandles val="exact"/>
        </dgm:presLayoutVars>
      </dgm:prSet>
      <dgm:spPr/>
    </dgm:pt>
    <dgm:pt modelId="{4596ABE1-692E-4DD3-9DDF-FDE40328F871}" type="pres">
      <dgm:prSet presAssocID="{EB3CAC7C-DFA1-4852-B346-0CB1FC7EB136}" presName="parentText" presStyleLbl="node1" presStyleIdx="0" presStyleCnt="1" custScaleY="103045">
        <dgm:presLayoutVars>
          <dgm:chMax val="0"/>
          <dgm:bulletEnabled val="1"/>
        </dgm:presLayoutVars>
      </dgm:prSet>
      <dgm:spPr/>
    </dgm:pt>
  </dgm:ptLst>
  <dgm:cxnLst>
    <dgm:cxn modelId="{731B881D-FEA7-44D1-8161-6D7EE97E0A3A}" type="presOf" srcId="{EB3CAC7C-DFA1-4852-B346-0CB1FC7EB136}" destId="{4596ABE1-692E-4DD3-9DDF-FDE40328F871}" srcOrd="0" destOrd="0" presId="urn:microsoft.com/office/officeart/2005/8/layout/vList2"/>
    <dgm:cxn modelId="{A8F20188-6597-4069-BC6F-7B800FAE6528}" type="presOf" srcId="{C493E547-7023-4383-B427-1ADD6FE7C149}" destId="{724BE4A1-E2A8-4423-A138-BA0CF2174007}" srcOrd="0" destOrd="0" presId="urn:microsoft.com/office/officeart/2005/8/layout/vList2"/>
    <dgm:cxn modelId="{19321FBF-C5C0-4CE3-9F76-37CCC7492FFB}" srcId="{C493E547-7023-4383-B427-1ADD6FE7C149}" destId="{EB3CAC7C-DFA1-4852-B346-0CB1FC7EB136}" srcOrd="0" destOrd="0" parTransId="{8C1E436F-6F53-4652-A3BE-55B8BAD91249}" sibTransId="{B98BB2DD-ED77-4C58-BDA6-CA2B2215D980}"/>
    <dgm:cxn modelId="{5D58B698-D5E1-4D76-90DC-7BA373CE6B7D}" type="presParOf" srcId="{724BE4A1-E2A8-4423-A138-BA0CF2174007}" destId="{4596ABE1-692E-4DD3-9DDF-FDE40328F871}"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4925133-D1FA-4374-BC9F-76770AA7CE72}" type="doc">
      <dgm:prSet loTypeId="urn:microsoft.com/office/officeart/2005/8/layout/vList2" loCatId="list" qsTypeId="urn:microsoft.com/office/officeart/2005/8/quickstyle/simple1" qsCatId="simple" csTypeId="urn:microsoft.com/office/officeart/2005/8/colors/accent6_2" csCatId="accent6" phldr="1"/>
      <dgm:spPr/>
      <dgm:t>
        <a:bodyPr/>
        <a:lstStyle/>
        <a:p>
          <a:endParaRPr lang="en-ZA"/>
        </a:p>
      </dgm:t>
    </dgm:pt>
    <dgm:pt modelId="{5156088C-2737-4780-A169-C6CB5820ACE9}">
      <dgm:prSet custT="1"/>
      <dgm:spPr/>
      <dgm:t>
        <a:bodyPr/>
        <a:lstStyle/>
        <a:p>
          <a:r>
            <a:rPr lang="en-ZA" sz="1100" b="1" dirty="0"/>
            <a:t>Code of Practice 29 (COP29): </a:t>
          </a:r>
          <a:r>
            <a:rPr lang="en-ZA" sz="1100" dirty="0"/>
            <a:t>The code pertains to the safe management of lifting equipment and requirements with regard to the procurement of the lifting equipment which must be complied with (section 17). </a:t>
          </a:r>
        </a:p>
      </dgm:t>
    </dgm:pt>
    <dgm:pt modelId="{18CF5AC1-394B-4F1E-925E-A792D466BA5A}" type="parTrans" cxnId="{7338B0BB-4EF6-4055-8CDB-F40CC9F3862F}">
      <dgm:prSet/>
      <dgm:spPr/>
      <dgm:t>
        <a:bodyPr/>
        <a:lstStyle/>
        <a:p>
          <a:endParaRPr lang="en-ZA" sz="1100"/>
        </a:p>
      </dgm:t>
    </dgm:pt>
    <dgm:pt modelId="{C46F6383-DA1D-42B8-BDF9-4F133BE5E3E0}" type="sibTrans" cxnId="{7338B0BB-4EF6-4055-8CDB-F40CC9F3862F}">
      <dgm:prSet/>
      <dgm:spPr/>
      <dgm:t>
        <a:bodyPr/>
        <a:lstStyle/>
        <a:p>
          <a:endParaRPr lang="en-ZA" sz="1100"/>
        </a:p>
      </dgm:t>
    </dgm:pt>
    <dgm:pt modelId="{A5664533-4B96-4CF7-BF37-B13544D66E02}">
      <dgm:prSet custT="1"/>
      <dgm:spPr/>
      <dgm:t>
        <a:bodyPr/>
        <a:lstStyle/>
        <a:p>
          <a:r>
            <a:rPr lang="en-ZA" sz="1100" b="1"/>
            <a:t>Occupational Health and Safety, Act no 85 of 1993 and regulation: </a:t>
          </a:r>
          <a:r>
            <a:rPr lang="en-ZA" sz="1100"/>
            <a:t>(Driven Machinery Regulation section 18). The regulation pertains to the requirements and management of the lifting equipment. </a:t>
          </a:r>
        </a:p>
      </dgm:t>
    </dgm:pt>
    <dgm:pt modelId="{8490FC7C-9BE0-46FC-8B2C-D6056A45DB8B}" type="parTrans" cxnId="{84E75FF7-F3D5-4745-B274-9DFCF1882DDF}">
      <dgm:prSet/>
      <dgm:spPr/>
      <dgm:t>
        <a:bodyPr/>
        <a:lstStyle/>
        <a:p>
          <a:endParaRPr lang="en-ZA" sz="1100"/>
        </a:p>
      </dgm:t>
    </dgm:pt>
    <dgm:pt modelId="{3E78CDDC-2F6F-472F-B316-A4FAA6130B49}" type="sibTrans" cxnId="{84E75FF7-F3D5-4745-B274-9DFCF1882DDF}">
      <dgm:prSet/>
      <dgm:spPr/>
      <dgm:t>
        <a:bodyPr/>
        <a:lstStyle/>
        <a:p>
          <a:endParaRPr lang="en-ZA" sz="1100"/>
        </a:p>
      </dgm:t>
    </dgm:pt>
    <dgm:pt modelId="{D1FA7A40-2F3E-4455-BF9B-BBF764186FB5}">
      <dgm:prSet custT="1"/>
      <dgm:spPr/>
      <dgm:t>
        <a:bodyPr/>
        <a:lstStyle/>
        <a:p>
          <a:r>
            <a:rPr lang="en-ZA" sz="1100" b="1" dirty="0"/>
            <a:t>Railway Safety Regulator (RSR): </a:t>
          </a:r>
          <a:r>
            <a:rPr lang="en-ZA" sz="1100" dirty="0"/>
            <a:t>Promote safe railway operations through appropriate support, monitoring, and enforcement guided by an enabling regulatory framework. </a:t>
          </a:r>
        </a:p>
      </dgm:t>
    </dgm:pt>
    <dgm:pt modelId="{3542E32B-B7FE-4BE2-B72C-2E3B025FB675}" type="parTrans" cxnId="{EB6AF48B-F746-4240-97F4-662B8F412341}">
      <dgm:prSet/>
      <dgm:spPr/>
      <dgm:t>
        <a:bodyPr/>
        <a:lstStyle/>
        <a:p>
          <a:endParaRPr lang="en-ZA" sz="1100"/>
        </a:p>
      </dgm:t>
    </dgm:pt>
    <dgm:pt modelId="{556052DF-A188-43B5-8FFC-4961A630E190}" type="sibTrans" cxnId="{EB6AF48B-F746-4240-97F4-662B8F412341}">
      <dgm:prSet/>
      <dgm:spPr/>
      <dgm:t>
        <a:bodyPr/>
        <a:lstStyle/>
        <a:p>
          <a:endParaRPr lang="en-ZA" sz="1100"/>
        </a:p>
      </dgm:t>
    </dgm:pt>
    <dgm:pt modelId="{F15F2E62-4EF8-4DE7-92C1-60BC5D33E30D}">
      <dgm:prSet custT="1"/>
      <dgm:spPr/>
      <dgm:t>
        <a:bodyPr/>
        <a:lstStyle/>
        <a:p>
          <a:r>
            <a:rPr lang="en-ZA" sz="1100" b="1" dirty="0"/>
            <a:t>SANS 1395:</a:t>
          </a:r>
          <a:r>
            <a:rPr lang="en-ZA" sz="1100" dirty="0"/>
            <a:t>1 Road Transport Management Systems (RTMS) standard stipulates requirements for the implementation of a management system that demonstrates compliance with Road Traffic Regulations and contributes to preserving road infrastructure, improving road safety, ensuring driver health and wellness, and improving productivity. </a:t>
          </a:r>
        </a:p>
      </dgm:t>
    </dgm:pt>
    <dgm:pt modelId="{5EA2F4CF-CE5E-4854-A354-3EA7FA3DE6EE}" type="parTrans" cxnId="{92E863FF-6948-44E2-A9F3-5708C9DEE17E}">
      <dgm:prSet/>
      <dgm:spPr/>
      <dgm:t>
        <a:bodyPr/>
        <a:lstStyle/>
        <a:p>
          <a:endParaRPr lang="en-ZA" sz="1100"/>
        </a:p>
      </dgm:t>
    </dgm:pt>
    <dgm:pt modelId="{C2774050-E270-4516-AC57-FEF284769078}" type="sibTrans" cxnId="{92E863FF-6948-44E2-A9F3-5708C9DEE17E}">
      <dgm:prSet/>
      <dgm:spPr/>
      <dgm:t>
        <a:bodyPr/>
        <a:lstStyle/>
        <a:p>
          <a:endParaRPr lang="en-ZA" sz="1100"/>
        </a:p>
      </dgm:t>
    </dgm:pt>
    <dgm:pt modelId="{46B65104-006C-4F4A-B670-679517833B77}">
      <dgm:prSet custT="1"/>
      <dgm:spPr/>
      <dgm:t>
        <a:bodyPr/>
        <a:lstStyle/>
        <a:p>
          <a:r>
            <a:rPr lang="en-ZA" sz="1100" b="1" dirty="0"/>
            <a:t>SAE J397 OCT95, SAE J1040 MAY94, ISO 3164:1995, ISO 3471:</a:t>
          </a:r>
          <a:r>
            <a:rPr lang="en-ZA" sz="1100" dirty="0"/>
            <a:t>1994 for rollover protection. </a:t>
          </a:r>
        </a:p>
      </dgm:t>
    </dgm:pt>
    <dgm:pt modelId="{A2437839-32FA-4D9F-9C7F-512748F870C5}" type="parTrans" cxnId="{7F85E2E0-4D34-4443-8BB4-A49531B8B89C}">
      <dgm:prSet/>
      <dgm:spPr/>
      <dgm:t>
        <a:bodyPr/>
        <a:lstStyle/>
        <a:p>
          <a:endParaRPr lang="en-ZA" sz="1100"/>
        </a:p>
      </dgm:t>
    </dgm:pt>
    <dgm:pt modelId="{9FE746F9-91A6-441A-B847-8570498A2EB9}" type="sibTrans" cxnId="{7F85E2E0-4D34-4443-8BB4-A49531B8B89C}">
      <dgm:prSet/>
      <dgm:spPr/>
      <dgm:t>
        <a:bodyPr/>
        <a:lstStyle/>
        <a:p>
          <a:endParaRPr lang="en-ZA" sz="1100"/>
        </a:p>
      </dgm:t>
    </dgm:pt>
    <dgm:pt modelId="{C56B0AB0-FB83-4A6F-90CD-E60080F0FB88}">
      <dgm:prSet custT="1"/>
      <dgm:spPr/>
      <dgm:t>
        <a:bodyPr/>
        <a:lstStyle/>
        <a:p>
          <a:r>
            <a:rPr lang="en-ZA" sz="1100" b="1"/>
            <a:t>SAE J231 JAN81, ISO 3449:</a:t>
          </a:r>
          <a:r>
            <a:rPr lang="en-ZA" sz="1100"/>
            <a:t>1992 for falling object protection. </a:t>
          </a:r>
        </a:p>
      </dgm:t>
    </dgm:pt>
    <dgm:pt modelId="{1CF45645-FBFF-4CDC-BDE9-E6C664F12DE9}" type="parTrans" cxnId="{E8CC78C7-FF1C-4DBE-ADC1-E89A3F9B51F7}">
      <dgm:prSet/>
      <dgm:spPr/>
      <dgm:t>
        <a:bodyPr/>
        <a:lstStyle/>
        <a:p>
          <a:endParaRPr lang="en-ZA" sz="1100"/>
        </a:p>
      </dgm:t>
    </dgm:pt>
    <dgm:pt modelId="{473AD886-6667-4D43-81A5-AEB66EFBA910}" type="sibTrans" cxnId="{E8CC78C7-FF1C-4DBE-ADC1-E89A3F9B51F7}">
      <dgm:prSet/>
      <dgm:spPr/>
      <dgm:t>
        <a:bodyPr/>
        <a:lstStyle/>
        <a:p>
          <a:endParaRPr lang="en-ZA" sz="1100"/>
        </a:p>
      </dgm:t>
    </dgm:pt>
    <dgm:pt modelId="{8D05F666-45B5-4994-A9ED-C3C2E188CD5D}">
      <dgm:prSet custT="1"/>
      <dgm:spPr/>
      <dgm:t>
        <a:bodyPr/>
        <a:lstStyle/>
        <a:p>
          <a:r>
            <a:rPr lang="en-ZA" sz="1100" b="1" dirty="0"/>
            <a:t>SAE J1026 APR90, ISO 10265:</a:t>
          </a:r>
          <a:r>
            <a:rPr lang="en-ZA" sz="1100" dirty="0"/>
            <a:t>1998 for brakes standard. </a:t>
          </a:r>
        </a:p>
      </dgm:t>
    </dgm:pt>
    <dgm:pt modelId="{E98F3F38-913E-45A3-856F-0E325E568F18}" type="parTrans" cxnId="{1D4F184E-6B72-48F6-8389-8B903DBFE7BA}">
      <dgm:prSet/>
      <dgm:spPr/>
      <dgm:t>
        <a:bodyPr/>
        <a:lstStyle/>
        <a:p>
          <a:endParaRPr lang="en-ZA" sz="1100"/>
        </a:p>
      </dgm:t>
    </dgm:pt>
    <dgm:pt modelId="{1881E661-7904-45EE-AF84-F2C958DD982D}" type="sibTrans" cxnId="{1D4F184E-6B72-48F6-8389-8B903DBFE7BA}">
      <dgm:prSet/>
      <dgm:spPr/>
      <dgm:t>
        <a:bodyPr/>
        <a:lstStyle/>
        <a:p>
          <a:endParaRPr lang="en-ZA" sz="1100"/>
        </a:p>
      </dgm:t>
    </dgm:pt>
    <dgm:pt modelId="{D7B5F537-90CE-4965-BFEF-52A053850155}">
      <dgm:prSet custT="1"/>
      <dgm:spPr/>
      <dgm:t>
        <a:bodyPr/>
        <a:lstStyle/>
        <a:p>
          <a:r>
            <a:rPr lang="en-ZA" sz="1100" b="1"/>
            <a:t>ANSI/SAE J1166 MAY90: </a:t>
          </a:r>
          <a:r>
            <a:rPr lang="en-ZA" sz="1100"/>
            <a:t>standard for noise levels</a:t>
          </a:r>
        </a:p>
      </dgm:t>
    </dgm:pt>
    <dgm:pt modelId="{07ED6477-41E8-4C87-9ACB-9FFABDD5672C}" type="parTrans" cxnId="{97133B02-D4A2-42E0-AE95-55056C8D059E}">
      <dgm:prSet/>
      <dgm:spPr/>
      <dgm:t>
        <a:bodyPr/>
        <a:lstStyle/>
        <a:p>
          <a:endParaRPr lang="en-ZA" sz="1100"/>
        </a:p>
      </dgm:t>
    </dgm:pt>
    <dgm:pt modelId="{46B64D0A-9CAD-45C6-962E-517AC6678BF8}" type="sibTrans" cxnId="{97133B02-D4A2-42E0-AE95-55056C8D059E}">
      <dgm:prSet/>
      <dgm:spPr/>
      <dgm:t>
        <a:bodyPr/>
        <a:lstStyle/>
        <a:p>
          <a:endParaRPr lang="en-ZA" sz="1100"/>
        </a:p>
      </dgm:t>
    </dgm:pt>
    <dgm:pt modelId="{2639E03B-722D-4E9C-8F57-50D4749FBCE6}" type="pres">
      <dgm:prSet presAssocID="{54925133-D1FA-4374-BC9F-76770AA7CE72}" presName="linear" presStyleCnt="0">
        <dgm:presLayoutVars>
          <dgm:animLvl val="lvl"/>
          <dgm:resizeHandles val="exact"/>
        </dgm:presLayoutVars>
      </dgm:prSet>
      <dgm:spPr/>
    </dgm:pt>
    <dgm:pt modelId="{50A5B6E6-4295-4130-8A57-29A697F70706}" type="pres">
      <dgm:prSet presAssocID="{5156088C-2737-4780-A169-C6CB5820ACE9}" presName="parentText" presStyleLbl="node1" presStyleIdx="0" presStyleCnt="8">
        <dgm:presLayoutVars>
          <dgm:chMax val="0"/>
          <dgm:bulletEnabled val="1"/>
        </dgm:presLayoutVars>
      </dgm:prSet>
      <dgm:spPr/>
    </dgm:pt>
    <dgm:pt modelId="{6ACB1EB0-39B2-455D-85B2-7ED038353B55}" type="pres">
      <dgm:prSet presAssocID="{C46F6383-DA1D-42B8-BDF9-4F133BE5E3E0}" presName="spacer" presStyleCnt="0"/>
      <dgm:spPr/>
    </dgm:pt>
    <dgm:pt modelId="{1A8A4CC6-FC3A-4F4E-8407-6C02B34C0CC5}" type="pres">
      <dgm:prSet presAssocID="{A5664533-4B96-4CF7-BF37-B13544D66E02}" presName="parentText" presStyleLbl="node1" presStyleIdx="1" presStyleCnt="8" custLinFactY="2695" custLinFactNeighborY="100000">
        <dgm:presLayoutVars>
          <dgm:chMax val="0"/>
          <dgm:bulletEnabled val="1"/>
        </dgm:presLayoutVars>
      </dgm:prSet>
      <dgm:spPr/>
    </dgm:pt>
    <dgm:pt modelId="{E0CBFFB1-C74F-4115-8167-656A85A142C3}" type="pres">
      <dgm:prSet presAssocID="{3E78CDDC-2F6F-472F-B316-A4FAA6130B49}" presName="spacer" presStyleCnt="0"/>
      <dgm:spPr/>
    </dgm:pt>
    <dgm:pt modelId="{67510A72-0B3C-493E-99E5-E4F969803118}" type="pres">
      <dgm:prSet presAssocID="{D1FA7A40-2F3E-4455-BF9B-BBF764186FB5}" presName="parentText" presStyleLbl="node1" presStyleIdx="2" presStyleCnt="8">
        <dgm:presLayoutVars>
          <dgm:chMax val="0"/>
          <dgm:bulletEnabled val="1"/>
        </dgm:presLayoutVars>
      </dgm:prSet>
      <dgm:spPr/>
    </dgm:pt>
    <dgm:pt modelId="{B98BD110-B521-40B2-82BA-776C3AF69AAB}" type="pres">
      <dgm:prSet presAssocID="{556052DF-A188-43B5-8FFC-4961A630E190}" presName="spacer" presStyleCnt="0"/>
      <dgm:spPr/>
    </dgm:pt>
    <dgm:pt modelId="{C94F9688-2573-466A-B66F-165B50279713}" type="pres">
      <dgm:prSet presAssocID="{F15F2E62-4EF8-4DE7-92C1-60BC5D33E30D}" presName="parentText" presStyleLbl="node1" presStyleIdx="3" presStyleCnt="8" custScaleY="166343">
        <dgm:presLayoutVars>
          <dgm:chMax val="0"/>
          <dgm:bulletEnabled val="1"/>
        </dgm:presLayoutVars>
      </dgm:prSet>
      <dgm:spPr/>
    </dgm:pt>
    <dgm:pt modelId="{2390E134-2C5F-4B35-A60D-CDE98587B45C}" type="pres">
      <dgm:prSet presAssocID="{C2774050-E270-4516-AC57-FEF284769078}" presName="spacer" presStyleCnt="0"/>
      <dgm:spPr/>
    </dgm:pt>
    <dgm:pt modelId="{F010905A-198A-40E6-942D-9DC12FC2399B}" type="pres">
      <dgm:prSet presAssocID="{46B65104-006C-4F4A-B670-679517833B77}" presName="parentText" presStyleLbl="node1" presStyleIdx="4" presStyleCnt="8">
        <dgm:presLayoutVars>
          <dgm:chMax val="0"/>
          <dgm:bulletEnabled val="1"/>
        </dgm:presLayoutVars>
      </dgm:prSet>
      <dgm:spPr/>
    </dgm:pt>
    <dgm:pt modelId="{DF0E2E7C-30FC-4691-8125-B73BB930632B}" type="pres">
      <dgm:prSet presAssocID="{9FE746F9-91A6-441A-B847-8570498A2EB9}" presName="spacer" presStyleCnt="0"/>
      <dgm:spPr/>
    </dgm:pt>
    <dgm:pt modelId="{0D02BA59-AC73-4BF8-8835-B5D6267D9BCD}" type="pres">
      <dgm:prSet presAssocID="{C56B0AB0-FB83-4A6F-90CD-E60080F0FB88}" presName="parentText" presStyleLbl="node1" presStyleIdx="5" presStyleCnt="8">
        <dgm:presLayoutVars>
          <dgm:chMax val="0"/>
          <dgm:bulletEnabled val="1"/>
        </dgm:presLayoutVars>
      </dgm:prSet>
      <dgm:spPr/>
    </dgm:pt>
    <dgm:pt modelId="{9E5E95F0-0EA8-4451-A928-6CA59D655EC8}" type="pres">
      <dgm:prSet presAssocID="{473AD886-6667-4D43-81A5-AEB66EFBA910}" presName="spacer" presStyleCnt="0"/>
      <dgm:spPr/>
    </dgm:pt>
    <dgm:pt modelId="{036BE266-4550-4AEB-B311-E43D8E61B94F}" type="pres">
      <dgm:prSet presAssocID="{8D05F666-45B5-4994-A9ED-C3C2E188CD5D}" presName="parentText" presStyleLbl="node1" presStyleIdx="6" presStyleCnt="8">
        <dgm:presLayoutVars>
          <dgm:chMax val="0"/>
          <dgm:bulletEnabled val="1"/>
        </dgm:presLayoutVars>
      </dgm:prSet>
      <dgm:spPr/>
    </dgm:pt>
    <dgm:pt modelId="{46C30820-D259-4CB4-AA3D-9F789CBB47D0}" type="pres">
      <dgm:prSet presAssocID="{1881E661-7904-45EE-AF84-F2C958DD982D}" presName="spacer" presStyleCnt="0"/>
      <dgm:spPr/>
    </dgm:pt>
    <dgm:pt modelId="{FB697099-EC87-43FA-BA63-0F0D25358850}" type="pres">
      <dgm:prSet presAssocID="{D7B5F537-90CE-4965-BFEF-52A053850155}" presName="parentText" presStyleLbl="node1" presStyleIdx="7" presStyleCnt="8">
        <dgm:presLayoutVars>
          <dgm:chMax val="0"/>
          <dgm:bulletEnabled val="1"/>
        </dgm:presLayoutVars>
      </dgm:prSet>
      <dgm:spPr/>
    </dgm:pt>
  </dgm:ptLst>
  <dgm:cxnLst>
    <dgm:cxn modelId="{97133B02-D4A2-42E0-AE95-55056C8D059E}" srcId="{54925133-D1FA-4374-BC9F-76770AA7CE72}" destId="{D7B5F537-90CE-4965-BFEF-52A053850155}" srcOrd="7" destOrd="0" parTransId="{07ED6477-41E8-4C87-9ACB-9FFABDD5672C}" sibTransId="{46B64D0A-9CAD-45C6-962E-517AC6678BF8}"/>
    <dgm:cxn modelId="{B222900B-051C-42F4-B5B1-5E52056635F7}" type="presOf" srcId="{C56B0AB0-FB83-4A6F-90CD-E60080F0FB88}" destId="{0D02BA59-AC73-4BF8-8835-B5D6267D9BCD}" srcOrd="0" destOrd="0" presId="urn:microsoft.com/office/officeart/2005/8/layout/vList2"/>
    <dgm:cxn modelId="{2F590D49-FF77-45A6-B54B-7599344EFC1B}" type="presOf" srcId="{54925133-D1FA-4374-BC9F-76770AA7CE72}" destId="{2639E03B-722D-4E9C-8F57-50D4749FBCE6}" srcOrd="0" destOrd="0" presId="urn:microsoft.com/office/officeart/2005/8/layout/vList2"/>
    <dgm:cxn modelId="{1D4F184E-6B72-48F6-8389-8B903DBFE7BA}" srcId="{54925133-D1FA-4374-BC9F-76770AA7CE72}" destId="{8D05F666-45B5-4994-A9ED-C3C2E188CD5D}" srcOrd="6" destOrd="0" parTransId="{E98F3F38-913E-45A3-856F-0E325E568F18}" sibTransId="{1881E661-7904-45EE-AF84-F2C958DD982D}"/>
    <dgm:cxn modelId="{66B77751-3EBC-49A7-9251-4392C7227F04}" type="presOf" srcId="{5156088C-2737-4780-A169-C6CB5820ACE9}" destId="{50A5B6E6-4295-4130-8A57-29A697F70706}" srcOrd="0" destOrd="0" presId="urn:microsoft.com/office/officeart/2005/8/layout/vList2"/>
    <dgm:cxn modelId="{65568252-3B2E-41A0-A0A1-8FDA438935E7}" type="presOf" srcId="{F15F2E62-4EF8-4DE7-92C1-60BC5D33E30D}" destId="{C94F9688-2573-466A-B66F-165B50279713}" srcOrd="0" destOrd="0" presId="urn:microsoft.com/office/officeart/2005/8/layout/vList2"/>
    <dgm:cxn modelId="{82BF4956-24AA-49CE-9536-B396EB2E24BC}" type="presOf" srcId="{8D05F666-45B5-4994-A9ED-C3C2E188CD5D}" destId="{036BE266-4550-4AEB-B311-E43D8E61B94F}" srcOrd="0" destOrd="0" presId="urn:microsoft.com/office/officeart/2005/8/layout/vList2"/>
    <dgm:cxn modelId="{E6728289-7FAF-42CE-9D13-0481390ABCDD}" type="presOf" srcId="{46B65104-006C-4F4A-B670-679517833B77}" destId="{F010905A-198A-40E6-942D-9DC12FC2399B}" srcOrd="0" destOrd="0" presId="urn:microsoft.com/office/officeart/2005/8/layout/vList2"/>
    <dgm:cxn modelId="{EB6AF48B-F746-4240-97F4-662B8F412341}" srcId="{54925133-D1FA-4374-BC9F-76770AA7CE72}" destId="{D1FA7A40-2F3E-4455-BF9B-BBF764186FB5}" srcOrd="2" destOrd="0" parTransId="{3542E32B-B7FE-4BE2-B72C-2E3B025FB675}" sibTransId="{556052DF-A188-43B5-8FFC-4961A630E190}"/>
    <dgm:cxn modelId="{F7B2328F-ECD4-4AB4-9EBF-7E79904F2781}" type="presOf" srcId="{A5664533-4B96-4CF7-BF37-B13544D66E02}" destId="{1A8A4CC6-FC3A-4F4E-8407-6C02B34C0CC5}" srcOrd="0" destOrd="0" presId="urn:microsoft.com/office/officeart/2005/8/layout/vList2"/>
    <dgm:cxn modelId="{5F62159E-2C5A-438F-89AB-05657AFD1609}" type="presOf" srcId="{D7B5F537-90CE-4965-BFEF-52A053850155}" destId="{FB697099-EC87-43FA-BA63-0F0D25358850}" srcOrd="0" destOrd="0" presId="urn:microsoft.com/office/officeart/2005/8/layout/vList2"/>
    <dgm:cxn modelId="{2DE627A2-6820-4986-9CB7-D37226156780}" type="presOf" srcId="{D1FA7A40-2F3E-4455-BF9B-BBF764186FB5}" destId="{67510A72-0B3C-493E-99E5-E4F969803118}" srcOrd="0" destOrd="0" presId="urn:microsoft.com/office/officeart/2005/8/layout/vList2"/>
    <dgm:cxn modelId="{7338B0BB-4EF6-4055-8CDB-F40CC9F3862F}" srcId="{54925133-D1FA-4374-BC9F-76770AA7CE72}" destId="{5156088C-2737-4780-A169-C6CB5820ACE9}" srcOrd="0" destOrd="0" parTransId="{18CF5AC1-394B-4F1E-925E-A792D466BA5A}" sibTransId="{C46F6383-DA1D-42B8-BDF9-4F133BE5E3E0}"/>
    <dgm:cxn modelId="{E8CC78C7-FF1C-4DBE-ADC1-E89A3F9B51F7}" srcId="{54925133-D1FA-4374-BC9F-76770AA7CE72}" destId="{C56B0AB0-FB83-4A6F-90CD-E60080F0FB88}" srcOrd="5" destOrd="0" parTransId="{1CF45645-FBFF-4CDC-BDE9-E6C664F12DE9}" sibTransId="{473AD886-6667-4D43-81A5-AEB66EFBA910}"/>
    <dgm:cxn modelId="{7F85E2E0-4D34-4443-8BB4-A49531B8B89C}" srcId="{54925133-D1FA-4374-BC9F-76770AA7CE72}" destId="{46B65104-006C-4F4A-B670-679517833B77}" srcOrd="4" destOrd="0" parTransId="{A2437839-32FA-4D9F-9C7F-512748F870C5}" sibTransId="{9FE746F9-91A6-441A-B847-8570498A2EB9}"/>
    <dgm:cxn modelId="{84E75FF7-F3D5-4745-B274-9DFCF1882DDF}" srcId="{54925133-D1FA-4374-BC9F-76770AA7CE72}" destId="{A5664533-4B96-4CF7-BF37-B13544D66E02}" srcOrd="1" destOrd="0" parTransId="{8490FC7C-9BE0-46FC-8B2C-D6056A45DB8B}" sibTransId="{3E78CDDC-2F6F-472F-B316-A4FAA6130B49}"/>
    <dgm:cxn modelId="{92E863FF-6948-44E2-A9F3-5708C9DEE17E}" srcId="{54925133-D1FA-4374-BC9F-76770AA7CE72}" destId="{F15F2E62-4EF8-4DE7-92C1-60BC5D33E30D}" srcOrd="3" destOrd="0" parTransId="{5EA2F4CF-CE5E-4854-A354-3EA7FA3DE6EE}" sibTransId="{C2774050-E270-4516-AC57-FEF284769078}"/>
    <dgm:cxn modelId="{A7ABE65F-D9B9-4A42-9E4C-1F70FAD91278}" type="presParOf" srcId="{2639E03B-722D-4E9C-8F57-50D4749FBCE6}" destId="{50A5B6E6-4295-4130-8A57-29A697F70706}" srcOrd="0" destOrd="0" presId="urn:microsoft.com/office/officeart/2005/8/layout/vList2"/>
    <dgm:cxn modelId="{6BFD2164-3D5B-4B2D-BE5B-40CB1BFC511C}" type="presParOf" srcId="{2639E03B-722D-4E9C-8F57-50D4749FBCE6}" destId="{6ACB1EB0-39B2-455D-85B2-7ED038353B55}" srcOrd="1" destOrd="0" presId="urn:microsoft.com/office/officeart/2005/8/layout/vList2"/>
    <dgm:cxn modelId="{3089F7F5-8952-4462-B26F-B9CDBB23C2DB}" type="presParOf" srcId="{2639E03B-722D-4E9C-8F57-50D4749FBCE6}" destId="{1A8A4CC6-FC3A-4F4E-8407-6C02B34C0CC5}" srcOrd="2" destOrd="0" presId="urn:microsoft.com/office/officeart/2005/8/layout/vList2"/>
    <dgm:cxn modelId="{8EB3B4A0-FAB4-4BA2-A429-582B3406DCA7}" type="presParOf" srcId="{2639E03B-722D-4E9C-8F57-50D4749FBCE6}" destId="{E0CBFFB1-C74F-4115-8167-656A85A142C3}" srcOrd="3" destOrd="0" presId="urn:microsoft.com/office/officeart/2005/8/layout/vList2"/>
    <dgm:cxn modelId="{3B3B3B4C-D263-4CBA-9CDF-16A0B12A1562}" type="presParOf" srcId="{2639E03B-722D-4E9C-8F57-50D4749FBCE6}" destId="{67510A72-0B3C-493E-99E5-E4F969803118}" srcOrd="4" destOrd="0" presId="urn:microsoft.com/office/officeart/2005/8/layout/vList2"/>
    <dgm:cxn modelId="{2073CE26-14CA-41A4-BE7F-780DA8B1B1DE}" type="presParOf" srcId="{2639E03B-722D-4E9C-8F57-50D4749FBCE6}" destId="{B98BD110-B521-40B2-82BA-776C3AF69AAB}" srcOrd="5" destOrd="0" presId="urn:microsoft.com/office/officeart/2005/8/layout/vList2"/>
    <dgm:cxn modelId="{3F01246A-798A-4B4A-B829-9EDB15A39ECB}" type="presParOf" srcId="{2639E03B-722D-4E9C-8F57-50D4749FBCE6}" destId="{C94F9688-2573-466A-B66F-165B50279713}" srcOrd="6" destOrd="0" presId="urn:microsoft.com/office/officeart/2005/8/layout/vList2"/>
    <dgm:cxn modelId="{45401CA7-7F61-4F90-B664-3FDC4DB9A4D6}" type="presParOf" srcId="{2639E03B-722D-4E9C-8F57-50D4749FBCE6}" destId="{2390E134-2C5F-4B35-A60D-CDE98587B45C}" srcOrd="7" destOrd="0" presId="urn:microsoft.com/office/officeart/2005/8/layout/vList2"/>
    <dgm:cxn modelId="{00EA788B-05A2-4D5C-991A-E04B62882E7B}" type="presParOf" srcId="{2639E03B-722D-4E9C-8F57-50D4749FBCE6}" destId="{F010905A-198A-40E6-942D-9DC12FC2399B}" srcOrd="8" destOrd="0" presId="urn:microsoft.com/office/officeart/2005/8/layout/vList2"/>
    <dgm:cxn modelId="{D21C4DFE-652F-4EAC-AEA6-EEFD727B030B}" type="presParOf" srcId="{2639E03B-722D-4E9C-8F57-50D4749FBCE6}" destId="{DF0E2E7C-30FC-4691-8125-B73BB930632B}" srcOrd="9" destOrd="0" presId="urn:microsoft.com/office/officeart/2005/8/layout/vList2"/>
    <dgm:cxn modelId="{7F6095AD-EE9D-4421-98E6-97DE18BEF8F3}" type="presParOf" srcId="{2639E03B-722D-4E9C-8F57-50D4749FBCE6}" destId="{0D02BA59-AC73-4BF8-8835-B5D6267D9BCD}" srcOrd="10" destOrd="0" presId="urn:microsoft.com/office/officeart/2005/8/layout/vList2"/>
    <dgm:cxn modelId="{AFF2A56E-9FFB-4D8F-BB0E-888443E8692C}" type="presParOf" srcId="{2639E03B-722D-4E9C-8F57-50D4749FBCE6}" destId="{9E5E95F0-0EA8-4451-A928-6CA59D655EC8}" srcOrd="11" destOrd="0" presId="urn:microsoft.com/office/officeart/2005/8/layout/vList2"/>
    <dgm:cxn modelId="{2AC3A31E-5148-4D83-B7EE-9A4C1A52A034}" type="presParOf" srcId="{2639E03B-722D-4E9C-8F57-50D4749FBCE6}" destId="{036BE266-4550-4AEB-B311-E43D8E61B94F}" srcOrd="12" destOrd="0" presId="urn:microsoft.com/office/officeart/2005/8/layout/vList2"/>
    <dgm:cxn modelId="{8777E2DE-8910-48B0-B964-434B0834F58C}" type="presParOf" srcId="{2639E03B-722D-4E9C-8F57-50D4749FBCE6}" destId="{46C30820-D259-4CB4-AA3D-9F789CBB47D0}" srcOrd="13" destOrd="0" presId="urn:microsoft.com/office/officeart/2005/8/layout/vList2"/>
    <dgm:cxn modelId="{8C36A3BD-D86C-4B58-B88E-666843B97A36}" type="presParOf" srcId="{2639E03B-722D-4E9C-8F57-50D4749FBCE6}" destId="{FB697099-EC87-43FA-BA63-0F0D25358850}" srcOrd="1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033794-6589-4E87-868E-05421DE3610C}">
      <dsp:nvSpPr>
        <dsp:cNvPr id="0" name=""/>
        <dsp:cNvSpPr/>
      </dsp:nvSpPr>
      <dsp:spPr>
        <a:xfrm>
          <a:off x="0" y="54845"/>
          <a:ext cx="9662160" cy="105300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The off-shelf equipment should be delivered in 6 months within the current financial year and the equipment that requires customisation should be delivered before the end of the financial year 2027/28. Transnet reserve the right to withdraw the contract at no cost provided the contractor fails to deliver the first track bulldozer within the specified time frame. Table below indicate the high-level project deliverables.</a:t>
          </a:r>
          <a:endParaRPr lang="en-ZA" sz="1500" kern="1200"/>
        </a:p>
      </dsp:txBody>
      <dsp:txXfrm>
        <a:off x="51403" y="106248"/>
        <a:ext cx="9559354" cy="9501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B75BFB-73FC-4594-9DAF-EB5598C89933}">
      <dsp:nvSpPr>
        <dsp:cNvPr id="0" name=""/>
        <dsp:cNvSpPr/>
      </dsp:nvSpPr>
      <dsp:spPr>
        <a:xfrm>
          <a:off x="0" y="135689"/>
          <a:ext cx="10332720" cy="2804813"/>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The recovery track bulldozers are used in a derailment site to lift or pull the wagons away from the rail track if the wagon is damaged. And if the wagon can still be used, the track bulldozers assist in putting the wagon back on track. Normally the track bulldozers are operated in pairs of 2 depending on each scenario to pull the rolling stock. The technical requirement for the track bulldozers is outlined in the attached specification in </a:t>
          </a:r>
          <a:r>
            <a:rPr lang="en-US" sz="2300" b="1" kern="1200" dirty="0"/>
            <a:t>Annexure A</a:t>
          </a:r>
          <a:r>
            <a:rPr lang="en-US" sz="2300" kern="1200" dirty="0"/>
            <a:t>:</a:t>
          </a:r>
          <a:endParaRPr lang="en-ZA" sz="2300" kern="1200" dirty="0"/>
        </a:p>
      </dsp:txBody>
      <dsp:txXfrm>
        <a:off x="136920" y="272609"/>
        <a:ext cx="10058880" cy="253097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9FADE4-A07A-4D4F-82B4-942019CBC0A0}">
      <dsp:nvSpPr>
        <dsp:cNvPr id="0" name=""/>
        <dsp:cNvSpPr/>
      </dsp:nvSpPr>
      <dsp:spPr>
        <a:xfrm>
          <a:off x="0" y="82582"/>
          <a:ext cx="10288175" cy="1123200"/>
        </a:xfrm>
        <a:prstGeom prst="roundRect">
          <a:avLst/>
        </a:prstGeom>
        <a:solidFill>
          <a:schemeClr val="accent3">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a:t>The excavators are used in a derailment site to put back the commodity into the wagon in case of a spillage and to offload the commodity from the derailed wagon in a case where the wagon is totally damaged. The lowbed trailers will be used to transport excavators and track bulldozers via road. The technical requirements for excavators and lowbed trailers are as per the attached specification in Annexure A:</a:t>
          </a:r>
          <a:endParaRPr lang="en-ZA" sz="1600" kern="1200"/>
        </a:p>
      </dsp:txBody>
      <dsp:txXfrm>
        <a:off x="54830" y="137412"/>
        <a:ext cx="10178515" cy="10135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8A7AF9-B78E-4070-B293-25D63DBC66A7}">
      <dsp:nvSpPr>
        <dsp:cNvPr id="0" name=""/>
        <dsp:cNvSpPr/>
      </dsp:nvSpPr>
      <dsp:spPr>
        <a:xfrm rot="10800000">
          <a:off x="412856" y="0"/>
          <a:ext cx="9462461" cy="51054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5137"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The excavators, low bed trailer and track bulldozers should be easy to maintain and the spares parts should be available for maintenance and sustainability with a proven local technical support availability.</a:t>
          </a:r>
          <a:endParaRPr lang="en-ZA" sz="1400" kern="1200" dirty="0"/>
        </a:p>
      </dsp:txBody>
      <dsp:txXfrm rot="10800000">
        <a:off x="540492" y="0"/>
        <a:ext cx="9334825" cy="510546"/>
      </dsp:txXfrm>
    </dsp:sp>
    <dsp:sp modelId="{40D760EF-C58C-4DDE-B5E8-43A4E2874CA2}">
      <dsp:nvSpPr>
        <dsp:cNvPr id="0" name=""/>
        <dsp:cNvSpPr/>
      </dsp:nvSpPr>
      <dsp:spPr>
        <a:xfrm>
          <a:off x="1000636" y="1276802"/>
          <a:ext cx="510546" cy="510546"/>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A6DC3F7-713C-4E89-8CF4-9C482872CB31}">
      <dsp:nvSpPr>
        <dsp:cNvPr id="0" name=""/>
        <dsp:cNvSpPr/>
      </dsp:nvSpPr>
      <dsp:spPr>
        <a:xfrm rot="10800000">
          <a:off x="431192" y="648561"/>
          <a:ext cx="9425789" cy="51054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5137"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The excavators, low bed trailer and track bulldozers must come with 7 000 hours/ 7-years maintenance plan whichever comes first.</a:t>
          </a:r>
          <a:endParaRPr lang="en-ZA" sz="1400" kern="1200" dirty="0"/>
        </a:p>
      </dsp:txBody>
      <dsp:txXfrm rot="10800000">
        <a:off x="558828" y="648561"/>
        <a:ext cx="9298153" cy="510546"/>
      </dsp:txXfrm>
    </dsp:sp>
    <dsp:sp modelId="{3CA3793B-CD07-4AE1-80C5-EC397BE8A4A9}">
      <dsp:nvSpPr>
        <dsp:cNvPr id="0" name=""/>
        <dsp:cNvSpPr/>
      </dsp:nvSpPr>
      <dsp:spPr>
        <a:xfrm>
          <a:off x="2128397" y="1276802"/>
          <a:ext cx="510546" cy="510546"/>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184A07B-FC86-4EB2-AE19-4775FDB587D5}">
      <dsp:nvSpPr>
        <dsp:cNvPr id="0" name=""/>
        <dsp:cNvSpPr/>
      </dsp:nvSpPr>
      <dsp:spPr>
        <a:xfrm rot="10800000">
          <a:off x="388637" y="1188045"/>
          <a:ext cx="9502142" cy="51054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5137"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The excavators, low bed trailer and track-track bulldozers must be able to operate and withstand all weather conditions.</a:t>
          </a:r>
          <a:endParaRPr lang="en-ZA" sz="1400" kern="1200" dirty="0"/>
        </a:p>
      </dsp:txBody>
      <dsp:txXfrm rot="10800000">
        <a:off x="516273" y="1188045"/>
        <a:ext cx="9374506" cy="510546"/>
      </dsp:txXfrm>
    </dsp:sp>
    <dsp:sp modelId="{5674F28D-6B33-4DAD-8BB3-44E45149EC18}">
      <dsp:nvSpPr>
        <dsp:cNvPr id="0" name=""/>
        <dsp:cNvSpPr/>
      </dsp:nvSpPr>
      <dsp:spPr>
        <a:xfrm>
          <a:off x="9777627" y="0"/>
          <a:ext cx="510546" cy="510546"/>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96ABE1-692E-4DD3-9DDF-FDE40328F871}">
      <dsp:nvSpPr>
        <dsp:cNvPr id="0" name=""/>
        <dsp:cNvSpPr/>
      </dsp:nvSpPr>
      <dsp:spPr>
        <a:xfrm>
          <a:off x="0" y="407"/>
          <a:ext cx="9834880" cy="769681"/>
        </a:xfrm>
        <a:prstGeom prst="roundRect">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The recovery equipment to be delivered should comply to the following but not limited to regulatory requirements and standards:</a:t>
          </a:r>
          <a:endParaRPr lang="en-ZA" sz="1400" kern="1200" dirty="0"/>
        </a:p>
      </dsp:txBody>
      <dsp:txXfrm>
        <a:off x="37573" y="37980"/>
        <a:ext cx="9759734" cy="69453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A5B6E6-4295-4130-8A57-29A697F70706}">
      <dsp:nvSpPr>
        <dsp:cNvPr id="0" name=""/>
        <dsp:cNvSpPr/>
      </dsp:nvSpPr>
      <dsp:spPr>
        <a:xfrm>
          <a:off x="0" y="881276"/>
          <a:ext cx="8950960" cy="306642"/>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ZA" sz="1100" b="1" kern="1200" dirty="0"/>
            <a:t>Code of Practice 29 (COP29): </a:t>
          </a:r>
          <a:r>
            <a:rPr lang="en-ZA" sz="1100" kern="1200" dirty="0"/>
            <a:t>The code pertains to the safe management of lifting equipment and requirements with regard to the procurement of the lifting equipment which must be complied with (section 17). </a:t>
          </a:r>
        </a:p>
      </dsp:txBody>
      <dsp:txXfrm>
        <a:off x="14969" y="896245"/>
        <a:ext cx="8921022" cy="276704"/>
      </dsp:txXfrm>
    </dsp:sp>
    <dsp:sp modelId="{1A8A4CC6-FC3A-4F4E-8407-6C02B34C0CC5}">
      <dsp:nvSpPr>
        <dsp:cNvPr id="0" name=""/>
        <dsp:cNvSpPr/>
      </dsp:nvSpPr>
      <dsp:spPr>
        <a:xfrm>
          <a:off x="0" y="1220314"/>
          <a:ext cx="8950960" cy="306642"/>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ZA" sz="1100" b="1" kern="1200"/>
            <a:t>Occupational Health and Safety, Act no 85 of 1993 and regulation: </a:t>
          </a:r>
          <a:r>
            <a:rPr lang="en-ZA" sz="1100" kern="1200"/>
            <a:t>(Driven Machinery Regulation section 18). The regulation pertains to the requirements and management of the lifting equipment. </a:t>
          </a:r>
        </a:p>
      </dsp:txBody>
      <dsp:txXfrm>
        <a:off x="14969" y="1235283"/>
        <a:ext cx="8921022" cy="276704"/>
      </dsp:txXfrm>
    </dsp:sp>
    <dsp:sp modelId="{67510A72-0B3C-493E-99E5-E4F969803118}">
      <dsp:nvSpPr>
        <dsp:cNvPr id="0" name=""/>
        <dsp:cNvSpPr/>
      </dsp:nvSpPr>
      <dsp:spPr>
        <a:xfrm>
          <a:off x="0" y="1518693"/>
          <a:ext cx="8950960" cy="306642"/>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ZA" sz="1100" b="1" kern="1200" dirty="0"/>
            <a:t>Railway Safety Regulator (RSR): </a:t>
          </a:r>
          <a:r>
            <a:rPr lang="en-ZA" sz="1100" kern="1200" dirty="0"/>
            <a:t>Promote safe railway operations through appropriate support, monitoring, and enforcement guided by an enabling regulatory framework. </a:t>
          </a:r>
        </a:p>
      </dsp:txBody>
      <dsp:txXfrm>
        <a:off x="14969" y="1533662"/>
        <a:ext cx="8921022" cy="276704"/>
      </dsp:txXfrm>
    </dsp:sp>
    <dsp:sp modelId="{C94F9688-2573-466A-B66F-165B50279713}">
      <dsp:nvSpPr>
        <dsp:cNvPr id="0" name=""/>
        <dsp:cNvSpPr/>
      </dsp:nvSpPr>
      <dsp:spPr>
        <a:xfrm>
          <a:off x="0" y="1837402"/>
          <a:ext cx="8950960" cy="510079"/>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ZA" sz="1100" b="1" kern="1200" dirty="0"/>
            <a:t>SANS 1395:</a:t>
          </a:r>
          <a:r>
            <a:rPr lang="en-ZA" sz="1100" kern="1200" dirty="0"/>
            <a:t>1 Road Transport Management Systems (RTMS) standard stipulates requirements for the implementation of a management system that demonstrates compliance with Road Traffic Regulations and contributes to preserving road infrastructure, improving road safety, ensuring driver health and wellness, and improving productivity. </a:t>
          </a:r>
        </a:p>
      </dsp:txBody>
      <dsp:txXfrm>
        <a:off x="24900" y="1862302"/>
        <a:ext cx="8901160" cy="460279"/>
      </dsp:txXfrm>
    </dsp:sp>
    <dsp:sp modelId="{F010905A-198A-40E6-942D-9DC12FC2399B}">
      <dsp:nvSpPr>
        <dsp:cNvPr id="0" name=""/>
        <dsp:cNvSpPr/>
      </dsp:nvSpPr>
      <dsp:spPr>
        <a:xfrm>
          <a:off x="0" y="2359546"/>
          <a:ext cx="8950960" cy="306642"/>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ZA" sz="1100" b="1" kern="1200" dirty="0"/>
            <a:t>SAE J397 OCT95, SAE J1040 MAY94, ISO 3164:1995, ISO 3471:</a:t>
          </a:r>
          <a:r>
            <a:rPr lang="en-ZA" sz="1100" kern="1200" dirty="0"/>
            <a:t>1994 for rollover protection. </a:t>
          </a:r>
        </a:p>
      </dsp:txBody>
      <dsp:txXfrm>
        <a:off x="14969" y="2374515"/>
        <a:ext cx="8921022" cy="276704"/>
      </dsp:txXfrm>
    </dsp:sp>
    <dsp:sp modelId="{0D02BA59-AC73-4BF8-8835-B5D6267D9BCD}">
      <dsp:nvSpPr>
        <dsp:cNvPr id="0" name=""/>
        <dsp:cNvSpPr/>
      </dsp:nvSpPr>
      <dsp:spPr>
        <a:xfrm>
          <a:off x="0" y="2678255"/>
          <a:ext cx="8950960" cy="306642"/>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ZA" sz="1100" b="1" kern="1200"/>
            <a:t>SAE J231 JAN81, ISO 3449:</a:t>
          </a:r>
          <a:r>
            <a:rPr lang="en-ZA" sz="1100" kern="1200"/>
            <a:t>1992 for falling object protection. </a:t>
          </a:r>
        </a:p>
      </dsp:txBody>
      <dsp:txXfrm>
        <a:off x="14969" y="2693224"/>
        <a:ext cx="8921022" cy="276704"/>
      </dsp:txXfrm>
    </dsp:sp>
    <dsp:sp modelId="{036BE266-4550-4AEB-B311-E43D8E61B94F}">
      <dsp:nvSpPr>
        <dsp:cNvPr id="0" name=""/>
        <dsp:cNvSpPr/>
      </dsp:nvSpPr>
      <dsp:spPr>
        <a:xfrm>
          <a:off x="0" y="2996963"/>
          <a:ext cx="8950960" cy="306642"/>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ZA" sz="1100" b="1" kern="1200" dirty="0"/>
            <a:t>SAE J1026 APR90, ISO 10265:</a:t>
          </a:r>
          <a:r>
            <a:rPr lang="en-ZA" sz="1100" kern="1200" dirty="0"/>
            <a:t>1998 for brakes standard. </a:t>
          </a:r>
        </a:p>
      </dsp:txBody>
      <dsp:txXfrm>
        <a:off x="14969" y="3011932"/>
        <a:ext cx="8921022" cy="276704"/>
      </dsp:txXfrm>
    </dsp:sp>
    <dsp:sp modelId="{FB697099-EC87-43FA-BA63-0F0D25358850}">
      <dsp:nvSpPr>
        <dsp:cNvPr id="0" name=""/>
        <dsp:cNvSpPr/>
      </dsp:nvSpPr>
      <dsp:spPr>
        <a:xfrm>
          <a:off x="0" y="3315672"/>
          <a:ext cx="8950960" cy="306642"/>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ZA" sz="1100" b="1" kern="1200"/>
            <a:t>ANSI/SAE J1166 MAY90: </a:t>
          </a:r>
          <a:r>
            <a:rPr lang="en-ZA" sz="1100" kern="1200"/>
            <a:t>standard for noise levels</a:t>
          </a:r>
        </a:p>
      </dsp:txBody>
      <dsp:txXfrm>
        <a:off x="14969" y="3330641"/>
        <a:ext cx="8921022" cy="27670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3E9E0EE-1DCB-4F30-B077-464F007E46A9}" type="datetimeFigureOut">
              <a:rPr lang="en-GB" smtClean="0"/>
              <a:t>25/11/2025</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CE7D0A-618D-469D-A0F6-7E10C3D47CE6}" type="datetimeFigureOut">
              <a:rPr lang="en-GB" smtClean="0"/>
              <a:t>25/1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4714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7598701F-E30A-FA3B-E241-1F7BF91C14A2}"/>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69701B68-7BCA-ACC8-33B5-B8D42E885C3B}"/>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a:p>
        </p:txBody>
      </p:sp>
      <p:sp>
        <p:nvSpPr>
          <p:cNvPr id="4" name="Slide Number Placeholder 3">
            <a:extLst>
              <a:ext uri="{FF2B5EF4-FFF2-40B4-BE49-F238E27FC236}">
                <a16:creationId xmlns:a16="http://schemas.microsoft.com/office/drawing/2014/main" id="{F380675F-B872-C582-6A12-2989F6DDAC4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C0EECCE-F8D2-40A9-BE9D-51AD4DC5C3F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image" Target="../media/image40.jpeg"/><Relationship Id="rId1" Type="http://schemas.openxmlformats.org/officeDocument/2006/relationships/slideMaster" Target="../slideMasters/slideMaster3.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193114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dirty="0">
                <a:solidFill>
                  <a:schemeClr val="accent5"/>
                </a:solidFill>
              </a:rPr>
              <a:t>Section heading here</a:t>
            </a:r>
          </a:p>
          <a:p>
            <a:r>
              <a:rPr lang="en-GB" sz="1800" dirty="0"/>
              <a:t>Normal text here and here and here and here</a:t>
            </a:r>
            <a:endParaRPr lang="en-GB" sz="2400" dirty="0"/>
          </a:p>
        </p:txBody>
      </p:sp>
      <p:pic>
        <p:nvPicPr>
          <p:cNvPr id="12" name="Picture 11">
            <a:extLst>
              <a:ext uri="{FF2B5EF4-FFF2-40B4-BE49-F238E27FC236}">
                <a16:creationId xmlns:a16="http://schemas.microsoft.com/office/drawing/2014/main" id="{5DE8A4C4-F89C-4196-9B13-39D203050D55}"/>
              </a:ext>
            </a:extLst>
          </p:cNvPr>
          <p:cNvPicPr>
            <a:picLocks noChangeAspect="1"/>
          </p:cNvPicPr>
          <p:nvPr userDrawn="1"/>
        </p:nvPicPr>
        <p:blipFill>
          <a:blip r:embed="rId6"/>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338413678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DD80B3C5-184A-2AE5-FB68-880FAB550A7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4" name="Title Placeholder 1"/>
          <p:cNvSpPr>
            <a:spLocks noGrp="1"/>
          </p:cNvSpPr>
          <p:nvPr>
            <p:ph type="ctrTitle"/>
          </p:nvPr>
        </p:nvSpPr>
        <p:spPr>
          <a:xfrm>
            <a:off x="2252133" y="4365625"/>
            <a:ext cx="7670800" cy="1079500"/>
          </a:xfrm>
        </p:spPr>
        <p:txBody>
          <a:bodyPr/>
          <a:lstStyle>
            <a:lvl1pPr algn="ctr">
              <a:defRPr sz="2100" smtClean="0"/>
            </a:lvl1pPr>
          </a:lstStyle>
          <a:p>
            <a:pPr lvl="0"/>
            <a:r>
              <a:rPr lang="en-ZA" noProof="0"/>
              <a:t>Click To Edit Master Title Style</a:t>
            </a:r>
          </a:p>
        </p:txBody>
      </p:sp>
      <p:sp>
        <p:nvSpPr>
          <p:cNvPr id="8195" name="Text Placeholder 2"/>
          <p:cNvSpPr>
            <a:spLocks noGrp="1"/>
          </p:cNvSpPr>
          <p:nvPr>
            <p:ph type="subTitle" idx="1"/>
          </p:nvPr>
        </p:nvSpPr>
        <p:spPr>
          <a:xfrm>
            <a:off x="2252133" y="5486400"/>
            <a:ext cx="7670800" cy="787400"/>
          </a:xfrm>
        </p:spPr>
        <p:txBody>
          <a:bodyPr/>
          <a:lstStyle>
            <a:lvl1pPr marL="0" indent="0" algn="ctr">
              <a:buFont typeface="Wingdings" pitchFamily="2" charset="2"/>
              <a:buNone/>
              <a:defRPr sz="1600" smtClean="0"/>
            </a:lvl1pPr>
          </a:lstStyle>
          <a:p>
            <a:pPr lvl="0"/>
            <a:r>
              <a:rPr lang="en-ZA" noProof="0"/>
              <a:t>Click to edit master subtitle style</a:t>
            </a:r>
          </a:p>
        </p:txBody>
      </p:sp>
      <p:sp>
        <p:nvSpPr>
          <p:cNvPr id="3" name="Footer Placeholder 4">
            <a:extLst>
              <a:ext uri="{FF2B5EF4-FFF2-40B4-BE49-F238E27FC236}">
                <a16:creationId xmlns:a16="http://schemas.microsoft.com/office/drawing/2014/main" id="{454E6181-E7DB-44A4-819C-E4C61880D544}"/>
              </a:ext>
            </a:extLst>
          </p:cNvPr>
          <p:cNvSpPr>
            <a:spLocks noGrp="1"/>
          </p:cNvSpPr>
          <p:nvPr>
            <p:ph type="ftr" sz="quarter" idx="10"/>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2128400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Slide Number Placeholder 5">
            <a:extLst>
              <a:ext uri="{FF2B5EF4-FFF2-40B4-BE49-F238E27FC236}">
                <a16:creationId xmlns:a16="http://schemas.microsoft.com/office/drawing/2014/main" id="{A961E3C9-0530-84D1-95D8-D49F0B5C0FB9}"/>
              </a:ext>
            </a:extLst>
          </p:cNvPr>
          <p:cNvSpPr>
            <a:spLocks noGrp="1"/>
          </p:cNvSpPr>
          <p:nvPr>
            <p:ph type="sldNum" sz="quarter" idx="10"/>
          </p:nvPr>
        </p:nvSpPr>
        <p:spPr/>
        <p:txBody>
          <a:bodyPr/>
          <a:lstStyle>
            <a:lvl1pPr>
              <a:defRPr/>
            </a:lvl1pPr>
          </a:lstStyle>
          <a:p>
            <a:pPr>
              <a:defRPr/>
            </a:pPr>
            <a:fld id="{BFAB9F77-72A7-444E-A3DC-67BA6D9B3A4B}" type="slidenum">
              <a:rPr lang="en-US" altLang="en-US"/>
              <a:pPr>
                <a:defRPr/>
              </a:pPr>
              <a:t>‹#›</a:t>
            </a:fld>
            <a:endParaRPr lang="en-US" altLang="en-US"/>
          </a:p>
        </p:txBody>
      </p:sp>
      <p:sp>
        <p:nvSpPr>
          <p:cNvPr id="5" name="Footer Placeholder 4">
            <a:extLst>
              <a:ext uri="{FF2B5EF4-FFF2-40B4-BE49-F238E27FC236}">
                <a16:creationId xmlns:a16="http://schemas.microsoft.com/office/drawing/2014/main" id="{5C4E6A58-D811-C740-9FCD-40D52C5E6ACB}"/>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3701344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B4F205D6-B12A-3A99-B761-9372DB016391}"/>
              </a:ext>
            </a:extLst>
          </p:cNvPr>
          <p:cNvSpPr>
            <a:spLocks noGrp="1"/>
          </p:cNvSpPr>
          <p:nvPr>
            <p:ph type="sldNum" sz="quarter" idx="10"/>
          </p:nvPr>
        </p:nvSpPr>
        <p:spPr/>
        <p:txBody>
          <a:bodyPr/>
          <a:lstStyle>
            <a:lvl1pPr>
              <a:defRPr/>
            </a:lvl1pPr>
          </a:lstStyle>
          <a:p>
            <a:pPr>
              <a:defRPr/>
            </a:pPr>
            <a:fld id="{ABF4C2E9-C499-4A47-8375-7BF8A2E841FA}" type="slidenum">
              <a:rPr lang="en-US" altLang="en-US"/>
              <a:pPr>
                <a:defRPr/>
              </a:pPr>
              <a:t>‹#›</a:t>
            </a:fld>
            <a:endParaRPr lang="en-US" altLang="en-US"/>
          </a:p>
        </p:txBody>
      </p:sp>
      <p:sp>
        <p:nvSpPr>
          <p:cNvPr id="5" name="Footer Placeholder 4">
            <a:extLst>
              <a:ext uri="{FF2B5EF4-FFF2-40B4-BE49-F238E27FC236}">
                <a16:creationId xmlns:a16="http://schemas.microsoft.com/office/drawing/2014/main" id="{AE41CC7E-637F-C024-6B9C-CAA1E6E8FA38}"/>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18331682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Slide Number Placeholder 5">
            <a:extLst>
              <a:ext uri="{FF2B5EF4-FFF2-40B4-BE49-F238E27FC236}">
                <a16:creationId xmlns:a16="http://schemas.microsoft.com/office/drawing/2014/main" id="{5C35B2A6-9396-C555-DCB8-1BD17CABCAB1}"/>
              </a:ext>
            </a:extLst>
          </p:cNvPr>
          <p:cNvSpPr>
            <a:spLocks noGrp="1"/>
          </p:cNvSpPr>
          <p:nvPr>
            <p:ph type="sldNum" sz="quarter" idx="10"/>
          </p:nvPr>
        </p:nvSpPr>
        <p:spPr/>
        <p:txBody>
          <a:bodyPr/>
          <a:lstStyle>
            <a:lvl1pPr>
              <a:defRPr/>
            </a:lvl1pPr>
          </a:lstStyle>
          <a:p>
            <a:pPr>
              <a:defRPr/>
            </a:pPr>
            <a:fld id="{2A9A1F74-FBC2-49D0-B0E2-808449DD5069}" type="slidenum">
              <a:rPr lang="en-US" altLang="en-US"/>
              <a:pPr>
                <a:defRPr/>
              </a:pPr>
              <a:t>‹#›</a:t>
            </a:fld>
            <a:endParaRPr lang="en-US" altLang="en-US"/>
          </a:p>
        </p:txBody>
      </p:sp>
      <p:sp>
        <p:nvSpPr>
          <p:cNvPr id="5" name="Footer Placeholder 4">
            <a:extLst>
              <a:ext uri="{FF2B5EF4-FFF2-40B4-BE49-F238E27FC236}">
                <a16:creationId xmlns:a16="http://schemas.microsoft.com/office/drawing/2014/main" id="{4F039AEC-4585-DA96-2DB6-19FE511B4DA7}"/>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34739102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2B0D9627-6AB2-1EB6-8E34-E6B15F491E09}"/>
              </a:ext>
            </a:extLst>
          </p:cNvPr>
          <p:cNvSpPr>
            <a:spLocks noGrp="1"/>
          </p:cNvSpPr>
          <p:nvPr>
            <p:ph type="sldNum" sz="quarter" idx="10"/>
          </p:nvPr>
        </p:nvSpPr>
        <p:spPr/>
        <p:txBody>
          <a:bodyPr/>
          <a:lstStyle>
            <a:lvl1pPr>
              <a:defRPr/>
            </a:lvl1pPr>
          </a:lstStyle>
          <a:p>
            <a:pPr>
              <a:defRPr/>
            </a:pPr>
            <a:fld id="{D2321FA8-3090-41D1-80A6-20B2E6F970AA}" type="slidenum">
              <a:rPr lang="en-US" altLang="en-US"/>
              <a:pPr>
                <a:defRPr/>
              </a:pPr>
              <a:t>‹#›</a:t>
            </a:fld>
            <a:endParaRPr lang="en-US" altLang="en-US"/>
          </a:p>
        </p:txBody>
      </p:sp>
      <p:sp>
        <p:nvSpPr>
          <p:cNvPr id="6" name="Footer Placeholder 4">
            <a:extLst>
              <a:ext uri="{FF2B5EF4-FFF2-40B4-BE49-F238E27FC236}">
                <a16:creationId xmlns:a16="http://schemas.microsoft.com/office/drawing/2014/main" id="{4E42ED36-5986-9F66-9F1D-7E08D5000A8C}"/>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29649022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0C990709-C5DE-B573-506A-B09048DC152A}"/>
              </a:ext>
            </a:extLst>
          </p:cNvPr>
          <p:cNvSpPr>
            <a:spLocks noGrp="1"/>
          </p:cNvSpPr>
          <p:nvPr>
            <p:ph type="sldNum" sz="quarter" idx="10"/>
          </p:nvPr>
        </p:nvSpPr>
        <p:spPr/>
        <p:txBody>
          <a:bodyPr/>
          <a:lstStyle>
            <a:lvl1pPr>
              <a:defRPr/>
            </a:lvl1pPr>
          </a:lstStyle>
          <a:p>
            <a:pPr>
              <a:defRPr/>
            </a:pPr>
            <a:fld id="{950A4FCD-46CF-4139-91F8-4DD63CF21938}" type="slidenum">
              <a:rPr lang="en-US" altLang="en-US"/>
              <a:pPr>
                <a:defRPr/>
              </a:pPr>
              <a:t>‹#›</a:t>
            </a:fld>
            <a:endParaRPr lang="en-US" altLang="en-US"/>
          </a:p>
        </p:txBody>
      </p:sp>
      <p:sp>
        <p:nvSpPr>
          <p:cNvPr id="8" name="Footer Placeholder 4">
            <a:extLst>
              <a:ext uri="{FF2B5EF4-FFF2-40B4-BE49-F238E27FC236}">
                <a16:creationId xmlns:a16="http://schemas.microsoft.com/office/drawing/2014/main" id="{D868AF31-A794-CEC1-AF4D-A9E567114B97}"/>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37697817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71A575C5-DE13-82AC-276A-A2638BFC4BEA}"/>
              </a:ext>
            </a:extLst>
          </p:cNvPr>
          <p:cNvSpPr>
            <a:spLocks noGrp="1"/>
          </p:cNvSpPr>
          <p:nvPr>
            <p:ph type="sldNum" sz="quarter" idx="10"/>
          </p:nvPr>
        </p:nvSpPr>
        <p:spPr/>
        <p:txBody>
          <a:bodyPr/>
          <a:lstStyle>
            <a:lvl1pPr>
              <a:defRPr/>
            </a:lvl1pPr>
          </a:lstStyle>
          <a:p>
            <a:pPr>
              <a:defRPr/>
            </a:pPr>
            <a:fld id="{76079996-7C3A-477D-8A47-5EA413A7BD6B}" type="slidenum">
              <a:rPr lang="en-US" altLang="en-US"/>
              <a:pPr>
                <a:defRPr/>
              </a:pPr>
              <a:t>‹#›</a:t>
            </a:fld>
            <a:endParaRPr lang="en-US" altLang="en-US"/>
          </a:p>
        </p:txBody>
      </p:sp>
      <p:sp>
        <p:nvSpPr>
          <p:cNvPr id="4" name="Footer Placeholder 4">
            <a:extLst>
              <a:ext uri="{FF2B5EF4-FFF2-40B4-BE49-F238E27FC236}">
                <a16:creationId xmlns:a16="http://schemas.microsoft.com/office/drawing/2014/main" id="{432B0AC6-9DC6-08EA-0221-D17D34F20723}"/>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3025961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E8AA227-48B2-05D2-E20B-652E089BCC4F}"/>
              </a:ext>
            </a:extLst>
          </p:cNvPr>
          <p:cNvSpPr>
            <a:spLocks noGrp="1"/>
          </p:cNvSpPr>
          <p:nvPr>
            <p:ph type="sldNum" sz="quarter" idx="10"/>
          </p:nvPr>
        </p:nvSpPr>
        <p:spPr/>
        <p:txBody>
          <a:bodyPr/>
          <a:lstStyle>
            <a:lvl1pPr>
              <a:defRPr/>
            </a:lvl1pPr>
          </a:lstStyle>
          <a:p>
            <a:pPr>
              <a:defRPr/>
            </a:pPr>
            <a:fld id="{73C0D7AE-84BD-46FF-A732-B4BA6E93CD07}" type="slidenum">
              <a:rPr lang="en-US" altLang="en-US"/>
              <a:pPr>
                <a:defRPr/>
              </a:pPr>
              <a:t>‹#›</a:t>
            </a:fld>
            <a:endParaRPr lang="en-US" altLang="en-US"/>
          </a:p>
        </p:txBody>
      </p:sp>
      <p:sp>
        <p:nvSpPr>
          <p:cNvPr id="3" name="Footer Placeholder 4">
            <a:extLst>
              <a:ext uri="{FF2B5EF4-FFF2-40B4-BE49-F238E27FC236}">
                <a16:creationId xmlns:a16="http://schemas.microsoft.com/office/drawing/2014/main" id="{26624CD6-B65C-76CA-5A0A-CA6C35C284E2}"/>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17023128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a:extLst>
              <a:ext uri="{FF2B5EF4-FFF2-40B4-BE49-F238E27FC236}">
                <a16:creationId xmlns:a16="http://schemas.microsoft.com/office/drawing/2014/main" id="{8CCE2ABC-DE0B-4881-EC41-556B3F1979FF}"/>
              </a:ext>
            </a:extLst>
          </p:cNvPr>
          <p:cNvSpPr>
            <a:spLocks noGrp="1"/>
          </p:cNvSpPr>
          <p:nvPr>
            <p:ph type="sldNum" sz="quarter" idx="10"/>
          </p:nvPr>
        </p:nvSpPr>
        <p:spPr/>
        <p:txBody>
          <a:bodyPr/>
          <a:lstStyle>
            <a:lvl1pPr>
              <a:defRPr/>
            </a:lvl1pPr>
          </a:lstStyle>
          <a:p>
            <a:pPr>
              <a:defRPr/>
            </a:pPr>
            <a:fld id="{EF533221-716B-443D-988F-30F9181A1BC5}" type="slidenum">
              <a:rPr lang="en-US" altLang="en-US"/>
              <a:pPr>
                <a:defRPr/>
              </a:pPr>
              <a:t>‹#›</a:t>
            </a:fld>
            <a:endParaRPr lang="en-US" altLang="en-US"/>
          </a:p>
        </p:txBody>
      </p:sp>
      <p:sp>
        <p:nvSpPr>
          <p:cNvPr id="6" name="Footer Placeholder 4">
            <a:extLst>
              <a:ext uri="{FF2B5EF4-FFF2-40B4-BE49-F238E27FC236}">
                <a16:creationId xmlns:a16="http://schemas.microsoft.com/office/drawing/2014/main" id="{C20724FA-D8E3-7517-7F67-C3ABD34A44B9}"/>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3003656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a:extLst>
              <a:ext uri="{FF2B5EF4-FFF2-40B4-BE49-F238E27FC236}">
                <a16:creationId xmlns:a16="http://schemas.microsoft.com/office/drawing/2014/main" id="{C83F15FA-FA8D-7AFF-5EFB-001BC27F82C1}"/>
              </a:ext>
            </a:extLst>
          </p:cNvPr>
          <p:cNvSpPr>
            <a:spLocks noGrp="1"/>
          </p:cNvSpPr>
          <p:nvPr>
            <p:ph type="sldNum" sz="quarter" idx="10"/>
          </p:nvPr>
        </p:nvSpPr>
        <p:spPr/>
        <p:txBody>
          <a:bodyPr/>
          <a:lstStyle>
            <a:lvl1pPr>
              <a:defRPr/>
            </a:lvl1pPr>
          </a:lstStyle>
          <a:p>
            <a:pPr>
              <a:defRPr/>
            </a:pPr>
            <a:fld id="{57F19205-3041-4344-94B5-25F6CBDF8FEA}" type="slidenum">
              <a:rPr lang="en-US" altLang="en-US"/>
              <a:pPr>
                <a:defRPr/>
              </a:pPr>
              <a:t>‹#›</a:t>
            </a:fld>
            <a:endParaRPr lang="en-US" altLang="en-US"/>
          </a:p>
        </p:txBody>
      </p:sp>
      <p:sp>
        <p:nvSpPr>
          <p:cNvPr id="6" name="Footer Placeholder 4">
            <a:extLst>
              <a:ext uri="{FF2B5EF4-FFF2-40B4-BE49-F238E27FC236}">
                <a16:creationId xmlns:a16="http://schemas.microsoft.com/office/drawing/2014/main" id="{4AB1EFBC-5C7C-26EA-A826-AB710B2525AC}"/>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28106185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9417810"/>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7" y="2085874"/>
            <a:ext cx="2995808"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a:lnSpc>
                <a:spcPct val="100600"/>
              </a:lnSpc>
            </a:pPr>
            <a:endParaRPr lang="en-GB" sz="1600" dirty="0"/>
          </a:p>
        </p:txBody>
      </p:sp>
      <p:sp>
        <p:nvSpPr>
          <p:cNvPr id="11" name="object 8">
            <a:extLst>
              <a:ext uri="{FF2B5EF4-FFF2-40B4-BE49-F238E27FC236}">
                <a16:creationId xmlns:a16="http://schemas.microsoft.com/office/drawing/2014/main" id="{B7093058-1C72-42EE-AFD4-C6A337F2FC13}"/>
              </a:ext>
            </a:extLst>
          </p:cNvPr>
          <p:cNvSpPr/>
          <p:nvPr userDrawn="1"/>
        </p:nvSpPr>
        <p:spPr>
          <a:xfrm>
            <a:off x="8580474" y="3407791"/>
            <a:ext cx="3205788" cy="3090186"/>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F3A53F04-AED7-452A-9F24-9297FB349A19}"/>
              </a:ext>
            </a:extLst>
          </p:cNvPr>
          <p:cNvPicPr>
            <a:picLocks noChangeAspect="1"/>
          </p:cNvPicPr>
          <p:nvPr userDrawn="1"/>
        </p:nvPicPr>
        <p:blipFill>
          <a:blip r:embed="rId6"/>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172121697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2F1F1A61-22FC-70FB-D5A1-097BE0784164}"/>
              </a:ext>
            </a:extLst>
          </p:cNvPr>
          <p:cNvSpPr>
            <a:spLocks noGrp="1"/>
          </p:cNvSpPr>
          <p:nvPr>
            <p:ph type="sldNum" sz="quarter" idx="10"/>
          </p:nvPr>
        </p:nvSpPr>
        <p:spPr/>
        <p:txBody>
          <a:bodyPr/>
          <a:lstStyle>
            <a:lvl1pPr>
              <a:defRPr/>
            </a:lvl1pPr>
          </a:lstStyle>
          <a:p>
            <a:pPr>
              <a:defRPr/>
            </a:pPr>
            <a:fld id="{24E56094-E877-4D0B-96BD-534C768455AB}" type="slidenum">
              <a:rPr lang="en-US" altLang="en-US"/>
              <a:pPr>
                <a:defRPr/>
              </a:pPr>
              <a:t>‹#›</a:t>
            </a:fld>
            <a:endParaRPr lang="en-US" altLang="en-US"/>
          </a:p>
        </p:txBody>
      </p:sp>
      <p:sp>
        <p:nvSpPr>
          <p:cNvPr id="5" name="Footer Placeholder 4">
            <a:extLst>
              <a:ext uri="{FF2B5EF4-FFF2-40B4-BE49-F238E27FC236}">
                <a16:creationId xmlns:a16="http://schemas.microsoft.com/office/drawing/2014/main" id="{A6E22B2C-915E-070D-DD26-4653AD49147F}"/>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11542232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1CB996FE-2A47-D050-302D-1A3E02E7FA4A}"/>
              </a:ext>
            </a:extLst>
          </p:cNvPr>
          <p:cNvSpPr>
            <a:spLocks noGrp="1"/>
          </p:cNvSpPr>
          <p:nvPr>
            <p:ph type="sldNum" sz="quarter" idx="10"/>
          </p:nvPr>
        </p:nvSpPr>
        <p:spPr/>
        <p:txBody>
          <a:bodyPr/>
          <a:lstStyle>
            <a:lvl1pPr>
              <a:defRPr/>
            </a:lvl1pPr>
          </a:lstStyle>
          <a:p>
            <a:pPr>
              <a:defRPr/>
            </a:pPr>
            <a:fld id="{0BE9DDA2-79BE-43EF-B414-BCDDA36D392D}" type="slidenum">
              <a:rPr lang="en-US" altLang="en-US"/>
              <a:pPr>
                <a:defRPr/>
              </a:pPr>
              <a:t>‹#›</a:t>
            </a:fld>
            <a:endParaRPr lang="en-US" altLang="en-US"/>
          </a:p>
        </p:txBody>
      </p:sp>
      <p:sp>
        <p:nvSpPr>
          <p:cNvPr id="5" name="Footer Placeholder 4">
            <a:extLst>
              <a:ext uri="{FF2B5EF4-FFF2-40B4-BE49-F238E27FC236}">
                <a16:creationId xmlns:a16="http://schemas.microsoft.com/office/drawing/2014/main" id="{A2A640D7-1973-777D-10BA-BC82C6998ADE}"/>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7224822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0DAE8E8D-4C7A-A94C-503E-82F8846CB934}"/>
              </a:ext>
            </a:extLst>
          </p:cNvPr>
          <p:cNvSpPr/>
          <p:nvPr userDrawn="1"/>
        </p:nvSpPr>
        <p:spPr>
          <a:xfrm>
            <a:off x="0" y="0"/>
            <a:ext cx="12192000" cy="6858000"/>
          </a:xfrm>
          <a:prstGeom prst="rect">
            <a:avLst/>
          </a:prstGeom>
          <a:blipFill>
            <a:blip r:embed="rId2" cstate="email"/>
            <a:stretch>
              <a:fillRect/>
            </a:stretch>
          </a:blipFill>
        </p:spPr>
        <p:txBody>
          <a:bodyPr lIns="0" tIns="0" rIns="0" bIns="0"/>
          <a:lstStyle/>
          <a:p>
            <a:pPr>
              <a:defRPr/>
            </a:pPr>
            <a:endParaRPr sz="819" dirty="0"/>
          </a:p>
        </p:txBody>
      </p:sp>
      <p:pic>
        <p:nvPicPr>
          <p:cNvPr id="3" name="Picture 10">
            <a:extLst>
              <a:ext uri="{FF2B5EF4-FFF2-40B4-BE49-F238E27FC236}">
                <a16:creationId xmlns:a16="http://schemas.microsoft.com/office/drawing/2014/main" id="{DF12E401-531E-5AB4-927B-137FE3321FD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11">
            <a:extLst>
              <a:ext uri="{FF2B5EF4-FFF2-40B4-BE49-F238E27FC236}">
                <a16:creationId xmlns:a16="http://schemas.microsoft.com/office/drawing/2014/main" id="{8B59BEA0-A078-6008-F05D-37CA2BBB8A5A}"/>
              </a:ext>
            </a:extLst>
          </p:cNvPr>
          <p:cNvGrpSpPr>
            <a:grpSpLocks/>
          </p:cNvGrpSpPr>
          <p:nvPr userDrawn="1"/>
        </p:nvGrpSpPr>
        <p:grpSpPr bwMode="auto">
          <a:xfrm>
            <a:off x="8985251" y="301625"/>
            <a:ext cx="2774949" cy="1163638"/>
            <a:chOff x="14817924" y="781197"/>
            <a:chExt cx="4575269" cy="1918977"/>
          </a:xfrm>
        </p:grpSpPr>
        <p:sp>
          <p:nvSpPr>
            <p:cNvPr id="5" name="object 6">
              <a:extLst>
                <a:ext uri="{FF2B5EF4-FFF2-40B4-BE49-F238E27FC236}">
                  <a16:creationId xmlns:a16="http://schemas.microsoft.com/office/drawing/2014/main" id="{EB304D7F-3C1B-3244-5D0C-08DEFCEFE775}"/>
                </a:ext>
              </a:extLst>
            </p:cNvPr>
            <p:cNvSpPr/>
            <p:nvPr/>
          </p:nvSpPr>
          <p:spPr>
            <a:xfrm>
              <a:off x="14817924" y="2493353"/>
              <a:ext cx="87247" cy="157079"/>
            </a:xfrm>
            <a:prstGeom prst="rect">
              <a:avLst/>
            </a:prstGeom>
            <a:blipFill>
              <a:blip r:embed="rId4" cstate="email"/>
              <a:stretch>
                <a:fillRect/>
              </a:stretch>
            </a:blipFill>
          </p:spPr>
          <p:txBody>
            <a:bodyPr lIns="0" tIns="0" rIns="0" bIns="0"/>
            <a:lstStyle/>
            <a:p>
              <a:pPr>
                <a:defRPr/>
              </a:pPr>
              <a:endParaRPr sz="819" dirty="0"/>
            </a:p>
          </p:txBody>
        </p:sp>
        <p:sp>
          <p:nvSpPr>
            <p:cNvPr id="6" name="object 7">
              <a:extLst>
                <a:ext uri="{FF2B5EF4-FFF2-40B4-BE49-F238E27FC236}">
                  <a16:creationId xmlns:a16="http://schemas.microsoft.com/office/drawing/2014/main" id="{9FCCBF73-4A82-124C-9954-6002C67CE033}"/>
                </a:ext>
              </a:extLst>
            </p:cNvPr>
            <p:cNvSpPr/>
            <p:nvPr/>
          </p:nvSpPr>
          <p:spPr>
            <a:xfrm>
              <a:off x="14933090" y="2543095"/>
              <a:ext cx="83758" cy="107336"/>
            </a:xfrm>
            <a:prstGeom prst="rect">
              <a:avLst/>
            </a:prstGeom>
            <a:blipFill>
              <a:blip r:embed="rId5" cstate="email"/>
              <a:stretch>
                <a:fillRect/>
              </a:stretch>
            </a:blipFill>
          </p:spPr>
          <p:txBody>
            <a:bodyPr lIns="0" tIns="0" rIns="0" bIns="0"/>
            <a:lstStyle/>
            <a:p>
              <a:pPr>
                <a:defRPr/>
              </a:pPr>
              <a:endParaRPr sz="819" dirty="0"/>
            </a:p>
          </p:txBody>
        </p:sp>
        <p:sp>
          <p:nvSpPr>
            <p:cNvPr id="7" name="object 8">
              <a:extLst>
                <a:ext uri="{FF2B5EF4-FFF2-40B4-BE49-F238E27FC236}">
                  <a16:creationId xmlns:a16="http://schemas.microsoft.com/office/drawing/2014/main" id="{2A0D597A-5BFC-C94A-4123-DE45C7A781A2}"/>
                </a:ext>
              </a:extLst>
            </p:cNvPr>
            <p:cNvSpPr/>
            <p:nvPr/>
          </p:nvSpPr>
          <p:spPr>
            <a:xfrm>
              <a:off x="15097117" y="2498589"/>
              <a:ext cx="27919" cy="149225"/>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lIns="0" tIns="0" rIns="0" bIns="0"/>
            <a:lstStyle/>
            <a:p>
              <a:pPr>
                <a:defRPr/>
              </a:pPr>
              <a:endParaRPr sz="819" dirty="0"/>
            </a:p>
          </p:txBody>
        </p:sp>
        <p:sp>
          <p:nvSpPr>
            <p:cNvPr id="8" name="object 9">
              <a:extLst>
                <a:ext uri="{FF2B5EF4-FFF2-40B4-BE49-F238E27FC236}">
                  <a16:creationId xmlns:a16="http://schemas.microsoft.com/office/drawing/2014/main" id="{D4063D32-D2B8-9ACC-077B-9AA22C4F1CA6}"/>
                </a:ext>
              </a:extLst>
            </p:cNvPr>
            <p:cNvSpPr/>
            <p:nvPr/>
          </p:nvSpPr>
          <p:spPr>
            <a:xfrm>
              <a:off x="16035901" y="2498589"/>
              <a:ext cx="27919" cy="149225"/>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lIns="0" tIns="0" rIns="0" bIns="0"/>
            <a:lstStyle/>
            <a:p>
              <a:pPr>
                <a:defRPr/>
              </a:pPr>
              <a:endParaRPr sz="819" dirty="0"/>
            </a:p>
          </p:txBody>
        </p:sp>
        <p:sp>
          <p:nvSpPr>
            <p:cNvPr id="9" name="object 10">
              <a:extLst>
                <a:ext uri="{FF2B5EF4-FFF2-40B4-BE49-F238E27FC236}">
                  <a16:creationId xmlns:a16="http://schemas.microsoft.com/office/drawing/2014/main" id="{1A7786AC-714E-2CA4-E6FF-0B9D73F3BE8F}"/>
                </a:ext>
              </a:extLst>
            </p:cNvPr>
            <p:cNvSpPr/>
            <p:nvPr/>
          </p:nvSpPr>
          <p:spPr>
            <a:xfrm>
              <a:off x="16678044" y="2498589"/>
              <a:ext cx="27919" cy="149225"/>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lIns="0" tIns="0" rIns="0" bIns="0"/>
            <a:lstStyle/>
            <a:p>
              <a:pPr>
                <a:defRPr/>
              </a:pPr>
              <a:endParaRPr sz="819" dirty="0"/>
            </a:p>
          </p:txBody>
        </p:sp>
        <p:sp>
          <p:nvSpPr>
            <p:cNvPr id="10" name="object 11">
              <a:extLst>
                <a:ext uri="{FF2B5EF4-FFF2-40B4-BE49-F238E27FC236}">
                  <a16:creationId xmlns:a16="http://schemas.microsoft.com/office/drawing/2014/main" id="{71AAA2F5-2DBD-DA80-8652-392AED52A83F}"/>
                </a:ext>
              </a:extLst>
            </p:cNvPr>
            <p:cNvSpPr/>
            <p:nvPr/>
          </p:nvSpPr>
          <p:spPr>
            <a:xfrm>
              <a:off x="15442617" y="2498589"/>
              <a:ext cx="27919" cy="149225"/>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lIns="0" tIns="0" rIns="0" bIns="0"/>
            <a:lstStyle/>
            <a:p>
              <a:pPr>
                <a:defRPr/>
              </a:pPr>
              <a:endParaRPr sz="819" dirty="0"/>
            </a:p>
          </p:txBody>
        </p:sp>
        <p:sp>
          <p:nvSpPr>
            <p:cNvPr id="11" name="object 12">
              <a:extLst>
                <a:ext uri="{FF2B5EF4-FFF2-40B4-BE49-F238E27FC236}">
                  <a16:creationId xmlns:a16="http://schemas.microsoft.com/office/drawing/2014/main" id="{C794BBE7-9CB3-4E82-5560-489CEAAEEE37}"/>
                </a:ext>
              </a:extLst>
            </p:cNvPr>
            <p:cNvSpPr/>
            <p:nvPr/>
          </p:nvSpPr>
          <p:spPr>
            <a:xfrm>
              <a:off x="15145975" y="2543095"/>
              <a:ext cx="191944" cy="107336"/>
            </a:xfrm>
            <a:prstGeom prst="rect">
              <a:avLst/>
            </a:prstGeom>
            <a:blipFill>
              <a:blip r:embed="rId6" cstate="email"/>
              <a:stretch>
                <a:fillRect/>
              </a:stretch>
            </a:blipFill>
          </p:spPr>
          <p:txBody>
            <a:bodyPr lIns="0" tIns="0" rIns="0" bIns="0"/>
            <a:lstStyle/>
            <a:p>
              <a:pPr>
                <a:defRPr/>
              </a:pPr>
              <a:endParaRPr sz="819" dirty="0"/>
            </a:p>
          </p:txBody>
        </p:sp>
        <p:sp>
          <p:nvSpPr>
            <p:cNvPr id="12" name="object 13">
              <a:extLst>
                <a:ext uri="{FF2B5EF4-FFF2-40B4-BE49-F238E27FC236}">
                  <a16:creationId xmlns:a16="http://schemas.microsoft.com/office/drawing/2014/main" id="{0C646AD5-2E8F-5E1E-5CAB-0D6370BB0373}"/>
                </a:ext>
              </a:extLst>
            </p:cNvPr>
            <p:cNvSpPr/>
            <p:nvPr/>
          </p:nvSpPr>
          <p:spPr>
            <a:xfrm>
              <a:off x="15362350" y="2543095"/>
              <a:ext cx="59327" cy="10471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lIns="0" tIns="0" rIns="0" bIns="0"/>
            <a:lstStyle/>
            <a:p>
              <a:pPr>
                <a:defRPr/>
              </a:pPr>
              <a:endParaRPr sz="819" dirty="0"/>
            </a:p>
          </p:txBody>
        </p:sp>
        <p:sp>
          <p:nvSpPr>
            <p:cNvPr id="13" name="object 14">
              <a:extLst>
                <a:ext uri="{FF2B5EF4-FFF2-40B4-BE49-F238E27FC236}">
                  <a16:creationId xmlns:a16="http://schemas.microsoft.com/office/drawing/2014/main" id="{2596EA4B-4B81-AD45-603B-DCB4EC7181C7}"/>
                </a:ext>
              </a:extLst>
            </p:cNvPr>
            <p:cNvSpPr/>
            <p:nvPr/>
          </p:nvSpPr>
          <p:spPr>
            <a:xfrm>
              <a:off x="15501946" y="2543095"/>
              <a:ext cx="198924" cy="157079"/>
            </a:xfrm>
            <a:prstGeom prst="rect">
              <a:avLst/>
            </a:prstGeom>
            <a:blipFill>
              <a:blip r:embed="rId7" cstate="email"/>
              <a:stretch>
                <a:fillRect/>
              </a:stretch>
            </a:blipFill>
          </p:spPr>
          <p:txBody>
            <a:bodyPr lIns="0" tIns="0" rIns="0" bIns="0"/>
            <a:lstStyle/>
            <a:p>
              <a:pPr>
                <a:defRPr/>
              </a:pPr>
              <a:endParaRPr sz="819" dirty="0"/>
            </a:p>
          </p:txBody>
        </p:sp>
        <p:sp>
          <p:nvSpPr>
            <p:cNvPr id="14" name="object 15">
              <a:extLst>
                <a:ext uri="{FF2B5EF4-FFF2-40B4-BE49-F238E27FC236}">
                  <a16:creationId xmlns:a16="http://schemas.microsoft.com/office/drawing/2014/main" id="{1B8A93E5-D58F-8D2B-5769-24BB98D69376}"/>
                </a:ext>
              </a:extLst>
            </p:cNvPr>
            <p:cNvSpPr/>
            <p:nvPr/>
          </p:nvSpPr>
          <p:spPr>
            <a:xfrm>
              <a:off x="15843957" y="2543095"/>
              <a:ext cx="59327" cy="10471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lIns="0" tIns="0" rIns="0" bIns="0"/>
            <a:lstStyle/>
            <a:p>
              <a:pPr>
                <a:defRPr/>
              </a:pPr>
              <a:endParaRPr sz="819" dirty="0"/>
            </a:p>
          </p:txBody>
        </p:sp>
        <p:sp>
          <p:nvSpPr>
            <p:cNvPr id="15" name="object 16">
              <a:extLst>
                <a:ext uri="{FF2B5EF4-FFF2-40B4-BE49-F238E27FC236}">
                  <a16:creationId xmlns:a16="http://schemas.microsoft.com/office/drawing/2014/main" id="{22A4F194-1ECA-C9FB-5FFA-E22E81FB2CB1}"/>
                </a:ext>
              </a:extLst>
            </p:cNvPr>
            <p:cNvSpPr/>
            <p:nvPr/>
          </p:nvSpPr>
          <p:spPr>
            <a:xfrm>
              <a:off x="15924224" y="2543095"/>
              <a:ext cx="87249" cy="107336"/>
            </a:xfrm>
            <a:prstGeom prst="rect">
              <a:avLst/>
            </a:prstGeom>
            <a:blipFill>
              <a:blip r:embed="rId8" cstate="email"/>
              <a:stretch>
                <a:fillRect/>
              </a:stretch>
            </a:blipFill>
          </p:spPr>
          <p:txBody>
            <a:bodyPr lIns="0" tIns="0" rIns="0" bIns="0"/>
            <a:lstStyle/>
            <a:p>
              <a:pPr>
                <a:defRPr/>
              </a:pPr>
              <a:endParaRPr sz="819" dirty="0"/>
            </a:p>
          </p:txBody>
        </p:sp>
        <p:sp>
          <p:nvSpPr>
            <p:cNvPr id="16" name="object 17">
              <a:extLst>
                <a:ext uri="{FF2B5EF4-FFF2-40B4-BE49-F238E27FC236}">
                  <a16:creationId xmlns:a16="http://schemas.microsoft.com/office/drawing/2014/main" id="{8FAE8FEA-7820-A273-6E7B-3F6BAF73F0B6}"/>
                </a:ext>
              </a:extLst>
            </p:cNvPr>
            <p:cNvSpPr/>
            <p:nvPr/>
          </p:nvSpPr>
          <p:spPr>
            <a:xfrm>
              <a:off x="16084760" y="2543095"/>
              <a:ext cx="97717" cy="157079"/>
            </a:xfrm>
            <a:prstGeom prst="rect">
              <a:avLst/>
            </a:prstGeom>
            <a:blipFill>
              <a:blip r:embed="rId9" cstate="email"/>
              <a:stretch>
                <a:fillRect/>
              </a:stretch>
            </a:blipFill>
          </p:spPr>
          <p:txBody>
            <a:bodyPr lIns="0" tIns="0" rIns="0" bIns="0"/>
            <a:lstStyle/>
            <a:p>
              <a:pPr>
                <a:defRPr/>
              </a:pPr>
              <a:endParaRPr sz="819" dirty="0"/>
            </a:p>
          </p:txBody>
        </p:sp>
        <p:sp>
          <p:nvSpPr>
            <p:cNvPr id="17" name="object 18">
              <a:extLst>
                <a:ext uri="{FF2B5EF4-FFF2-40B4-BE49-F238E27FC236}">
                  <a16:creationId xmlns:a16="http://schemas.microsoft.com/office/drawing/2014/main" id="{2AEC8DA9-8AE9-27F7-4EF4-7CF715639652}"/>
                </a:ext>
              </a:extLst>
            </p:cNvPr>
            <p:cNvSpPr/>
            <p:nvPr/>
          </p:nvSpPr>
          <p:spPr>
            <a:xfrm>
              <a:off x="16203417" y="2495972"/>
              <a:ext cx="80269" cy="151843"/>
            </a:xfrm>
            <a:prstGeom prst="rect">
              <a:avLst/>
            </a:prstGeom>
            <a:blipFill>
              <a:blip r:embed="rId10" cstate="email"/>
              <a:stretch>
                <a:fillRect/>
              </a:stretch>
            </a:blipFill>
          </p:spPr>
          <p:txBody>
            <a:bodyPr lIns="0" tIns="0" rIns="0" bIns="0"/>
            <a:lstStyle/>
            <a:p>
              <a:pPr>
                <a:defRPr/>
              </a:pPr>
              <a:endParaRPr sz="819" dirty="0"/>
            </a:p>
          </p:txBody>
        </p:sp>
        <p:sp>
          <p:nvSpPr>
            <p:cNvPr id="18" name="object 19">
              <a:extLst>
                <a:ext uri="{FF2B5EF4-FFF2-40B4-BE49-F238E27FC236}">
                  <a16:creationId xmlns:a16="http://schemas.microsoft.com/office/drawing/2014/main" id="{8A483377-31CA-AA07-A37A-F97FC0684065}"/>
                </a:ext>
              </a:extLst>
            </p:cNvPr>
            <p:cNvSpPr/>
            <p:nvPr/>
          </p:nvSpPr>
          <p:spPr>
            <a:xfrm>
              <a:off x="16437242" y="2543095"/>
              <a:ext cx="160536" cy="107336"/>
            </a:xfrm>
            <a:prstGeom prst="rect">
              <a:avLst/>
            </a:prstGeom>
            <a:blipFill>
              <a:blip r:embed="rId11" cstate="email"/>
              <a:stretch>
                <a:fillRect/>
              </a:stretch>
            </a:blipFill>
          </p:spPr>
          <p:txBody>
            <a:bodyPr lIns="0" tIns="0" rIns="0" bIns="0"/>
            <a:lstStyle/>
            <a:p>
              <a:pPr>
                <a:defRPr/>
              </a:pPr>
              <a:endParaRPr sz="819" dirty="0"/>
            </a:p>
          </p:txBody>
        </p:sp>
        <p:sp>
          <p:nvSpPr>
            <p:cNvPr id="19" name="object 20">
              <a:extLst>
                <a:ext uri="{FF2B5EF4-FFF2-40B4-BE49-F238E27FC236}">
                  <a16:creationId xmlns:a16="http://schemas.microsoft.com/office/drawing/2014/main" id="{324C9AB9-B755-FD29-7AB6-23A8E7C993C4}"/>
                </a:ext>
              </a:extLst>
            </p:cNvPr>
            <p:cNvSpPr/>
            <p:nvPr/>
          </p:nvSpPr>
          <p:spPr>
            <a:xfrm>
              <a:off x="16733883" y="2543095"/>
              <a:ext cx="80269" cy="107336"/>
            </a:xfrm>
            <a:prstGeom prst="rect">
              <a:avLst/>
            </a:prstGeom>
            <a:blipFill>
              <a:blip r:embed="rId12" cstate="email"/>
              <a:stretch>
                <a:fillRect/>
              </a:stretch>
            </a:blipFill>
          </p:spPr>
          <p:txBody>
            <a:bodyPr lIns="0" tIns="0" rIns="0" bIns="0"/>
            <a:lstStyle/>
            <a:p>
              <a:pPr>
                <a:defRPr/>
              </a:pPr>
              <a:endParaRPr sz="819" dirty="0"/>
            </a:p>
          </p:txBody>
        </p:sp>
        <p:sp>
          <p:nvSpPr>
            <p:cNvPr id="20" name="object 21">
              <a:extLst>
                <a:ext uri="{FF2B5EF4-FFF2-40B4-BE49-F238E27FC236}">
                  <a16:creationId xmlns:a16="http://schemas.microsoft.com/office/drawing/2014/main" id="{5FBE2386-032A-1826-08D7-595E1E14618B}"/>
                </a:ext>
              </a:extLst>
            </p:cNvPr>
            <p:cNvSpPr/>
            <p:nvPr/>
          </p:nvSpPr>
          <p:spPr>
            <a:xfrm>
              <a:off x="16842071" y="2493353"/>
              <a:ext cx="87247" cy="157079"/>
            </a:xfrm>
            <a:prstGeom prst="rect">
              <a:avLst/>
            </a:prstGeom>
            <a:blipFill>
              <a:blip r:embed="rId13" cstate="email"/>
              <a:stretch>
                <a:fillRect/>
              </a:stretch>
            </a:blipFill>
          </p:spPr>
          <p:txBody>
            <a:bodyPr lIns="0" tIns="0" rIns="0" bIns="0"/>
            <a:lstStyle/>
            <a:p>
              <a:pPr>
                <a:defRPr/>
              </a:pPr>
              <a:endParaRPr sz="819" dirty="0"/>
            </a:p>
          </p:txBody>
        </p:sp>
        <p:sp>
          <p:nvSpPr>
            <p:cNvPr id="21" name="object 22">
              <a:extLst>
                <a:ext uri="{FF2B5EF4-FFF2-40B4-BE49-F238E27FC236}">
                  <a16:creationId xmlns:a16="http://schemas.microsoft.com/office/drawing/2014/main" id="{DCFB2EC9-435C-11D3-A27A-1ADD849183D8}"/>
                </a:ext>
              </a:extLst>
            </p:cNvPr>
            <p:cNvSpPr/>
            <p:nvPr/>
          </p:nvSpPr>
          <p:spPr>
            <a:xfrm>
              <a:off x="17002607" y="2545713"/>
              <a:ext cx="94226" cy="151843"/>
            </a:xfrm>
            <a:prstGeom prst="rect">
              <a:avLst/>
            </a:prstGeom>
            <a:blipFill>
              <a:blip r:embed="rId14" cstate="email"/>
              <a:stretch>
                <a:fillRect/>
              </a:stretch>
            </a:blipFill>
          </p:spPr>
          <p:txBody>
            <a:bodyPr lIns="0" tIns="0" rIns="0" bIns="0"/>
            <a:lstStyle/>
            <a:p>
              <a:pPr>
                <a:defRPr/>
              </a:pPr>
              <a:endParaRPr sz="819" dirty="0"/>
            </a:p>
          </p:txBody>
        </p:sp>
        <p:sp>
          <p:nvSpPr>
            <p:cNvPr id="22" name="object 23">
              <a:extLst>
                <a:ext uri="{FF2B5EF4-FFF2-40B4-BE49-F238E27FC236}">
                  <a16:creationId xmlns:a16="http://schemas.microsoft.com/office/drawing/2014/main" id="{1DBE6D51-530B-BADE-3421-B89F64304B6A}"/>
                </a:ext>
              </a:extLst>
            </p:cNvPr>
            <p:cNvSpPr/>
            <p:nvPr/>
          </p:nvSpPr>
          <p:spPr>
            <a:xfrm>
              <a:off x="15055238" y="2495972"/>
              <a:ext cx="0" cy="151843"/>
            </a:xfrm>
            <a:custGeom>
              <a:avLst/>
              <a:gdLst/>
              <a:ahLst/>
              <a:cxnLst/>
              <a:rect l="l" t="t" r="r" b="b"/>
              <a:pathLst>
                <a:path h="152400">
                  <a:moveTo>
                    <a:pt x="0" y="0"/>
                  </a:moveTo>
                  <a:lnTo>
                    <a:pt x="0" y="152152"/>
                  </a:lnTo>
                </a:path>
              </a:pathLst>
            </a:custGeom>
            <a:ln w="20491">
              <a:solidFill>
                <a:srgbClr val="FFFFFF"/>
              </a:solidFill>
            </a:ln>
          </p:spPr>
          <p:txBody>
            <a:bodyPr lIns="0" tIns="0" rIns="0" bIns="0"/>
            <a:lstStyle/>
            <a:p>
              <a:pPr>
                <a:defRPr/>
              </a:pPr>
              <a:endParaRPr sz="819" dirty="0"/>
            </a:p>
          </p:txBody>
        </p:sp>
        <p:sp>
          <p:nvSpPr>
            <p:cNvPr id="23" name="object 24">
              <a:extLst>
                <a:ext uri="{FF2B5EF4-FFF2-40B4-BE49-F238E27FC236}">
                  <a16:creationId xmlns:a16="http://schemas.microsoft.com/office/drawing/2014/main" id="{D18CA4C6-BCA4-C319-5F3B-D903583DBF03}"/>
                </a:ext>
              </a:extLst>
            </p:cNvPr>
            <p:cNvSpPr/>
            <p:nvPr/>
          </p:nvSpPr>
          <p:spPr>
            <a:xfrm>
              <a:off x="16636165" y="2495972"/>
              <a:ext cx="0" cy="151843"/>
            </a:xfrm>
            <a:custGeom>
              <a:avLst/>
              <a:gdLst/>
              <a:ahLst/>
              <a:cxnLst/>
              <a:rect l="l" t="t" r="r" b="b"/>
              <a:pathLst>
                <a:path h="152400">
                  <a:moveTo>
                    <a:pt x="0" y="0"/>
                  </a:moveTo>
                  <a:lnTo>
                    <a:pt x="0" y="152152"/>
                  </a:lnTo>
                </a:path>
              </a:pathLst>
            </a:custGeom>
            <a:ln w="20512">
              <a:solidFill>
                <a:srgbClr val="FFFFFF"/>
              </a:solidFill>
            </a:ln>
          </p:spPr>
          <p:txBody>
            <a:bodyPr lIns="0" tIns="0" rIns="0" bIns="0"/>
            <a:lstStyle/>
            <a:p>
              <a:pPr>
                <a:defRPr/>
              </a:pPr>
              <a:endParaRPr sz="819" dirty="0"/>
            </a:p>
          </p:txBody>
        </p:sp>
        <p:sp>
          <p:nvSpPr>
            <p:cNvPr id="24" name="object 25">
              <a:extLst>
                <a:ext uri="{FF2B5EF4-FFF2-40B4-BE49-F238E27FC236}">
                  <a16:creationId xmlns:a16="http://schemas.microsoft.com/office/drawing/2014/main" id="{CD36DC75-CF1E-C901-0E39-DB2A15FB6675}"/>
                </a:ext>
              </a:extLst>
            </p:cNvPr>
            <p:cNvSpPr/>
            <p:nvPr/>
          </p:nvSpPr>
          <p:spPr>
            <a:xfrm>
              <a:off x="16967708" y="2495972"/>
              <a:ext cx="0" cy="151843"/>
            </a:xfrm>
            <a:custGeom>
              <a:avLst/>
              <a:gdLst/>
              <a:ahLst/>
              <a:cxnLst/>
              <a:rect l="l" t="t" r="r" b="b"/>
              <a:pathLst>
                <a:path h="152400">
                  <a:moveTo>
                    <a:pt x="0" y="0"/>
                  </a:moveTo>
                  <a:lnTo>
                    <a:pt x="0" y="152152"/>
                  </a:lnTo>
                </a:path>
              </a:pathLst>
            </a:custGeom>
            <a:ln w="20501">
              <a:solidFill>
                <a:srgbClr val="FFFFFF"/>
              </a:solidFill>
            </a:ln>
          </p:spPr>
          <p:txBody>
            <a:bodyPr lIns="0" tIns="0" rIns="0" bIns="0"/>
            <a:lstStyle/>
            <a:p>
              <a:pPr>
                <a:defRPr/>
              </a:pPr>
              <a:endParaRPr sz="819" dirty="0"/>
            </a:p>
          </p:txBody>
        </p:sp>
        <p:sp>
          <p:nvSpPr>
            <p:cNvPr id="25" name="object 26">
              <a:extLst>
                <a:ext uri="{FF2B5EF4-FFF2-40B4-BE49-F238E27FC236}">
                  <a16:creationId xmlns:a16="http://schemas.microsoft.com/office/drawing/2014/main" id="{5A4124D3-A562-CF2F-1892-33C0B5B84187}"/>
                </a:ext>
              </a:extLst>
            </p:cNvPr>
            <p:cNvSpPr/>
            <p:nvPr/>
          </p:nvSpPr>
          <p:spPr>
            <a:xfrm>
              <a:off x="16311605" y="2511680"/>
              <a:ext cx="52348" cy="138752"/>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lIns="0" tIns="0" rIns="0" bIns="0"/>
            <a:lstStyle/>
            <a:p>
              <a:pPr>
                <a:defRPr/>
              </a:pPr>
              <a:endParaRPr sz="819" dirty="0"/>
            </a:p>
          </p:txBody>
        </p:sp>
        <p:sp>
          <p:nvSpPr>
            <p:cNvPr id="26" name="object 27">
              <a:extLst>
                <a:ext uri="{FF2B5EF4-FFF2-40B4-BE49-F238E27FC236}">
                  <a16:creationId xmlns:a16="http://schemas.microsoft.com/office/drawing/2014/main" id="{BADC08F3-97E4-2B25-06CC-AEED79EE2686}"/>
                </a:ext>
              </a:extLst>
            </p:cNvPr>
            <p:cNvSpPr/>
            <p:nvPr/>
          </p:nvSpPr>
          <p:spPr>
            <a:xfrm>
              <a:off x="15770668" y="2490736"/>
              <a:ext cx="52350" cy="157079"/>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lIns="0" tIns="0" rIns="0" bIns="0"/>
            <a:lstStyle/>
            <a:p>
              <a:pPr>
                <a:defRPr/>
              </a:pPr>
              <a:endParaRPr sz="819" dirty="0"/>
            </a:p>
          </p:txBody>
        </p:sp>
        <p:sp>
          <p:nvSpPr>
            <p:cNvPr id="27" name="object 28">
              <a:extLst>
                <a:ext uri="{FF2B5EF4-FFF2-40B4-BE49-F238E27FC236}">
                  <a16:creationId xmlns:a16="http://schemas.microsoft.com/office/drawing/2014/main" id="{171279A6-15BC-6F34-9D79-4139DB39047F}"/>
                </a:ext>
              </a:extLst>
            </p:cNvPr>
            <p:cNvSpPr/>
            <p:nvPr/>
          </p:nvSpPr>
          <p:spPr>
            <a:xfrm>
              <a:off x="17093344" y="1336208"/>
              <a:ext cx="610733" cy="353428"/>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lIns="0" tIns="0" rIns="0" bIns="0"/>
            <a:lstStyle/>
            <a:p>
              <a:pPr>
                <a:defRPr/>
              </a:pPr>
              <a:endParaRPr sz="819" dirty="0"/>
            </a:p>
          </p:txBody>
        </p:sp>
        <p:sp>
          <p:nvSpPr>
            <p:cNvPr id="28" name="object 29">
              <a:extLst>
                <a:ext uri="{FF2B5EF4-FFF2-40B4-BE49-F238E27FC236}">
                  <a16:creationId xmlns:a16="http://schemas.microsoft.com/office/drawing/2014/main" id="{943ACB4A-F93F-A503-04F5-67E0D83DA6FE}"/>
                </a:ext>
              </a:extLst>
            </p:cNvPr>
            <p:cNvSpPr/>
            <p:nvPr/>
          </p:nvSpPr>
          <p:spPr>
            <a:xfrm>
              <a:off x="17470254" y="1336208"/>
              <a:ext cx="1169118" cy="1010539"/>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lIns="0" tIns="0" rIns="0" bIns="0"/>
            <a:lstStyle/>
            <a:p>
              <a:pPr>
                <a:defRPr/>
              </a:pPr>
              <a:endParaRPr sz="819" dirty="0"/>
            </a:p>
          </p:txBody>
        </p:sp>
        <p:sp>
          <p:nvSpPr>
            <p:cNvPr id="29" name="object 30">
              <a:extLst>
                <a:ext uri="{FF2B5EF4-FFF2-40B4-BE49-F238E27FC236}">
                  <a16:creationId xmlns:a16="http://schemas.microsoft.com/office/drawing/2014/main" id="{0400DB07-B286-0EB3-F458-77475EFCF751}"/>
                </a:ext>
              </a:extLst>
            </p:cNvPr>
            <p:cNvSpPr/>
            <p:nvPr/>
          </p:nvSpPr>
          <p:spPr>
            <a:xfrm>
              <a:off x="17602871" y="781197"/>
              <a:ext cx="1790322" cy="201585"/>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lIns="0" tIns="0" rIns="0" bIns="0"/>
            <a:lstStyle/>
            <a:p>
              <a:pPr>
                <a:defRPr/>
              </a:pPr>
              <a:endParaRPr sz="819" dirty="0"/>
            </a:p>
          </p:txBody>
        </p:sp>
      </p:grpSp>
      <p:sp>
        <p:nvSpPr>
          <p:cNvPr id="30" name="object 4">
            <a:extLst>
              <a:ext uri="{FF2B5EF4-FFF2-40B4-BE49-F238E27FC236}">
                <a16:creationId xmlns:a16="http://schemas.microsoft.com/office/drawing/2014/main" id="{01AAA93B-9E63-3E69-F6D4-C9F71C8AD263}"/>
              </a:ext>
            </a:extLst>
          </p:cNvPr>
          <p:cNvSpPr/>
          <p:nvPr userDrawn="1"/>
        </p:nvSpPr>
        <p:spPr>
          <a:xfrm>
            <a:off x="635000" y="2663825"/>
            <a:ext cx="848784" cy="1468438"/>
          </a:xfrm>
          <a:custGeom>
            <a:avLst/>
            <a:gdLst/>
            <a:ahLst/>
            <a:cxnLst/>
            <a:rect l="l" t="t" r="r" b="b"/>
            <a:pathLst>
              <a:path w="1399539" h="2421890">
                <a:moveTo>
                  <a:pt x="0" y="2421811"/>
                </a:moveTo>
                <a:lnTo>
                  <a:pt x="1399287" y="0"/>
                </a:lnTo>
              </a:path>
            </a:pathLst>
          </a:custGeom>
          <a:ln w="38679">
            <a:solidFill>
              <a:srgbClr val="E73023"/>
            </a:solidFill>
          </a:ln>
        </p:spPr>
        <p:txBody>
          <a:bodyPr lIns="0" tIns="0" rIns="0" bIns="0"/>
          <a:lstStyle/>
          <a:p>
            <a:pPr>
              <a:defRPr/>
            </a:pPr>
            <a:endParaRPr sz="819" dirty="0"/>
          </a:p>
        </p:txBody>
      </p:sp>
    </p:spTree>
    <p:extLst>
      <p:ext uri="{BB962C8B-B14F-4D97-AF65-F5344CB8AC3E}">
        <p14:creationId xmlns:p14="http://schemas.microsoft.com/office/powerpoint/2010/main" val="18381184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4_Custom Layout">
    <p:spTree>
      <p:nvGrpSpPr>
        <p:cNvPr id="1" name=""/>
        <p:cNvGrpSpPr/>
        <p:nvPr/>
      </p:nvGrpSpPr>
      <p:grpSpPr>
        <a:xfrm>
          <a:off x="0" y="0"/>
          <a:ext cx="0" cy="0"/>
          <a:chOff x="0" y="0"/>
          <a:chExt cx="0" cy="0"/>
        </a:xfrm>
      </p:grpSpPr>
      <p:pic>
        <p:nvPicPr>
          <p:cNvPr id="2" name="Picture Placeholder 115" descr="Aerial view of container ship">
            <a:extLst>
              <a:ext uri="{FF2B5EF4-FFF2-40B4-BE49-F238E27FC236}">
                <a16:creationId xmlns:a16="http://schemas.microsoft.com/office/drawing/2014/main" id="{337B3D19-BB8A-A75A-EC75-8571034BB8F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61" name="Title 1"/>
          <p:cNvSpPr>
            <a:spLocks noGrp="1"/>
          </p:cNvSpPr>
          <p:nvPr>
            <p:ph type="title"/>
          </p:nvPr>
        </p:nvSpPr>
        <p:spPr>
          <a:xfrm>
            <a:off x="3916794" y="1293536"/>
            <a:ext cx="5741487" cy="1338828"/>
          </a:xfrm>
          <a:prstGeom prst="rect">
            <a:avLst/>
          </a:prstGeom>
        </p:spPr>
        <p:txBody>
          <a:bodyPr anchor="t">
            <a:spAutoFit/>
          </a:bodyPr>
          <a:lstStyle>
            <a:lvl1pPr algn="r">
              <a:defRPr sz="4050">
                <a:solidFill>
                  <a:schemeClr val="tx1"/>
                </a:solidFill>
              </a:defRPr>
            </a:lvl1pPr>
          </a:lstStyle>
          <a:p>
            <a:r>
              <a:rPr lang="en-GB"/>
              <a:t>Click to edit Master title style</a:t>
            </a:r>
            <a:endParaRPr lang="en-US"/>
          </a:p>
        </p:txBody>
      </p:sp>
      <p:sp>
        <p:nvSpPr>
          <p:cNvPr id="86" name="Text Placeholder 18"/>
          <p:cNvSpPr>
            <a:spLocks noGrp="1"/>
          </p:cNvSpPr>
          <p:nvPr>
            <p:ph type="body" sz="quarter" idx="13"/>
          </p:nvPr>
        </p:nvSpPr>
        <p:spPr>
          <a:xfrm>
            <a:off x="7228298" y="2818323"/>
            <a:ext cx="2473626" cy="399322"/>
          </a:xfrm>
          <a:prstGeom prst="rect">
            <a:avLst/>
          </a:prstGeom>
        </p:spPr>
        <p:txBody>
          <a:bodyPr wrap="none" tIns="144000">
            <a:spAutoFit/>
          </a:bodyPr>
          <a:lstStyle>
            <a:lvl1pPr algn="r">
              <a:defRPr sz="135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lvl="0"/>
            <a:r>
              <a:rPr lang="en-US"/>
              <a:t>Click to edit Master text styles</a:t>
            </a:r>
          </a:p>
        </p:txBody>
      </p:sp>
    </p:spTree>
    <p:extLst>
      <p:ext uri="{BB962C8B-B14F-4D97-AF65-F5344CB8AC3E}">
        <p14:creationId xmlns:p14="http://schemas.microsoft.com/office/powerpoint/2010/main" val="4180754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pic>
        <p:nvPicPr>
          <p:cNvPr id="2" name="Picture 1" descr="Train tracks with train cars on each side&#10;&#10;Description automatically generated">
            <a:extLst>
              <a:ext uri="{FF2B5EF4-FFF2-40B4-BE49-F238E27FC236}">
                <a16:creationId xmlns:a16="http://schemas.microsoft.com/office/drawing/2014/main" id="{B587CC00-CD68-5AFA-2D09-9704719C774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7938"/>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Title 1"/>
          <p:cNvSpPr>
            <a:spLocks noGrp="1"/>
          </p:cNvSpPr>
          <p:nvPr>
            <p:ph type="title"/>
          </p:nvPr>
        </p:nvSpPr>
        <p:spPr>
          <a:xfrm>
            <a:off x="984616" y="1239088"/>
            <a:ext cx="7412385" cy="1477328"/>
          </a:xfrm>
          <a:prstGeom prst="rect">
            <a:avLst/>
          </a:prstGeom>
        </p:spPr>
        <p:txBody>
          <a:bodyPr anchor="t">
            <a:spAutoFit/>
          </a:bodyPr>
          <a:lstStyle>
            <a:lvl1pPr algn="l">
              <a:defRPr sz="4500">
                <a:solidFill>
                  <a:schemeClr val="tx1"/>
                </a:solidFill>
              </a:defRPr>
            </a:lvl1pPr>
          </a:lstStyle>
          <a:p>
            <a:r>
              <a:rPr lang="en-GB"/>
              <a:t>Click to edit Master title style</a:t>
            </a:r>
            <a:endParaRPr lang="en-US"/>
          </a:p>
        </p:txBody>
      </p:sp>
      <p:sp>
        <p:nvSpPr>
          <p:cNvPr id="86" name="Text Placeholder 18"/>
          <p:cNvSpPr>
            <a:spLocks noGrp="1"/>
          </p:cNvSpPr>
          <p:nvPr>
            <p:ph type="body" sz="quarter" idx="13"/>
          </p:nvPr>
        </p:nvSpPr>
        <p:spPr>
          <a:xfrm>
            <a:off x="3828370" y="3772256"/>
            <a:ext cx="2473626" cy="399322"/>
          </a:xfrm>
          <a:prstGeom prst="rect">
            <a:avLst/>
          </a:prstGeom>
        </p:spPr>
        <p:txBody>
          <a:bodyPr wrap="none" tIns="144000">
            <a:spAutoFit/>
          </a:bodyPr>
          <a:lstStyle>
            <a:lvl1pPr algn="r">
              <a:defRPr sz="135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lvl="0"/>
            <a:r>
              <a:rPr lang="en-US"/>
              <a:t>Click to edit Master text styles</a:t>
            </a:r>
          </a:p>
        </p:txBody>
      </p:sp>
    </p:spTree>
    <p:extLst>
      <p:ext uri="{BB962C8B-B14F-4D97-AF65-F5344CB8AC3E}">
        <p14:creationId xmlns:p14="http://schemas.microsoft.com/office/powerpoint/2010/main" val="34937711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7729979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749627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6033298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3756838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233408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372650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indent="-189904">
              <a:lnSpc>
                <a:spcPct val="100600"/>
              </a:lnSpc>
              <a:spcBef>
                <a:spcPts val="56"/>
              </a:spcBef>
            </a:pPr>
            <a:endParaRPr lang="en-GB" sz="16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70BB016E-539B-4F7E-9E4A-780487E1CEFC}"/>
              </a:ext>
            </a:extLst>
          </p:cNvPr>
          <p:cNvPicPr>
            <a:picLocks noChangeAspect="1"/>
          </p:cNvPicPr>
          <p:nvPr userDrawn="1"/>
        </p:nvPicPr>
        <p:blipFill>
          <a:blip r:embed="rId6"/>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63718030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31631957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9906807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9956550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2953950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7420039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29144905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383571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644097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951566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705527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0603894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dirty="0"/>
              <a:t>CLICK TO ADD TITLE</a:t>
            </a:r>
            <a:br>
              <a:rPr lang="en-US" dirty="0"/>
            </a:br>
            <a:r>
              <a:rPr lang="en-US" dirty="0"/>
              <a:t>ON TWO LINES IF NECESSARY</a:t>
            </a:r>
            <a:endParaRPr lang="en-ZA" dirty="0"/>
          </a:p>
        </p:txBody>
      </p:sp>
    </p:spTree>
    <p:extLst>
      <p:ext uri="{BB962C8B-B14F-4D97-AF65-F5344CB8AC3E}">
        <p14:creationId xmlns:p14="http://schemas.microsoft.com/office/powerpoint/2010/main" val="6830866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4716938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7778036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17002763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Tree>
    <p:extLst>
      <p:ext uri="{BB962C8B-B14F-4D97-AF65-F5344CB8AC3E}">
        <p14:creationId xmlns:p14="http://schemas.microsoft.com/office/powerpoint/2010/main" val="6205378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0514354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491421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0915960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6817054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22401871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1293585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7015899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4882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Tree>
    <p:extLst>
      <p:ext uri="{BB962C8B-B14F-4D97-AF65-F5344CB8AC3E}">
        <p14:creationId xmlns:p14="http://schemas.microsoft.com/office/powerpoint/2010/main" val="7906301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22142576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a:t>CLICK TO ADD TITLE</a:t>
            </a:r>
            <a:br>
              <a:rPr lang="en-US"/>
            </a:br>
            <a:r>
              <a:rPr lang="en-US"/>
              <a:t>ON TWO LINES IF NECESSARY</a:t>
            </a:r>
            <a:endParaRPr lang="en-ZA"/>
          </a:p>
        </p:txBody>
      </p:sp>
    </p:spTree>
    <p:extLst>
      <p:ext uri="{BB962C8B-B14F-4D97-AF65-F5344CB8AC3E}">
        <p14:creationId xmlns:p14="http://schemas.microsoft.com/office/powerpoint/2010/main" val="27480512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19350589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7"/>
            <a:ext cx="10363200" cy="1470025"/>
          </a:xfrm>
          <a:prstGeom prst="rect">
            <a:avLst/>
          </a:prstGeom>
        </p:spPr>
        <p:txBody>
          <a:bodyPr/>
          <a:lstStyle/>
          <a:p>
            <a:r>
              <a:rPr lang="en-US" altLang="zh-CN"/>
              <a:t>Click to edit Master title style</a:t>
            </a:r>
            <a:endParaRPr lang="zh-CN" altLang="en-US"/>
          </a:p>
        </p:txBody>
      </p:sp>
      <p:sp>
        <p:nvSpPr>
          <p:cNvPr id="3" name="副标题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188" indent="0" algn="ctr">
              <a:buNone/>
              <a:defRPr/>
            </a:lvl2pPr>
            <a:lvl3pPr marL="914375" indent="0" algn="ctr">
              <a:buNone/>
              <a:defRPr/>
            </a:lvl3pPr>
            <a:lvl4pPr marL="1371563" indent="0" algn="ctr">
              <a:buNone/>
              <a:defRPr/>
            </a:lvl4pPr>
            <a:lvl5pPr marL="1828750" indent="0" algn="ctr">
              <a:buNone/>
              <a:defRPr/>
            </a:lvl5pPr>
            <a:lvl6pPr marL="2285938" indent="0" algn="ctr">
              <a:buNone/>
              <a:defRPr/>
            </a:lvl6pPr>
            <a:lvl7pPr marL="2743125" indent="0" algn="ctr">
              <a:buNone/>
              <a:defRPr/>
            </a:lvl7pPr>
            <a:lvl8pPr marL="3200312" indent="0" algn="ctr">
              <a:buNone/>
              <a:defRPr/>
            </a:lvl8pPr>
            <a:lvl9pPr marL="3657499" indent="0" algn="ctr">
              <a:buNone/>
              <a:defRPr/>
            </a:lvl9pPr>
          </a:lstStyle>
          <a:p>
            <a:r>
              <a:rPr lang="en-US" altLang="zh-CN"/>
              <a:t>Click to edit Master subtitle style</a:t>
            </a:r>
            <a:endParaRPr lang="zh-CN" altLang="en-US"/>
          </a:p>
        </p:txBody>
      </p:sp>
      <p:sp>
        <p:nvSpPr>
          <p:cNvPr id="4" name="日期占位符 3"/>
          <p:cNvSpPr>
            <a:spLocks noGrp="1"/>
          </p:cNvSpPr>
          <p:nvPr>
            <p:ph type="dt" sz="half" idx="10"/>
          </p:nvPr>
        </p:nvSpPr>
        <p:spPr>
          <a:xfrm>
            <a:off x="8481485" y="6477001"/>
            <a:ext cx="2796115" cy="457200"/>
          </a:xfrm>
          <a:prstGeom prst="rect">
            <a:avLst/>
          </a:prstGeom>
        </p:spPr>
        <p:txBody>
          <a:bodyPr/>
          <a:lstStyle>
            <a:lvl1pPr>
              <a:defRPr/>
            </a:lvl1pPr>
          </a:lstStyle>
          <a:p>
            <a:r>
              <a:rPr lang="de-DE"/>
              <a:t>Page </a:t>
            </a:r>
            <a:fld id="{E47FBFA3-D270-4178-B99F-208D352B0CB7}" type="slidenum">
              <a:rPr lang="de-DE"/>
              <a:pPr/>
              <a:t>‹#›</a:t>
            </a:fld>
            <a:endParaRPr lang="en-GB" dirty="0"/>
          </a:p>
        </p:txBody>
      </p:sp>
    </p:spTree>
    <p:extLst>
      <p:ext uri="{BB962C8B-B14F-4D97-AF65-F5344CB8AC3E}">
        <p14:creationId xmlns:p14="http://schemas.microsoft.com/office/powerpoint/2010/main" val="20618103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3"/>
            <a:ext cx="12192000" cy="6857760"/>
          </a:xfrm>
          <a:prstGeom prst="rect">
            <a:avLst/>
          </a:prstGeom>
        </p:spPr>
      </p:pic>
      <p:pic>
        <p:nvPicPr>
          <p:cNvPr id="8" name="Picture 7">
            <a:extLst>
              <a:ext uri="{FF2B5EF4-FFF2-40B4-BE49-F238E27FC236}">
                <a16:creationId xmlns:a16="http://schemas.microsoft.com/office/drawing/2014/main" id="{CA168938-5473-7946-AFE1-2959A4E9E80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0800000">
            <a:off x="1" y="247"/>
            <a:ext cx="12192000" cy="6857519"/>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6"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307" b="0" i="0" dirty="0">
              <a:latin typeface="Tahoma Regular"/>
            </a:endParaRPr>
          </a:p>
        </p:txBody>
      </p:sp>
      <p:grpSp>
        <p:nvGrpSpPr>
          <p:cNvPr id="10" name="Group 9">
            <a:extLst>
              <a:ext uri="{FF2B5EF4-FFF2-40B4-BE49-F238E27FC236}">
                <a16:creationId xmlns:a16="http://schemas.microsoft.com/office/drawing/2014/main" id="{26B080B6-7194-3240-93BB-D36E2458D1B4}"/>
              </a:ext>
            </a:extLst>
          </p:cNvPr>
          <p:cNvGrpSpPr/>
          <p:nvPr userDrawn="1"/>
        </p:nvGrpSpPr>
        <p:grpSpPr>
          <a:xfrm>
            <a:off x="8986234" y="473723"/>
            <a:ext cx="2774642" cy="1163669"/>
            <a:chOff x="14817924" y="781197"/>
            <a:chExt cx="4575269" cy="1918977"/>
          </a:xfrm>
        </p:grpSpPr>
        <p:sp>
          <p:nvSpPr>
            <p:cNvPr id="11" name="object 6">
              <a:extLst>
                <a:ext uri="{FF2B5EF4-FFF2-40B4-BE49-F238E27FC236}">
                  <a16:creationId xmlns:a16="http://schemas.microsoft.com/office/drawing/2014/main" id="{169C230C-9F59-7549-9F33-17FCEEC6130C}"/>
                </a:ext>
              </a:extLst>
            </p:cNvPr>
            <p:cNvSpPr/>
            <p:nvPr/>
          </p:nvSpPr>
          <p:spPr>
            <a:xfrm>
              <a:off x="14817924" y="2494651"/>
              <a:ext cx="87452" cy="154822"/>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12" name="object 7">
              <a:extLst>
                <a:ext uri="{FF2B5EF4-FFF2-40B4-BE49-F238E27FC236}">
                  <a16:creationId xmlns:a16="http://schemas.microsoft.com/office/drawing/2014/main" id="{DB7958D2-2178-E447-BA2A-02431C505DCE}"/>
                </a:ext>
              </a:extLst>
            </p:cNvPr>
            <p:cNvSpPr/>
            <p:nvPr/>
          </p:nvSpPr>
          <p:spPr>
            <a:xfrm>
              <a:off x="14931724" y="2542744"/>
              <a:ext cx="85630" cy="106719"/>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13" name="object 8">
              <a:extLst>
                <a:ext uri="{FF2B5EF4-FFF2-40B4-BE49-F238E27FC236}">
                  <a16:creationId xmlns:a16="http://schemas.microsoft.com/office/drawing/2014/main" id="{143BB172-2124-924D-9AAC-A275C6BF467B}"/>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endParaRPr sz="307" b="0" i="0" dirty="0">
                <a:latin typeface="Tahoma Regular"/>
              </a:endParaRPr>
            </a:p>
          </p:txBody>
        </p:sp>
        <p:sp>
          <p:nvSpPr>
            <p:cNvPr id="14" name="object 9">
              <a:extLst>
                <a:ext uri="{FF2B5EF4-FFF2-40B4-BE49-F238E27FC236}">
                  <a16:creationId xmlns:a16="http://schemas.microsoft.com/office/drawing/2014/main" id="{F2CAB43E-A109-B64A-A95C-3E99F34FADD0}"/>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endParaRPr sz="307" b="0" i="0" dirty="0">
                <a:latin typeface="Tahoma Regular"/>
              </a:endParaRPr>
            </a:p>
          </p:txBody>
        </p:sp>
        <p:sp>
          <p:nvSpPr>
            <p:cNvPr id="15" name="object 10">
              <a:extLst>
                <a:ext uri="{FF2B5EF4-FFF2-40B4-BE49-F238E27FC236}">
                  <a16:creationId xmlns:a16="http://schemas.microsoft.com/office/drawing/2014/main" id="{FE861E66-55E8-824E-B63D-92F6BA1D3F82}"/>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endParaRPr sz="307" b="0" i="0" dirty="0">
                <a:latin typeface="Tahoma Regular"/>
              </a:endParaRPr>
            </a:p>
          </p:txBody>
        </p:sp>
        <p:sp>
          <p:nvSpPr>
            <p:cNvPr id="16" name="object 11">
              <a:extLst>
                <a:ext uri="{FF2B5EF4-FFF2-40B4-BE49-F238E27FC236}">
                  <a16:creationId xmlns:a16="http://schemas.microsoft.com/office/drawing/2014/main" id="{89F2B1CD-283D-8D49-9031-F583EEDDBD20}"/>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endParaRPr sz="307" b="0" i="0" dirty="0">
                <a:latin typeface="Tahoma Regular"/>
              </a:endParaRPr>
            </a:p>
          </p:txBody>
        </p:sp>
        <p:sp>
          <p:nvSpPr>
            <p:cNvPr id="17" name="object 12">
              <a:extLst>
                <a:ext uri="{FF2B5EF4-FFF2-40B4-BE49-F238E27FC236}">
                  <a16:creationId xmlns:a16="http://schemas.microsoft.com/office/drawing/2014/main" id="{A3AEED8B-2455-654D-9D56-225360A26FB8}"/>
                </a:ext>
              </a:extLst>
            </p:cNvPr>
            <p:cNvSpPr/>
            <p:nvPr/>
          </p:nvSpPr>
          <p:spPr>
            <a:xfrm>
              <a:off x="15144446" y="2542744"/>
              <a:ext cx="192678" cy="106719"/>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18" name="object 13">
              <a:extLst>
                <a:ext uri="{FF2B5EF4-FFF2-40B4-BE49-F238E27FC236}">
                  <a16:creationId xmlns:a16="http://schemas.microsoft.com/office/drawing/2014/main" id="{0096DAB9-5EDF-D345-80D2-021DDBE35D6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endParaRPr sz="307" b="0" i="0" dirty="0">
                <a:latin typeface="Tahoma Regular"/>
              </a:endParaRPr>
            </a:p>
          </p:txBody>
        </p:sp>
        <p:sp>
          <p:nvSpPr>
            <p:cNvPr id="19" name="object 14">
              <a:extLst>
                <a:ext uri="{FF2B5EF4-FFF2-40B4-BE49-F238E27FC236}">
                  <a16:creationId xmlns:a16="http://schemas.microsoft.com/office/drawing/2014/main" id="{B3D66C4D-343E-C14C-BB14-19CD1BBF4D0B}"/>
                </a:ext>
              </a:extLst>
            </p:cNvPr>
            <p:cNvSpPr/>
            <p:nvPr/>
          </p:nvSpPr>
          <p:spPr>
            <a:xfrm>
              <a:off x="15501005" y="2542734"/>
              <a:ext cx="199600" cy="157440"/>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20" name="object 15">
              <a:extLst>
                <a:ext uri="{FF2B5EF4-FFF2-40B4-BE49-F238E27FC236}">
                  <a16:creationId xmlns:a16="http://schemas.microsoft.com/office/drawing/2014/main" id="{DD1990A4-57AD-874B-8888-F8607CC666CD}"/>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endParaRPr sz="307" b="0" i="0" dirty="0">
                <a:latin typeface="Tahoma Regular"/>
              </a:endParaRPr>
            </a:p>
          </p:txBody>
        </p:sp>
        <p:sp>
          <p:nvSpPr>
            <p:cNvPr id="21" name="object 16">
              <a:extLst>
                <a:ext uri="{FF2B5EF4-FFF2-40B4-BE49-F238E27FC236}">
                  <a16:creationId xmlns:a16="http://schemas.microsoft.com/office/drawing/2014/main" id="{36FFF5F6-7CF5-ED4E-AF83-0836CA4137A0}"/>
                </a:ext>
              </a:extLst>
            </p:cNvPr>
            <p:cNvSpPr/>
            <p:nvPr/>
          </p:nvSpPr>
          <p:spPr>
            <a:xfrm>
              <a:off x="15924490" y="2542744"/>
              <a:ext cx="85630" cy="106719"/>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22" name="object 17">
              <a:extLst>
                <a:ext uri="{FF2B5EF4-FFF2-40B4-BE49-F238E27FC236}">
                  <a16:creationId xmlns:a16="http://schemas.microsoft.com/office/drawing/2014/main" id="{461B1837-6D25-F24D-9DCE-04A412752305}"/>
                </a:ext>
              </a:extLst>
            </p:cNvPr>
            <p:cNvSpPr/>
            <p:nvPr/>
          </p:nvSpPr>
          <p:spPr>
            <a:xfrm>
              <a:off x="16083729" y="2542734"/>
              <a:ext cx="98991" cy="157440"/>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23" name="object 18">
              <a:extLst>
                <a:ext uri="{FF2B5EF4-FFF2-40B4-BE49-F238E27FC236}">
                  <a16:creationId xmlns:a16="http://schemas.microsoft.com/office/drawing/2014/main" id="{C3EA702A-F812-7F49-9722-8D11B7BF02BF}"/>
                </a:ext>
              </a:extLst>
            </p:cNvPr>
            <p:cNvSpPr/>
            <p:nvPr/>
          </p:nvSpPr>
          <p:spPr>
            <a:xfrm>
              <a:off x="16203392" y="2494664"/>
              <a:ext cx="81327" cy="152152"/>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24" name="object 19">
              <a:extLst>
                <a:ext uri="{FF2B5EF4-FFF2-40B4-BE49-F238E27FC236}">
                  <a16:creationId xmlns:a16="http://schemas.microsoft.com/office/drawing/2014/main" id="{8345B4D4-DA77-1046-BF96-101762F72EE9}"/>
                </a:ext>
              </a:extLst>
            </p:cNvPr>
            <p:cNvSpPr/>
            <p:nvPr/>
          </p:nvSpPr>
          <p:spPr>
            <a:xfrm>
              <a:off x="16435528" y="2542744"/>
              <a:ext cx="162704" cy="106719"/>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25" name="object 20">
              <a:extLst>
                <a:ext uri="{FF2B5EF4-FFF2-40B4-BE49-F238E27FC236}">
                  <a16:creationId xmlns:a16="http://schemas.microsoft.com/office/drawing/2014/main" id="{69F2EF62-B4D1-7440-BEC7-0136BC379191}"/>
                </a:ext>
              </a:extLst>
            </p:cNvPr>
            <p:cNvSpPr/>
            <p:nvPr/>
          </p:nvSpPr>
          <p:spPr>
            <a:xfrm>
              <a:off x="16733088" y="2542749"/>
              <a:ext cx="81128" cy="106708"/>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26" name="object 21">
              <a:extLst>
                <a:ext uri="{FF2B5EF4-FFF2-40B4-BE49-F238E27FC236}">
                  <a16:creationId xmlns:a16="http://schemas.microsoft.com/office/drawing/2014/main" id="{909EF317-8C6B-B14D-A0A2-7DA6B3001CC9}"/>
                </a:ext>
              </a:extLst>
            </p:cNvPr>
            <p:cNvSpPr/>
            <p:nvPr/>
          </p:nvSpPr>
          <p:spPr>
            <a:xfrm>
              <a:off x="16842601" y="2494645"/>
              <a:ext cx="87442" cy="154801"/>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27" name="object 22">
              <a:extLst>
                <a:ext uri="{FF2B5EF4-FFF2-40B4-BE49-F238E27FC236}">
                  <a16:creationId xmlns:a16="http://schemas.microsoft.com/office/drawing/2014/main" id="{75E8CB09-6577-8D47-8BD4-A59B3DDAFCE7}"/>
                </a:ext>
              </a:extLst>
            </p:cNvPr>
            <p:cNvSpPr/>
            <p:nvPr/>
          </p:nvSpPr>
          <p:spPr>
            <a:xfrm>
              <a:off x="17003059" y="2545373"/>
              <a:ext cx="94353" cy="152162"/>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307" b="0" i="0" dirty="0">
                <a:latin typeface="Tahoma Regular"/>
              </a:endParaRPr>
            </a:p>
          </p:txBody>
        </p:sp>
        <p:sp>
          <p:nvSpPr>
            <p:cNvPr id="28" name="object 23">
              <a:extLst>
                <a:ext uri="{FF2B5EF4-FFF2-40B4-BE49-F238E27FC236}">
                  <a16:creationId xmlns:a16="http://schemas.microsoft.com/office/drawing/2014/main" id="{CC550E6A-918F-184F-B3B0-819C05F536E6}"/>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endParaRPr sz="307" b="0" i="0" dirty="0">
                <a:latin typeface="Tahoma Regular"/>
              </a:endParaRPr>
            </a:p>
          </p:txBody>
        </p:sp>
        <p:sp>
          <p:nvSpPr>
            <p:cNvPr id="29" name="object 24">
              <a:extLst>
                <a:ext uri="{FF2B5EF4-FFF2-40B4-BE49-F238E27FC236}">
                  <a16:creationId xmlns:a16="http://schemas.microsoft.com/office/drawing/2014/main" id="{92A529BD-BB5C-E448-8BE2-3CED29567242}"/>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endParaRPr sz="307" b="0" i="0" dirty="0">
                <a:latin typeface="Tahoma Regular"/>
              </a:endParaRPr>
            </a:p>
          </p:txBody>
        </p:sp>
        <p:sp>
          <p:nvSpPr>
            <p:cNvPr id="30" name="object 25">
              <a:extLst>
                <a:ext uri="{FF2B5EF4-FFF2-40B4-BE49-F238E27FC236}">
                  <a16:creationId xmlns:a16="http://schemas.microsoft.com/office/drawing/2014/main" id="{0CBDD186-1165-8543-83F2-3CDD2EA0C4DE}"/>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endParaRPr sz="307" b="0" i="0" dirty="0">
                <a:latin typeface="Tahoma Regular"/>
              </a:endParaRPr>
            </a:p>
          </p:txBody>
        </p:sp>
        <p:sp>
          <p:nvSpPr>
            <p:cNvPr id="31" name="object 26">
              <a:extLst>
                <a:ext uri="{FF2B5EF4-FFF2-40B4-BE49-F238E27FC236}">
                  <a16:creationId xmlns:a16="http://schemas.microsoft.com/office/drawing/2014/main" id="{16A8DDD6-2186-CE4D-8002-00A5E1C88E7A}"/>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endParaRPr sz="307" b="0" i="0" dirty="0">
                <a:latin typeface="Tahoma Regular"/>
              </a:endParaRPr>
            </a:p>
          </p:txBody>
        </p:sp>
        <p:sp>
          <p:nvSpPr>
            <p:cNvPr id="32" name="object 27">
              <a:extLst>
                <a:ext uri="{FF2B5EF4-FFF2-40B4-BE49-F238E27FC236}">
                  <a16:creationId xmlns:a16="http://schemas.microsoft.com/office/drawing/2014/main" id="{BC635C2A-9778-BD49-8F33-237C75F007B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endParaRPr sz="307" b="0" i="0" dirty="0">
                <a:latin typeface="Tahoma Regular"/>
              </a:endParaRPr>
            </a:p>
          </p:txBody>
        </p:sp>
        <p:sp>
          <p:nvSpPr>
            <p:cNvPr id="33" name="object 28">
              <a:extLst>
                <a:ext uri="{FF2B5EF4-FFF2-40B4-BE49-F238E27FC236}">
                  <a16:creationId xmlns:a16="http://schemas.microsoft.com/office/drawing/2014/main" id="{5B3A08FA-0503-5646-A0D3-AB66FC6D430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endParaRPr sz="307" b="0" i="0" dirty="0">
                <a:latin typeface="Tahoma Regular"/>
              </a:endParaRPr>
            </a:p>
          </p:txBody>
        </p:sp>
        <p:sp>
          <p:nvSpPr>
            <p:cNvPr id="34" name="object 29">
              <a:extLst>
                <a:ext uri="{FF2B5EF4-FFF2-40B4-BE49-F238E27FC236}">
                  <a16:creationId xmlns:a16="http://schemas.microsoft.com/office/drawing/2014/main" id="{F65C85DF-78C3-F744-8EE8-11D6EE3F25C6}"/>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endParaRPr sz="307" b="0" i="0" dirty="0">
                <a:latin typeface="Tahoma Regular"/>
              </a:endParaRPr>
            </a:p>
          </p:txBody>
        </p:sp>
        <p:sp>
          <p:nvSpPr>
            <p:cNvPr id="35" name="object 30">
              <a:extLst>
                <a:ext uri="{FF2B5EF4-FFF2-40B4-BE49-F238E27FC236}">
                  <a16:creationId xmlns:a16="http://schemas.microsoft.com/office/drawing/2014/main" id="{77F7442E-53C4-9D45-A05C-C62843C79C6F}"/>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endParaRPr sz="307" b="0" i="0" dirty="0">
                <a:latin typeface="Tahoma Regular"/>
              </a:endParaRPr>
            </a:p>
          </p:txBody>
        </p:sp>
      </p:gr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8" y="4113728"/>
            <a:ext cx="7012180" cy="1103312"/>
          </a:xfrm>
          <a:prstGeom prst="rect">
            <a:avLst/>
          </a:prstGeom>
        </p:spPr>
        <p:txBody>
          <a:bodyPr/>
          <a:lstStyle>
            <a:lvl1pPr marL="0" indent="0">
              <a:spcBef>
                <a:spcPts val="0"/>
              </a:spcBef>
              <a:buNone/>
              <a:defRPr sz="1597" b="1" i="0">
                <a:solidFill>
                  <a:schemeClr val="bg1"/>
                </a:solidFill>
                <a:latin typeface="Tahoma Regular"/>
              </a:defRPr>
            </a:lvl1pPr>
          </a:lstStyle>
          <a:p>
            <a:pPr lvl="0"/>
            <a:r>
              <a:rPr lang="en-US" dirty="0"/>
              <a:t>DIVIDER TITLE GOES HERE</a:t>
            </a:r>
          </a:p>
          <a:p>
            <a:pPr lvl="0"/>
            <a:r>
              <a:rPr lang="en-US" dirty="0"/>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4" y="5217041"/>
            <a:ext cx="6248014" cy="1518300"/>
          </a:xfrm>
          <a:prstGeom prst="rect">
            <a:avLst/>
          </a:prstGeom>
        </p:spPr>
        <p:txBody>
          <a:bodyPr/>
          <a:lstStyle>
            <a:lvl1pPr marL="0" indent="0">
              <a:lnSpc>
                <a:spcPct val="100000"/>
              </a:lnSpc>
              <a:spcBef>
                <a:spcPts val="0"/>
              </a:spcBef>
              <a:buNone/>
              <a:defRPr sz="1058" b="0" i="0">
                <a:solidFill>
                  <a:schemeClr val="bg1"/>
                </a:solidFill>
                <a:latin typeface="Tahoma Regular"/>
              </a:defRPr>
            </a:lvl1pPr>
            <a:lvl2pPr marL="214773" indent="0">
              <a:buNone/>
              <a:defRPr>
                <a:solidFill>
                  <a:schemeClr val="bg1"/>
                </a:solidFill>
              </a:defRPr>
            </a:lvl2pPr>
            <a:lvl3pPr marL="429547" indent="0">
              <a:buNone/>
              <a:defRPr>
                <a:solidFill>
                  <a:schemeClr val="bg1"/>
                </a:solidFill>
              </a:defRPr>
            </a:lvl3pPr>
            <a:lvl4pPr marL="644320" indent="0">
              <a:buNone/>
              <a:defRPr>
                <a:solidFill>
                  <a:schemeClr val="bg1"/>
                </a:solidFill>
              </a:defRPr>
            </a:lvl4pPr>
            <a:lvl5pPr marL="859093"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14127438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A6FE452A-2F97-52CD-8473-A225E48D98A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4" name="Title Placeholder 1"/>
          <p:cNvSpPr>
            <a:spLocks noGrp="1"/>
          </p:cNvSpPr>
          <p:nvPr>
            <p:ph type="ctrTitle"/>
          </p:nvPr>
        </p:nvSpPr>
        <p:spPr>
          <a:xfrm>
            <a:off x="2252133" y="4365625"/>
            <a:ext cx="7670800" cy="1079500"/>
          </a:xfrm>
        </p:spPr>
        <p:txBody>
          <a:bodyPr/>
          <a:lstStyle>
            <a:lvl1pPr algn="ctr">
              <a:defRPr sz="2100" smtClean="0"/>
            </a:lvl1pPr>
          </a:lstStyle>
          <a:p>
            <a:pPr lvl="0"/>
            <a:r>
              <a:rPr lang="en-ZA" noProof="0"/>
              <a:t>Click To Edit Master Title Style</a:t>
            </a:r>
          </a:p>
        </p:txBody>
      </p:sp>
      <p:sp>
        <p:nvSpPr>
          <p:cNvPr id="8195" name="Text Placeholder 2"/>
          <p:cNvSpPr>
            <a:spLocks noGrp="1"/>
          </p:cNvSpPr>
          <p:nvPr>
            <p:ph type="subTitle" idx="1"/>
          </p:nvPr>
        </p:nvSpPr>
        <p:spPr>
          <a:xfrm>
            <a:off x="2252133" y="5486400"/>
            <a:ext cx="7670800" cy="787400"/>
          </a:xfrm>
        </p:spPr>
        <p:txBody>
          <a:bodyPr/>
          <a:lstStyle>
            <a:lvl1pPr marL="0" indent="0" algn="ctr">
              <a:buFont typeface="Wingdings" pitchFamily="2" charset="2"/>
              <a:buNone/>
              <a:defRPr sz="1600" smtClean="0"/>
            </a:lvl1pPr>
          </a:lstStyle>
          <a:p>
            <a:pPr lvl="0"/>
            <a:r>
              <a:rPr lang="en-ZA" noProof="0"/>
              <a:t>Click to edit master subtitle style</a:t>
            </a:r>
          </a:p>
        </p:txBody>
      </p:sp>
      <p:sp>
        <p:nvSpPr>
          <p:cNvPr id="3" name="Footer Placeholder 4">
            <a:extLst>
              <a:ext uri="{FF2B5EF4-FFF2-40B4-BE49-F238E27FC236}">
                <a16:creationId xmlns:a16="http://schemas.microsoft.com/office/drawing/2014/main" id="{ECFE4CB4-A47B-8521-ACA3-8B07D724EA6D}"/>
              </a:ext>
            </a:extLst>
          </p:cNvPr>
          <p:cNvSpPr>
            <a:spLocks noGrp="1"/>
          </p:cNvSpPr>
          <p:nvPr>
            <p:ph type="ftr" sz="quarter" idx="10"/>
          </p:nvPr>
        </p:nvSpPr>
        <p:spPr/>
        <p:txBody>
          <a:bodyPr/>
          <a:lstStyle>
            <a:lvl1pPr>
              <a:defRPr dirty="0"/>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18859957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Slide Number Placeholder 5">
            <a:extLst>
              <a:ext uri="{FF2B5EF4-FFF2-40B4-BE49-F238E27FC236}">
                <a16:creationId xmlns:a16="http://schemas.microsoft.com/office/drawing/2014/main" id="{F0950236-32A7-44A7-7B87-F24D5739B9FE}"/>
              </a:ext>
            </a:extLst>
          </p:cNvPr>
          <p:cNvSpPr>
            <a:spLocks noGrp="1"/>
          </p:cNvSpPr>
          <p:nvPr>
            <p:ph type="sldNum" sz="quarter" idx="10"/>
          </p:nvPr>
        </p:nvSpPr>
        <p:spPr/>
        <p:txBody>
          <a:bodyPr/>
          <a:lstStyle>
            <a:lvl1pPr>
              <a:defRPr/>
            </a:lvl1pPr>
          </a:lstStyle>
          <a:p>
            <a:pPr>
              <a:defRPr/>
            </a:pPr>
            <a:fld id="{6F6BBF20-B789-4E35-95F8-11439098568F}" type="slidenum">
              <a:rPr lang="en-US" altLang="en-US"/>
              <a:pPr>
                <a:defRPr/>
              </a:pPr>
              <a:t>‹#›</a:t>
            </a:fld>
            <a:endParaRPr lang="en-US" altLang="en-US" dirty="0"/>
          </a:p>
        </p:txBody>
      </p:sp>
      <p:sp>
        <p:nvSpPr>
          <p:cNvPr id="5" name="Footer Placeholder 4">
            <a:extLst>
              <a:ext uri="{FF2B5EF4-FFF2-40B4-BE49-F238E27FC236}">
                <a16:creationId xmlns:a16="http://schemas.microsoft.com/office/drawing/2014/main" id="{0868EE7D-89DD-1DF3-03D8-F530302181B0}"/>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2438693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A2E4968A-F764-9C8C-7371-8566E0737647}"/>
              </a:ext>
            </a:extLst>
          </p:cNvPr>
          <p:cNvSpPr>
            <a:spLocks noGrp="1"/>
          </p:cNvSpPr>
          <p:nvPr>
            <p:ph type="sldNum" sz="quarter" idx="10"/>
          </p:nvPr>
        </p:nvSpPr>
        <p:spPr/>
        <p:txBody>
          <a:bodyPr/>
          <a:lstStyle>
            <a:lvl1pPr>
              <a:defRPr/>
            </a:lvl1pPr>
          </a:lstStyle>
          <a:p>
            <a:pPr>
              <a:defRPr/>
            </a:pPr>
            <a:fld id="{F96E8B44-A2E2-45B6-BD42-38D6CE519323}" type="slidenum">
              <a:rPr lang="en-US" altLang="en-US"/>
              <a:pPr>
                <a:defRPr/>
              </a:pPr>
              <a:t>‹#›</a:t>
            </a:fld>
            <a:endParaRPr lang="en-US" altLang="en-US" dirty="0"/>
          </a:p>
        </p:txBody>
      </p:sp>
      <p:sp>
        <p:nvSpPr>
          <p:cNvPr id="5" name="Footer Placeholder 4">
            <a:extLst>
              <a:ext uri="{FF2B5EF4-FFF2-40B4-BE49-F238E27FC236}">
                <a16:creationId xmlns:a16="http://schemas.microsoft.com/office/drawing/2014/main" id="{5CF3F14A-A914-744A-C1D6-4FDBDCC98823}"/>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3976498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spTree>
    <p:extLst>
      <p:ext uri="{BB962C8B-B14F-4D97-AF65-F5344CB8AC3E}">
        <p14:creationId xmlns:p14="http://schemas.microsoft.com/office/powerpoint/2010/main" val="11097214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Slide Number Placeholder 5">
            <a:extLst>
              <a:ext uri="{FF2B5EF4-FFF2-40B4-BE49-F238E27FC236}">
                <a16:creationId xmlns:a16="http://schemas.microsoft.com/office/drawing/2014/main" id="{F7C54E76-DFB0-E714-4A1B-6B45C5B3B8E2}"/>
              </a:ext>
            </a:extLst>
          </p:cNvPr>
          <p:cNvSpPr>
            <a:spLocks noGrp="1"/>
          </p:cNvSpPr>
          <p:nvPr>
            <p:ph type="sldNum" sz="quarter" idx="10"/>
          </p:nvPr>
        </p:nvSpPr>
        <p:spPr/>
        <p:txBody>
          <a:bodyPr/>
          <a:lstStyle>
            <a:lvl1pPr>
              <a:defRPr/>
            </a:lvl1pPr>
          </a:lstStyle>
          <a:p>
            <a:pPr>
              <a:defRPr/>
            </a:pPr>
            <a:fld id="{FBF0F9A1-BABD-427B-BCF1-F541269505CD}" type="slidenum">
              <a:rPr lang="en-US" altLang="en-US"/>
              <a:pPr>
                <a:defRPr/>
              </a:pPr>
              <a:t>‹#›</a:t>
            </a:fld>
            <a:endParaRPr lang="en-US" altLang="en-US" dirty="0"/>
          </a:p>
        </p:txBody>
      </p:sp>
      <p:sp>
        <p:nvSpPr>
          <p:cNvPr id="5" name="Footer Placeholder 4">
            <a:extLst>
              <a:ext uri="{FF2B5EF4-FFF2-40B4-BE49-F238E27FC236}">
                <a16:creationId xmlns:a16="http://schemas.microsoft.com/office/drawing/2014/main" id="{42AEEEA0-5D1E-CE12-56E5-E2EFC3F65749}"/>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22243872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005678D1-9EEC-4810-E57E-39E8DB0BF7BB}"/>
              </a:ext>
            </a:extLst>
          </p:cNvPr>
          <p:cNvSpPr>
            <a:spLocks noGrp="1"/>
          </p:cNvSpPr>
          <p:nvPr>
            <p:ph type="sldNum" sz="quarter" idx="10"/>
          </p:nvPr>
        </p:nvSpPr>
        <p:spPr/>
        <p:txBody>
          <a:bodyPr/>
          <a:lstStyle>
            <a:lvl1pPr>
              <a:defRPr/>
            </a:lvl1pPr>
          </a:lstStyle>
          <a:p>
            <a:pPr>
              <a:defRPr/>
            </a:pPr>
            <a:fld id="{1C7AB762-A41E-41D0-8970-B6FE78BD1699}" type="slidenum">
              <a:rPr lang="en-US" altLang="en-US"/>
              <a:pPr>
                <a:defRPr/>
              </a:pPr>
              <a:t>‹#›</a:t>
            </a:fld>
            <a:endParaRPr lang="en-US" altLang="en-US" dirty="0"/>
          </a:p>
        </p:txBody>
      </p:sp>
      <p:sp>
        <p:nvSpPr>
          <p:cNvPr id="6" name="Footer Placeholder 4">
            <a:extLst>
              <a:ext uri="{FF2B5EF4-FFF2-40B4-BE49-F238E27FC236}">
                <a16:creationId xmlns:a16="http://schemas.microsoft.com/office/drawing/2014/main" id="{5771D4D1-B8C8-60C5-32C6-E34479DF45E7}"/>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12880716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B327D6E1-A8D0-E37F-89FD-8F473D835DEC}"/>
              </a:ext>
            </a:extLst>
          </p:cNvPr>
          <p:cNvSpPr>
            <a:spLocks noGrp="1"/>
          </p:cNvSpPr>
          <p:nvPr>
            <p:ph type="sldNum" sz="quarter" idx="10"/>
          </p:nvPr>
        </p:nvSpPr>
        <p:spPr/>
        <p:txBody>
          <a:bodyPr/>
          <a:lstStyle>
            <a:lvl1pPr>
              <a:defRPr/>
            </a:lvl1pPr>
          </a:lstStyle>
          <a:p>
            <a:pPr>
              <a:defRPr/>
            </a:pPr>
            <a:fld id="{C9D846F5-AF97-4163-A06E-778831E92DE8}" type="slidenum">
              <a:rPr lang="en-US" altLang="en-US"/>
              <a:pPr>
                <a:defRPr/>
              </a:pPr>
              <a:t>‹#›</a:t>
            </a:fld>
            <a:endParaRPr lang="en-US" altLang="en-US" dirty="0"/>
          </a:p>
        </p:txBody>
      </p:sp>
      <p:sp>
        <p:nvSpPr>
          <p:cNvPr id="8" name="Footer Placeholder 4">
            <a:extLst>
              <a:ext uri="{FF2B5EF4-FFF2-40B4-BE49-F238E27FC236}">
                <a16:creationId xmlns:a16="http://schemas.microsoft.com/office/drawing/2014/main" id="{E973AC45-3C3D-20BB-5B3F-BA9F7480F421}"/>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30808824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FD300694-AD77-3E79-DE5E-7724C8505E72}"/>
              </a:ext>
            </a:extLst>
          </p:cNvPr>
          <p:cNvSpPr>
            <a:spLocks noGrp="1"/>
          </p:cNvSpPr>
          <p:nvPr>
            <p:ph type="sldNum" sz="quarter" idx="10"/>
          </p:nvPr>
        </p:nvSpPr>
        <p:spPr/>
        <p:txBody>
          <a:bodyPr/>
          <a:lstStyle>
            <a:lvl1pPr>
              <a:defRPr/>
            </a:lvl1pPr>
          </a:lstStyle>
          <a:p>
            <a:pPr>
              <a:defRPr/>
            </a:pPr>
            <a:fld id="{D6E910F1-03A7-47C0-9637-6AA5CAFC0935}" type="slidenum">
              <a:rPr lang="en-US" altLang="en-US"/>
              <a:pPr>
                <a:defRPr/>
              </a:pPr>
              <a:t>‹#›</a:t>
            </a:fld>
            <a:endParaRPr lang="en-US" altLang="en-US" dirty="0"/>
          </a:p>
        </p:txBody>
      </p:sp>
      <p:sp>
        <p:nvSpPr>
          <p:cNvPr id="4" name="Footer Placeholder 4">
            <a:extLst>
              <a:ext uri="{FF2B5EF4-FFF2-40B4-BE49-F238E27FC236}">
                <a16:creationId xmlns:a16="http://schemas.microsoft.com/office/drawing/2014/main" id="{8B890221-DA46-4748-81BB-97FC30E65E63}"/>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22363602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7B66BD53-5CBA-AD74-1376-397AFE05821E}"/>
              </a:ext>
            </a:extLst>
          </p:cNvPr>
          <p:cNvSpPr>
            <a:spLocks noGrp="1"/>
          </p:cNvSpPr>
          <p:nvPr>
            <p:ph type="sldNum" sz="quarter" idx="10"/>
          </p:nvPr>
        </p:nvSpPr>
        <p:spPr/>
        <p:txBody>
          <a:bodyPr/>
          <a:lstStyle>
            <a:lvl1pPr>
              <a:defRPr/>
            </a:lvl1pPr>
          </a:lstStyle>
          <a:p>
            <a:pPr>
              <a:defRPr/>
            </a:pPr>
            <a:fld id="{4C896050-81F7-4735-9A1C-543E32658C6C}" type="slidenum">
              <a:rPr lang="en-US" altLang="en-US"/>
              <a:pPr>
                <a:defRPr/>
              </a:pPr>
              <a:t>‹#›</a:t>
            </a:fld>
            <a:endParaRPr lang="en-US" altLang="en-US" dirty="0"/>
          </a:p>
        </p:txBody>
      </p:sp>
      <p:sp>
        <p:nvSpPr>
          <p:cNvPr id="3" name="Footer Placeholder 4">
            <a:extLst>
              <a:ext uri="{FF2B5EF4-FFF2-40B4-BE49-F238E27FC236}">
                <a16:creationId xmlns:a16="http://schemas.microsoft.com/office/drawing/2014/main" id="{82D33547-1561-E90C-5B49-A59D6DE88791}"/>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29217830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a:extLst>
              <a:ext uri="{FF2B5EF4-FFF2-40B4-BE49-F238E27FC236}">
                <a16:creationId xmlns:a16="http://schemas.microsoft.com/office/drawing/2014/main" id="{84A401AC-B394-0E86-2AD0-0B7CBB174D79}"/>
              </a:ext>
            </a:extLst>
          </p:cNvPr>
          <p:cNvSpPr>
            <a:spLocks noGrp="1"/>
          </p:cNvSpPr>
          <p:nvPr>
            <p:ph type="sldNum" sz="quarter" idx="10"/>
          </p:nvPr>
        </p:nvSpPr>
        <p:spPr/>
        <p:txBody>
          <a:bodyPr/>
          <a:lstStyle>
            <a:lvl1pPr>
              <a:defRPr/>
            </a:lvl1pPr>
          </a:lstStyle>
          <a:p>
            <a:pPr>
              <a:defRPr/>
            </a:pPr>
            <a:fld id="{3750FB89-E55C-497C-9716-94E556BE7349}" type="slidenum">
              <a:rPr lang="en-US" altLang="en-US"/>
              <a:pPr>
                <a:defRPr/>
              </a:pPr>
              <a:t>‹#›</a:t>
            </a:fld>
            <a:endParaRPr lang="en-US" altLang="en-US" dirty="0"/>
          </a:p>
        </p:txBody>
      </p:sp>
      <p:sp>
        <p:nvSpPr>
          <p:cNvPr id="6" name="Footer Placeholder 4">
            <a:extLst>
              <a:ext uri="{FF2B5EF4-FFF2-40B4-BE49-F238E27FC236}">
                <a16:creationId xmlns:a16="http://schemas.microsoft.com/office/drawing/2014/main" id="{B16B41C0-9AEA-7175-81E5-546ED1151718}"/>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40124110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a:extLst>
              <a:ext uri="{FF2B5EF4-FFF2-40B4-BE49-F238E27FC236}">
                <a16:creationId xmlns:a16="http://schemas.microsoft.com/office/drawing/2014/main" id="{0E83F40E-D7D2-2A3D-50D0-083DFC60DEFC}"/>
              </a:ext>
            </a:extLst>
          </p:cNvPr>
          <p:cNvSpPr>
            <a:spLocks noGrp="1"/>
          </p:cNvSpPr>
          <p:nvPr>
            <p:ph type="sldNum" sz="quarter" idx="10"/>
          </p:nvPr>
        </p:nvSpPr>
        <p:spPr/>
        <p:txBody>
          <a:bodyPr/>
          <a:lstStyle>
            <a:lvl1pPr>
              <a:defRPr/>
            </a:lvl1pPr>
          </a:lstStyle>
          <a:p>
            <a:pPr>
              <a:defRPr/>
            </a:pPr>
            <a:fld id="{92A203F6-6B4F-4570-AB28-B5C6C07F3E9F}" type="slidenum">
              <a:rPr lang="en-US" altLang="en-US"/>
              <a:pPr>
                <a:defRPr/>
              </a:pPr>
              <a:t>‹#›</a:t>
            </a:fld>
            <a:endParaRPr lang="en-US" altLang="en-US" dirty="0"/>
          </a:p>
        </p:txBody>
      </p:sp>
      <p:sp>
        <p:nvSpPr>
          <p:cNvPr id="6" name="Footer Placeholder 4">
            <a:extLst>
              <a:ext uri="{FF2B5EF4-FFF2-40B4-BE49-F238E27FC236}">
                <a16:creationId xmlns:a16="http://schemas.microsoft.com/office/drawing/2014/main" id="{93981644-8DD7-C545-A8AA-A63ADDEB5E86}"/>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337681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293F216C-1F40-94D1-3CD4-F9289298C70F}"/>
              </a:ext>
            </a:extLst>
          </p:cNvPr>
          <p:cNvSpPr>
            <a:spLocks noGrp="1"/>
          </p:cNvSpPr>
          <p:nvPr>
            <p:ph type="sldNum" sz="quarter" idx="10"/>
          </p:nvPr>
        </p:nvSpPr>
        <p:spPr/>
        <p:txBody>
          <a:bodyPr/>
          <a:lstStyle>
            <a:lvl1pPr>
              <a:defRPr/>
            </a:lvl1pPr>
          </a:lstStyle>
          <a:p>
            <a:pPr>
              <a:defRPr/>
            </a:pPr>
            <a:fld id="{67C3A78C-7CDC-4617-8EDC-8FD67DBD53E2}" type="slidenum">
              <a:rPr lang="en-US" altLang="en-US"/>
              <a:pPr>
                <a:defRPr/>
              </a:pPr>
              <a:t>‹#›</a:t>
            </a:fld>
            <a:endParaRPr lang="en-US" altLang="en-US" dirty="0"/>
          </a:p>
        </p:txBody>
      </p:sp>
      <p:sp>
        <p:nvSpPr>
          <p:cNvPr id="5" name="Footer Placeholder 4">
            <a:extLst>
              <a:ext uri="{FF2B5EF4-FFF2-40B4-BE49-F238E27FC236}">
                <a16:creationId xmlns:a16="http://schemas.microsoft.com/office/drawing/2014/main" id="{29A420A4-157C-B441-2D94-5EBC96F9D4BD}"/>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18949058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3FBE0C8D-79CD-DFA9-BFCC-6E027223BAA2}"/>
              </a:ext>
            </a:extLst>
          </p:cNvPr>
          <p:cNvSpPr>
            <a:spLocks noGrp="1"/>
          </p:cNvSpPr>
          <p:nvPr>
            <p:ph type="sldNum" sz="quarter" idx="10"/>
          </p:nvPr>
        </p:nvSpPr>
        <p:spPr/>
        <p:txBody>
          <a:bodyPr/>
          <a:lstStyle>
            <a:lvl1pPr>
              <a:defRPr/>
            </a:lvl1pPr>
          </a:lstStyle>
          <a:p>
            <a:pPr>
              <a:defRPr/>
            </a:pPr>
            <a:fld id="{87F75D23-BF0E-4DE7-9D48-27760CCB5AC0}" type="slidenum">
              <a:rPr lang="en-US" altLang="en-US"/>
              <a:pPr>
                <a:defRPr/>
              </a:pPr>
              <a:t>‹#›</a:t>
            </a:fld>
            <a:endParaRPr lang="en-US" altLang="en-US" dirty="0"/>
          </a:p>
        </p:txBody>
      </p:sp>
      <p:sp>
        <p:nvSpPr>
          <p:cNvPr id="5" name="Footer Placeholder 4">
            <a:extLst>
              <a:ext uri="{FF2B5EF4-FFF2-40B4-BE49-F238E27FC236}">
                <a16:creationId xmlns:a16="http://schemas.microsoft.com/office/drawing/2014/main" id="{17B896C3-2DB3-CF6C-6991-3DAF9E9608AB}"/>
              </a:ext>
            </a:extLst>
          </p:cNvPr>
          <p:cNvSpPr>
            <a:spLocks noGrp="1"/>
          </p:cNvSpPr>
          <p:nvPr>
            <p:ph type="ftr" sz="quarter" idx="11"/>
          </p:nvPr>
        </p:nvSpPr>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31192800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2EA29B2A-8BDB-1DC0-4AEC-84788EFF51FB}"/>
              </a:ext>
            </a:extLst>
          </p:cNvPr>
          <p:cNvSpPr/>
          <p:nvPr userDrawn="1"/>
        </p:nvSpPr>
        <p:spPr>
          <a:xfrm>
            <a:off x="0" y="0"/>
            <a:ext cx="12192000" cy="6858000"/>
          </a:xfrm>
          <a:prstGeom prst="rect">
            <a:avLst/>
          </a:prstGeom>
          <a:blipFill>
            <a:blip r:embed="rId2" cstate="email"/>
            <a:stretch>
              <a:fillRect/>
            </a:stretch>
          </a:blipFill>
        </p:spPr>
        <p:txBody>
          <a:bodyPr lIns="0" tIns="0" rIns="0" bIns="0"/>
          <a:lstStyle/>
          <a:p>
            <a:pPr>
              <a:defRPr/>
            </a:pPr>
            <a:endParaRPr sz="819" dirty="0"/>
          </a:p>
        </p:txBody>
      </p:sp>
      <p:pic>
        <p:nvPicPr>
          <p:cNvPr id="3" name="Picture 10">
            <a:extLst>
              <a:ext uri="{FF2B5EF4-FFF2-40B4-BE49-F238E27FC236}">
                <a16:creationId xmlns:a16="http://schemas.microsoft.com/office/drawing/2014/main" id="{FFCD84C2-D4C9-90A8-8AAD-0B201B777FB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11">
            <a:extLst>
              <a:ext uri="{FF2B5EF4-FFF2-40B4-BE49-F238E27FC236}">
                <a16:creationId xmlns:a16="http://schemas.microsoft.com/office/drawing/2014/main" id="{E50BFD2D-83DE-665C-6D36-5ED67887E460}"/>
              </a:ext>
            </a:extLst>
          </p:cNvPr>
          <p:cNvGrpSpPr>
            <a:grpSpLocks/>
          </p:cNvGrpSpPr>
          <p:nvPr userDrawn="1"/>
        </p:nvGrpSpPr>
        <p:grpSpPr bwMode="auto">
          <a:xfrm>
            <a:off x="8985251" y="301625"/>
            <a:ext cx="2774949" cy="1163638"/>
            <a:chOff x="14817924" y="781197"/>
            <a:chExt cx="4575269" cy="1918977"/>
          </a:xfrm>
        </p:grpSpPr>
        <p:sp>
          <p:nvSpPr>
            <p:cNvPr id="5" name="object 6">
              <a:extLst>
                <a:ext uri="{FF2B5EF4-FFF2-40B4-BE49-F238E27FC236}">
                  <a16:creationId xmlns:a16="http://schemas.microsoft.com/office/drawing/2014/main" id="{63C14A00-01CD-85C3-A0D1-2F3B6CBEE630}"/>
                </a:ext>
              </a:extLst>
            </p:cNvPr>
            <p:cNvSpPr/>
            <p:nvPr/>
          </p:nvSpPr>
          <p:spPr>
            <a:xfrm>
              <a:off x="14817924" y="2493353"/>
              <a:ext cx="87247" cy="157079"/>
            </a:xfrm>
            <a:prstGeom prst="rect">
              <a:avLst/>
            </a:prstGeom>
            <a:blipFill>
              <a:blip r:embed="rId4" cstate="email"/>
              <a:stretch>
                <a:fillRect/>
              </a:stretch>
            </a:blipFill>
          </p:spPr>
          <p:txBody>
            <a:bodyPr lIns="0" tIns="0" rIns="0" bIns="0"/>
            <a:lstStyle/>
            <a:p>
              <a:pPr>
                <a:defRPr/>
              </a:pPr>
              <a:endParaRPr sz="819" dirty="0"/>
            </a:p>
          </p:txBody>
        </p:sp>
        <p:sp>
          <p:nvSpPr>
            <p:cNvPr id="6" name="object 7">
              <a:extLst>
                <a:ext uri="{FF2B5EF4-FFF2-40B4-BE49-F238E27FC236}">
                  <a16:creationId xmlns:a16="http://schemas.microsoft.com/office/drawing/2014/main" id="{22BD2C51-CA53-7B46-6044-C1AB87342BD7}"/>
                </a:ext>
              </a:extLst>
            </p:cNvPr>
            <p:cNvSpPr/>
            <p:nvPr/>
          </p:nvSpPr>
          <p:spPr>
            <a:xfrm>
              <a:off x="14933090" y="2543095"/>
              <a:ext cx="83758" cy="107336"/>
            </a:xfrm>
            <a:prstGeom prst="rect">
              <a:avLst/>
            </a:prstGeom>
            <a:blipFill>
              <a:blip r:embed="rId5" cstate="email"/>
              <a:stretch>
                <a:fillRect/>
              </a:stretch>
            </a:blipFill>
          </p:spPr>
          <p:txBody>
            <a:bodyPr lIns="0" tIns="0" rIns="0" bIns="0"/>
            <a:lstStyle/>
            <a:p>
              <a:pPr>
                <a:defRPr/>
              </a:pPr>
              <a:endParaRPr sz="819" dirty="0"/>
            </a:p>
          </p:txBody>
        </p:sp>
        <p:sp>
          <p:nvSpPr>
            <p:cNvPr id="7" name="object 8">
              <a:extLst>
                <a:ext uri="{FF2B5EF4-FFF2-40B4-BE49-F238E27FC236}">
                  <a16:creationId xmlns:a16="http://schemas.microsoft.com/office/drawing/2014/main" id="{5FD83F39-E1F0-0E92-8422-9F41E7049328}"/>
                </a:ext>
              </a:extLst>
            </p:cNvPr>
            <p:cNvSpPr/>
            <p:nvPr/>
          </p:nvSpPr>
          <p:spPr>
            <a:xfrm>
              <a:off x="15097117" y="2498589"/>
              <a:ext cx="27919" cy="149225"/>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lIns="0" tIns="0" rIns="0" bIns="0"/>
            <a:lstStyle/>
            <a:p>
              <a:pPr>
                <a:defRPr/>
              </a:pPr>
              <a:endParaRPr sz="819" dirty="0"/>
            </a:p>
          </p:txBody>
        </p:sp>
        <p:sp>
          <p:nvSpPr>
            <p:cNvPr id="8" name="object 9">
              <a:extLst>
                <a:ext uri="{FF2B5EF4-FFF2-40B4-BE49-F238E27FC236}">
                  <a16:creationId xmlns:a16="http://schemas.microsoft.com/office/drawing/2014/main" id="{E6456943-6608-AB37-3EBE-3822A0D831CD}"/>
                </a:ext>
              </a:extLst>
            </p:cNvPr>
            <p:cNvSpPr/>
            <p:nvPr/>
          </p:nvSpPr>
          <p:spPr>
            <a:xfrm>
              <a:off x="16035901" y="2498589"/>
              <a:ext cx="27919" cy="149225"/>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lIns="0" tIns="0" rIns="0" bIns="0"/>
            <a:lstStyle/>
            <a:p>
              <a:pPr>
                <a:defRPr/>
              </a:pPr>
              <a:endParaRPr sz="819" dirty="0"/>
            </a:p>
          </p:txBody>
        </p:sp>
        <p:sp>
          <p:nvSpPr>
            <p:cNvPr id="9" name="object 10">
              <a:extLst>
                <a:ext uri="{FF2B5EF4-FFF2-40B4-BE49-F238E27FC236}">
                  <a16:creationId xmlns:a16="http://schemas.microsoft.com/office/drawing/2014/main" id="{A55971BB-74AB-6364-5AFB-3C30ED1F1FE2}"/>
                </a:ext>
              </a:extLst>
            </p:cNvPr>
            <p:cNvSpPr/>
            <p:nvPr/>
          </p:nvSpPr>
          <p:spPr>
            <a:xfrm>
              <a:off x="16678044" y="2498589"/>
              <a:ext cx="27919" cy="149225"/>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lIns="0" tIns="0" rIns="0" bIns="0"/>
            <a:lstStyle/>
            <a:p>
              <a:pPr>
                <a:defRPr/>
              </a:pPr>
              <a:endParaRPr sz="819" dirty="0"/>
            </a:p>
          </p:txBody>
        </p:sp>
        <p:sp>
          <p:nvSpPr>
            <p:cNvPr id="10" name="object 11">
              <a:extLst>
                <a:ext uri="{FF2B5EF4-FFF2-40B4-BE49-F238E27FC236}">
                  <a16:creationId xmlns:a16="http://schemas.microsoft.com/office/drawing/2014/main" id="{16D656CB-CD20-A576-7ABB-EBCBFEBCC2F1}"/>
                </a:ext>
              </a:extLst>
            </p:cNvPr>
            <p:cNvSpPr/>
            <p:nvPr/>
          </p:nvSpPr>
          <p:spPr>
            <a:xfrm>
              <a:off x="15442617" y="2498589"/>
              <a:ext cx="27919" cy="149225"/>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lIns="0" tIns="0" rIns="0" bIns="0"/>
            <a:lstStyle/>
            <a:p>
              <a:pPr>
                <a:defRPr/>
              </a:pPr>
              <a:endParaRPr sz="819" dirty="0"/>
            </a:p>
          </p:txBody>
        </p:sp>
        <p:sp>
          <p:nvSpPr>
            <p:cNvPr id="11" name="object 12">
              <a:extLst>
                <a:ext uri="{FF2B5EF4-FFF2-40B4-BE49-F238E27FC236}">
                  <a16:creationId xmlns:a16="http://schemas.microsoft.com/office/drawing/2014/main" id="{64057F94-22E2-5F13-2FBF-9C519360D143}"/>
                </a:ext>
              </a:extLst>
            </p:cNvPr>
            <p:cNvSpPr/>
            <p:nvPr/>
          </p:nvSpPr>
          <p:spPr>
            <a:xfrm>
              <a:off x="15145975" y="2543095"/>
              <a:ext cx="191944" cy="107336"/>
            </a:xfrm>
            <a:prstGeom prst="rect">
              <a:avLst/>
            </a:prstGeom>
            <a:blipFill>
              <a:blip r:embed="rId6" cstate="email"/>
              <a:stretch>
                <a:fillRect/>
              </a:stretch>
            </a:blipFill>
          </p:spPr>
          <p:txBody>
            <a:bodyPr lIns="0" tIns="0" rIns="0" bIns="0"/>
            <a:lstStyle/>
            <a:p>
              <a:pPr>
                <a:defRPr/>
              </a:pPr>
              <a:endParaRPr sz="819" dirty="0"/>
            </a:p>
          </p:txBody>
        </p:sp>
        <p:sp>
          <p:nvSpPr>
            <p:cNvPr id="12" name="object 13">
              <a:extLst>
                <a:ext uri="{FF2B5EF4-FFF2-40B4-BE49-F238E27FC236}">
                  <a16:creationId xmlns:a16="http://schemas.microsoft.com/office/drawing/2014/main" id="{BCFCDF7C-8C83-957A-9B78-9662B5C2F2C9}"/>
                </a:ext>
              </a:extLst>
            </p:cNvPr>
            <p:cNvSpPr/>
            <p:nvPr/>
          </p:nvSpPr>
          <p:spPr>
            <a:xfrm>
              <a:off x="15362350" y="2543095"/>
              <a:ext cx="59327" cy="10471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lIns="0" tIns="0" rIns="0" bIns="0"/>
            <a:lstStyle/>
            <a:p>
              <a:pPr>
                <a:defRPr/>
              </a:pPr>
              <a:endParaRPr sz="819" dirty="0"/>
            </a:p>
          </p:txBody>
        </p:sp>
        <p:sp>
          <p:nvSpPr>
            <p:cNvPr id="13" name="object 14">
              <a:extLst>
                <a:ext uri="{FF2B5EF4-FFF2-40B4-BE49-F238E27FC236}">
                  <a16:creationId xmlns:a16="http://schemas.microsoft.com/office/drawing/2014/main" id="{397F8766-092E-7212-76E2-DA4BD727D84E}"/>
                </a:ext>
              </a:extLst>
            </p:cNvPr>
            <p:cNvSpPr/>
            <p:nvPr/>
          </p:nvSpPr>
          <p:spPr>
            <a:xfrm>
              <a:off x="15501946" y="2543095"/>
              <a:ext cx="198924" cy="157079"/>
            </a:xfrm>
            <a:prstGeom prst="rect">
              <a:avLst/>
            </a:prstGeom>
            <a:blipFill>
              <a:blip r:embed="rId7" cstate="email"/>
              <a:stretch>
                <a:fillRect/>
              </a:stretch>
            </a:blipFill>
          </p:spPr>
          <p:txBody>
            <a:bodyPr lIns="0" tIns="0" rIns="0" bIns="0"/>
            <a:lstStyle/>
            <a:p>
              <a:pPr>
                <a:defRPr/>
              </a:pPr>
              <a:endParaRPr sz="819" dirty="0"/>
            </a:p>
          </p:txBody>
        </p:sp>
        <p:sp>
          <p:nvSpPr>
            <p:cNvPr id="14" name="object 15">
              <a:extLst>
                <a:ext uri="{FF2B5EF4-FFF2-40B4-BE49-F238E27FC236}">
                  <a16:creationId xmlns:a16="http://schemas.microsoft.com/office/drawing/2014/main" id="{4E3E3FAA-6E5A-B1C3-D8B8-D78272A405A0}"/>
                </a:ext>
              </a:extLst>
            </p:cNvPr>
            <p:cNvSpPr/>
            <p:nvPr/>
          </p:nvSpPr>
          <p:spPr>
            <a:xfrm>
              <a:off x="15843957" y="2543095"/>
              <a:ext cx="59327" cy="10471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lIns="0" tIns="0" rIns="0" bIns="0"/>
            <a:lstStyle/>
            <a:p>
              <a:pPr>
                <a:defRPr/>
              </a:pPr>
              <a:endParaRPr sz="819" dirty="0"/>
            </a:p>
          </p:txBody>
        </p:sp>
        <p:sp>
          <p:nvSpPr>
            <p:cNvPr id="15" name="object 16">
              <a:extLst>
                <a:ext uri="{FF2B5EF4-FFF2-40B4-BE49-F238E27FC236}">
                  <a16:creationId xmlns:a16="http://schemas.microsoft.com/office/drawing/2014/main" id="{B72102CC-F7D0-C2B9-A315-53BA61DD5C4B}"/>
                </a:ext>
              </a:extLst>
            </p:cNvPr>
            <p:cNvSpPr/>
            <p:nvPr/>
          </p:nvSpPr>
          <p:spPr>
            <a:xfrm>
              <a:off x="15924224" y="2543095"/>
              <a:ext cx="87249" cy="107336"/>
            </a:xfrm>
            <a:prstGeom prst="rect">
              <a:avLst/>
            </a:prstGeom>
            <a:blipFill>
              <a:blip r:embed="rId8" cstate="email"/>
              <a:stretch>
                <a:fillRect/>
              </a:stretch>
            </a:blipFill>
          </p:spPr>
          <p:txBody>
            <a:bodyPr lIns="0" tIns="0" rIns="0" bIns="0"/>
            <a:lstStyle/>
            <a:p>
              <a:pPr>
                <a:defRPr/>
              </a:pPr>
              <a:endParaRPr sz="819" dirty="0"/>
            </a:p>
          </p:txBody>
        </p:sp>
        <p:sp>
          <p:nvSpPr>
            <p:cNvPr id="16" name="object 17">
              <a:extLst>
                <a:ext uri="{FF2B5EF4-FFF2-40B4-BE49-F238E27FC236}">
                  <a16:creationId xmlns:a16="http://schemas.microsoft.com/office/drawing/2014/main" id="{943F4082-BA2A-9B6E-4B89-C07E0B08A9EB}"/>
                </a:ext>
              </a:extLst>
            </p:cNvPr>
            <p:cNvSpPr/>
            <p:nvPr/>
          </p:nvSpPr>
          <p:spPr>
            <a:xfrm>
              <a:off x="16084760" y="2543095"/>
              <a:ext cx="97717" cy="157079"/>
            </a:xfrm>
            <a:prstGeom prst="rect">
              <a:avLst/>
            </a:prstGeom>
            <a:blipFill>
              <a:blip r:embed="rId9" cstate="email"/>
              <a:stretch>
                <a:fillRect/>
              </a:stretch>
            </a:blipFill>
          </p:spPr>
          <p:txBody>
            <a:bodyPr lIns="0" tIns="0" rIns="0" bIns="0"/>
            <a:lstStyle/>
            <a:p>
              <a:pPr>
                <a:defRPr/>
              </a:pPr>
              <a:endParaRPr sz="819" dirty="0"/>
            </a:p>
          </p:txBody>
        </p:sp>
        <p:sp>
          <p:nvSpPr>
            <p:cNvPr id="17" name="object 18">
              <a:extLst>
                <a:ext uri="{FF2B5EF4-FFF2-40B4-BE49-F238E27FC236}">
                  <a16:creationId xmlns:a16="http://schemas.microsoft.com/office/drawing/2014/main" id="{F8C6B7CE-E246-D956-9758-DD3FF3A42EEF}"/>
                </a:ext>
              </a:extLst>
            </p:cNvPr>
            <p:cNvSpPr/>
            <p:nvPr/>
          </p:nvSpPr>
          <p:spPr>
            <a:xfrm>
              <a:off x="16203417" y="2495972"/>
              <a:ext cx="80269" cy="151843"/>
            </a:xfrm>
            <a:prstGeom prst="rect">
              <a:avLst/>
            </a:prstGeom>
            <a:blipFill>
              <a:blip r:embed="rId10" cstate="email"/>
              <a:stretch>
                <a:fillRect/>
              </a:stretch>
            </a:blipFill>
          </p:spPr>
          <p:txBody>
            <a:bodyPr lIns="0" tIns="0" rIns="0" bIns="0"/>
            <a:lstStyle/>
            <a:p>
              <a:pPr>
                <a:defRPr/>
              </a:pPr>
              <a:endParaRPr sz="819" dirty="0"/>
            </a:p>
          </p:txBody>
        </p:sp>
        <p:sp>
          <p:nvSpPr>
            <p:cNvPr id="18" name="object 19">
              <a:extLst>
                <a:ext uri="{FF2B5EF4-FFF2-40B4-BE49-F238E27FC236}">
                  <a16:creationId xmlns:a16="http://schemas.microsoft.com/office/drawing/2014/main" id="{655520DC-A046-FE17-F0F9-0F9EF68ADA10}"/>
                </a:ext>
              </a:extLst>
            </p:cNvPr>
            <p:cNvSpPr/>
            <p:nvPr/>
          </p:nvSpPr>
          <p:spPr>
            <a:xfrm>
              <a:off x="16437242" y="2543095"/>
              <a:ext cx="160536" cy="107336"/>
            </a:xfrm>
            <a:prstGeom prst="rect">
              <a:avLst/>
            </a:prstGeom>
            <a:blipFill>
              <a:blip r:embed="rId11" cstate="email"/>
              <a:stretch>
                <a:fillRect/>
              </a:stretch>
            </a:blipFill>
          </p:spPr>
          <p:txBody>
            <a:bodyPr lIns="0" tIns="0" rIns="0" bIns="0"/>
            <a:lstStyle/>
            <a:p>
              <a:pPr>
                <a:defRPr/>
              </a:pPr>
              <a:endParaRPr sz="819" dirty="0"/>
            </a:p>
          </p:txBody>
        </p:sp>
        <p:sp>
          <p:nvSpPr>
            <p:cNvPr id="19" name="object 20">
              <a:extLst>
                <a:ext uri="{FF2B5EF4-FFF2-40B4-BE49-F238E27FC236}">
                  <a16:creationId xmlns:a16="http://schemas.microsoft.com/office/drawing/2014/main" id="{E69C0DC5-6BB6-44D2-79BB-020E140F0EF6}"/>
                </a:ext>
              </a:extLst>
            </p:cNvPr>
            <p:cNvSpPr/>
            <p:nvPr/>
          </p:nvSpPr>
          <p:spPr>
            <a:xfrm>
              <a:off x="16733883" y="2543095"/>
              <a:ext cx="80269" cy="107336"/>
            </a:xfrm>
            <a:prstGeom prst="rect">
              <a:avLst/>
            </a:prstGeom>
            <a:blipFill>
              <a:blip r:embed="rId12" cstate="email"/>
              <a:stretch>
                <a:fillRect/>
              </a:stretch>
            </a:blipFill>
          </p:spPr>
          <p:txBody>
            <a:bodyPr lIns="0" tIns="0" rIns="0" bIns="0"/>
            <a:lstStyle/>
            <a:p>
              <a:pPr>
                <a:defRPr/>
              </a:pPr>
              <a:endParaRPr sz="819" dirty="0"/>
            </a:p>
          </p:txBody>
        </p:sp>
        <p:sp>
          <p:nvSpPr>
            <p:cNvPr id="20" name="object 21">
              <a:extLst>
                <a:ext uri="{FF2B5EF4-FFF2-40B4-BE49-F238E27FC236}">
                  <a16:creationId xmlns:a16="http://schemas.microsoft.com/office/drawing/2014/main" id="{058E85C0-4248-C9F2-4575-B172BF67E4F2}"/>
                </a:ext>
              </a:extLst>
            </p:cNvPr>
            <p:cNvSpPr/>
            <p:nvPr/>
          </p:nvSpPr>
          <p:spPr>
            <a:xfrm>
              <a:off x="16842071" y="2493353"/>
              <a:ext cx="87247" cy="157079"/>
            </a:xfrm>
            <a:prstGeom prst="rect">
              <a:avLst/>
            </a:prstGeom>
            <a:blipFill>
              <a:blip r:embed="rId13" cstate="email"/>
              <a:stretch>
                <a:fillRect/>
              </a:stretch>
            </a:blipFill>
          </p:spPr>
          <p:txBody>
            <a:bodyPr lIns="0" tIns="0" rIns="0" bIns="0"/>
            <a:lstStyle/>
            <a:p>
              <a:pPr>
                <a:defRPr/>
              </a:pPr>
              <a:endParaRPr sz="819" dirty="0"/>
            </a:p>
          </p:txBody>
        </p:sp>
        <p:sp>
          <p:nvSpPr>
            <p:cNvPr id="21" name="object 22">
              <a:extLst>
                <a:ext uri="{FF2B5EF4-FFF2-40B4-BE49-F238E27FC236}">
                  <a16:creationId xmlns:a16="http://schemas.microsoft.com/office/drawing/2014/main" id="{4D7F596C-C2D8-FA3C-1DCD-1FADC7FB14BB}"/>
                </a:ext>
              </a:extLst>
            </p:cNvPr>
            <p:cNvSpPr/>
            <p:nvPr/>
          </p:nvSpPr>
          <p:spPr>
            <a:xfrm>
              <a:off x="17002607" y="2545713"/>
              <a:ext cx="94226" cy="151843"/>
            </a:xfrm>
            <a:prstGeom prst="rect">
              <a:avLst/>
            </a:prstGeom>
            <a:blipFill>
              <a:blip r:embed="rId14" cstate="email"/>
              <a:stretch>
                <a:fillRect/>
              </a:stretch>
            </a:blipFill>
          </p:spPr>
          <p:txBody>
            <a:bodyPr lIns="0" tIns="0" rIns="0" bIns="0"/>
            <a:lstStyle/>
            <a:p>
              <a:pPr>
                <a:defRPr/>
              </a:pPr>
              <a:endParaRPr sz="819" dirty="0"/>
            </a:p>
          </p:txBody>
        </p:sp>
        <p:sp>
          <p:nvSpPr>
            <p:cNvPr id="22" name="object 23">
              <a:extLst>
                <a:ext uri="{FF2B5EF4-FFF2-40B4-BE49-F238E27FC236}">
                  <a16:creationId xmlns:a16="http://schemas.microsoft.com/office/drawing/2014/main" id="{CF6B3D1E-BF34-53EA-C1BA-04BED214D45D}"/>
                </a:ext>
              </a:extLst>
            </p:cNvPr>
            <p:cNvSpPr/>
            <p:nvPr/>
          </p:nvSpPr>
          <p:spPr>
            <a:xfrm>
              <a:off x="15055238" y="2495972"/>
              <a:ext cx="0" cy="151843"/>
            </a:xfrm>
            <a:custGeom>
              <a:avLst/>
              <a:gdLst/>
              <a:ahLst/>
              <a:cxnLst/>
              <a:rect l="l" t="t" r="r" b="b"/>
              <a:pathLst>
                <a:path h="152400">
                  <a:moveTo>
                    <a:pt x="0" y="0"/>
                  </a:moveTo>
                  <a:lnTo>
                    <a:pt x="0" y="152152"/>
                  </a:lnTo>
                </a:path>
              </a:pathLst>
            </a:custGeom>
            <a:ln w="20491">
              <a:solidFill>
                <a:srgbClr val="FFFFFF"/>
              </a:solidFill>
            </a:ln>
          </p:spPr>
          <p:txBody>
            <a:bodyPr lIns="0" tIns="0" rIns="0" bIns="0"/>
            <a:lstStyle/>
            <a:p>
              <a:pPr>
                <a:defRPr/>
              </a:pPr>
              <a:endParaRPr sz="819" dirty="0"/>
            </a:p>
          </p:txBody>
        </p:sp>
        <p:sp>
          <p:nvSpPr>
            <p:cNvPr id="23" name="object 24">
              <a:extLst>
                <a:ext uri="{FF2B5EF4-FFF2-40B4-BE49-F238E27FC236}">
                  <a16:creationId xmlns:a16="http://schemas.microsoft.com/office/drawing/2014/main" id="{AD752572-384D-C2A1-D79A-51D589575E99}"/>
                </a:ext>
              </a:extLst>
            </p:cNvPr>
            <p:cNvSpPr/>
            <p:nvPr/>
          </p:nvSpPr>
          <p:spPr>
            <a:xfrm>
              <a:off x="16636165" y="2495972"/>
              <a:ext cx="0" cy="151843"/>
            </a:xfrm>
            <a:custGeom>
              <a:avLst/>
              <a:gdLst/>
              <a:ahLst/>
              <a:cxnLst/>
              <a:rect l="l" t="t" r="r" b="b"/>
              <a:pathLst>
                <a:path h="152400">
                  <a:moveTo>
                    <a:pt x="0" y="0"/>
                  </a:moveTo>
                  <a:lnTo>
                    <a:pt x="0" y="152152"/>
                  </a:lnTo>
                </a:path>
              </a:pathLst>
            </a:custGeom>
            <a:ln w="20512">
              <a:solidFill>
                <a:srgbClr val="FFFFFF"/>
              </a:solidFill>
            </a:ln>
          </p:spPr>
          <p:txBody>
            <a:bodyPr lIns="0" tIns="0" rIns="0" bIns="0"/>
            <a:lstStyle/>
            <a:p>
              <a:pPr>
                <a:defRPr/>
              </a:pPr>
              <a:endParaRPr sz="819" dirty="0"/>
            </a:p>
          </p:txBody>
        </p:sp>
        <p:sp>
          <p:nvSpPr>
            <p:cNvPr id="24" name="object 25">
              <a:extLst>
                <a:ext uri="{FF2B5EF4-FFF2-40B4-BE49-F238E27FC236}">
                  <a16:creationId xmlns:a16="http://schemas.microsoft.com/office/drawing/2014/main" id="{8699539E-0B75-5FC5-B419-9C01512D589D}"/>
                </a:ext>
              </a:extLst>
            </p:cNvPr>
            <p:cNvSpPr/>
            <p:nvPr/>
          </p:nvSpPr>
          <p:spPr>
            <a:xfrm>
              <a:off x="16967708" y="2495972"/>
              <a:ext cx="0" cy="151843"/>
            </a:xfrm>
            <a:custGeom>
              <a:avLst/>
              <a:gdLst/>
              <a:ahLst/>
              <a:cxnLst/>
              <a:rect l="l" t="t" r="r" b="b"/>
              <a:pathLst>
                <a:path h="152400">
                  <a:moveTo>
                    <a:pt x="0" y="0"/>
                  </a:moveTo>
                  <a:lnTo>
                    <a:pt x="0" y="152152"/>
                  </a:lnTo>
                </a:path>
              </a:pathLst>
            </a:custGeom>
            <a:ln w="20501">
              <a:solidFill>
                <a:srgbClr val="FFFFFF"/>
              </a:solidFill>
            </a:ln>
          </p:spPr>
          <p:txBody>
            <a:bodyPr lIns="0" tIns="0" rIns="0" bIns="0"/>
            <a:lstStyle/>
            <a:p>
              <a:pPr>
                <a:defRPr/>
              </a:pPr>
              <a:endParaRPr sz="819" dirty="0"/>
            </a:p>
          </p:txBody>
        </p:sp>
        <p:sp>
          <p:nvSpPr>
            <p:cNvPr id="25" name="object 26">
              <a:extLst>
                <a:ext uri="{FF2B5EF4-FFF2-40B4-BE49-F238E27FC236}">
                  <a16:creationId xmlns:a16="http://schemas.microsoft.com/office/drawing/2014/main" id="{ACE1EF39-025D-5AB9-01D4-45366A05F84A}"/>
                </a:ext>
              </a:extLst>
            </p:cNvPr>
            <p:cNvSpPr/>
            <p:nvPr/>
          </p:nvSpPr>
          <p:spPr>
            <a:xfrm>
              <a:off x="16311605" y="2511680"/>
              <a:ext cx="52348" cy="138752"/>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lIns="0" tIns="0" rIns="0" bIns="0"/>
            <a:lstStyle/>
            <a:p>
              <a:pPr>
                <a:defRPr/>
              </a:pPr>
              <a:endParaRPr sz="819" dirty="0"/>
            </a:p>
          </p:txBody>
        </p:sp>
        <p:sp>
          <p:nvSpPr>
            <p:cNvPr id="26" name="object 27">
              <a:extLst>
                <a:ext uri="{FF2B5EF4-FFF2-40B4-BE49-F238E27FC236}">
                  <a16:creationId xmlns:a16="http://schemas.microsoft.com/office/drawing/2014/main" id="{C7D0CC01-9F67-3216-F872-8546436A2F69}"/>
                </a:ext>
              </a:extLst>
            </p:cNvPr>
            <p:cNvSpPr/>
            <p:nvPr/>
          </p:nvSpPr>
          <p:spPr>
            <a:xfrm>
              <a:off x="15770668" y="2490736"/>
              <a:ext cx="52350" cy="157079"/>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lIns="0" tIns="0" rIns="0" bIns="0"/>
            <a:lstStyle/>
            <a:p>
              <a:pPr>
                <a:defRPr/>
              </a:pPr>
              <a:endParaRPr sz="819" dirty="0"/>
            </a:p>
          </p:txBody>
        </p:sp>
        <p:sp>
          <p:nvSpPr>
            <p:cNvPr id="27" name="object 28">
              <a:extLst>
                <a:ext uri="{FF2B5EF4-FFF2-40B4-BE49-F238E27FC236}">
                  <a16:creationId xmlns:a16="http://schemas.microsoft.com/office/drawing/2014/main" id="{14BDF702-54FB-47C5-24DB-A30F83BCECD4}"/>
                </a:ext>
              </a:extLst>
            </p:cNvPr>
            <p:cNvSpPr/>
            <p:nvPr/>
          </p:nvSpPr>
          <p:spPr>
            <a:xfrm>
              <a:off x="17093344" y="1336208"/>
              <a:ext cx="610733" cy="353428"/>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lIns="0" tIns="0" rIns="0" bIns="0"/>
            <a:lstStyle/>
            <a:p>
              <a:pPr>
                <a:defRPr/>
              </a:pPr>
              <a:endParaRPr sz="819" dirty="0"/>
            </a:p>
          </p:txBody>
        </p:sp>
        <p:sp>
          <p:nvSpPr>
            <p:cNvPr id="28" name="object 29">
              <a:extLst>
                <a:ext uri="{FF2B5EF4-FFF2-40B4-BE49-F238E27FC236}">
                  <a16:creationId xmlns:a16="http://schemas.microsoft.com/office/drawing/2014/main" id="{40414B6A-3DA9-7895-0991-4DE171392D88}"/>
                </a:ext>
              </a:extLst>
            </p:cNvPr>
            <p:cNvSpPr/>
            <p:nvPr/>
          </p:nvSpPr>
          <p:spPr>
            <a:xfrm>
              <a:off x="17470254" y="1336208"/>
              <a:ext cx="1169118" cy="1010539"/>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lIns="0" tIns="0" rIns="0" bIns="0"/>
            <a:lstStyle/>
            <a:p>
              <a:pPr>
                <a:defRPr/>
              </a:pPr>
              <a:endParaRPr sz="819" dirty="0"/>
            </a:p>
          </p:txBody>
        </p:sp>
        <p:sp>
          <p:nvSpPr>
            <p:cNvPr id="29" name="object 30">
              <a:extLst>
                <a:ext uri="{FF2B5EF4-FFF2-40B4-BE49-F238E27FC236}">
                  <a16:creationId xmlns:a16="http://schemas.microsoft.com/office/drawing/2014/main" id="{84DD2CE1-B5A1-7C92-E2F0-57E49E52085B}"/>
                </a:ext>
              </a:extLst>
            </p:cNvPr>
            <p:cNvSpPr/>
            <p:nvPr/>
          </p:nvSpPr>
          <p:spPr>
            <a:xfrm>
              <a:off x="17602871" y="781197"/>
              <a:ext cx="1790322" cy="201585"/>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lIns="0" tIns="0" rIns="0" bIns="0"/>
            <a:lstStyle/>
            <a:p>
              <a:pPr>
                <a:defRPr/>
              </a:pPr>
              <a:endParaRPr sz="819" dirty="0"/>
            </a:p>
          </p:txBody>
        </p:sp>
      </p:grpSp>
      <p:sp>
        <p:nvSpPr>
          <p:cNvPr id="30" name="object 4">
            <a:extLst>
              <a:ext uri="{FF2B5EF4-FFF2-40B4-BE49-F238E27FC236}">
                <a16:creationId xmlns:a16="http://schemas.microsoft.com/office/drawing/2014/main" id="{2D308419-6B66-8657-1551-C7677009ED6E}"/>
              </a:ext>
            </a:extLst>
          </p:cNvPr>
          <p:cNvSpPr/>
          <p:nvPr userDrawn="1"/>
        </p:nvSpPr>
        <p:spPr>
          <a:xfrm>
            <a:off x="635000" y="2663825"/>
            <a:ext cx="848784" cy="1468438"/>
          </a:xfrm>
          <a:custGeom>
            <a:avLst/>
            <a:gdLst/>
            <a:ahLst/>
            <a:cxnLst/>
            <a:rect l="l" t="t" r="r" b="b"/>
            <a:pathLst>
              <a:path w="1399539" h="2421890">
                <a:moveTo>
                  <a:pt x="0" y="2421811"/>
                </a:moveTo>
                <a:lnTo>
                  <a:pt x="1399287" y="0"/>
                </a:lnTo>
              </a:path>
            </a:pathLst>
          </a:custGeom>
          <a:ln w="38679">
            <a:solidFill>
              <a:srgbClr val="E73023"/>
            </a:solidFill>
          </a:ln>
        </p:spPr>
        <p:txBody>
          <a:bodyPr lIns="0" tIns="0" rIns="0" bIns="0"/>
          <a:lstStyle/>
          <a:p>
            <a:pPr>
              <a:defRPr/>
            </a:pPr>
            <a:endParaRPr sz="819" dirty="0"/>
          </a:p>
        </p:txBody>
      </p:sp>
    </p:spTree>
    <p:extLst>
      <p:ext uri="{BB962C8B-B14F-4D97-AF65-F5344CB8AC3E}">
        <p14:creationId xmlns:p14="http://schemas.microsoft.com/office/powerpoint/2010/main" val="3584835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2" name="object 2">
            <a:extLst>
              <a:ext uri="{FF2B5EF4-FFF2-40B4-BE49-F238E27FC236}">
                <a16:creationId xmlns:a16="http://schemas.microsoft.com/office/drawing/2014/main" id="{9673ADB8-E5D1-124A-8C4A-2DD75998A228}"/>
              </a:ext>
            </a:extLst>
          </p:cNvPr>
          <p:cNvSpPr/>
          <p:nvPr userDrawn="1"/>
        </p:nvSpPr>
        <p:spPr>
          <a:xfrm>
            <a:off x="1" y="0"/>
            <a:ext cx="12191999" cy="685751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81"/>
            <a:ext cx="12192000" cy="6857519"/>
          </a:xfrm>
          <a:prstGeom prst="rect">
            <a:avLst/>
          </a:prstGeom>
        </p:spPr>
      </p:pic>
      <p:grpSp>
        <p:nvGrpSpPr>
          <p:cNvPr id="5" name="Group 4">
            <a:extLst>
              <a:ext uri="{FF2B5EF4-FFF2-40B4-BE49-F238E27FC236}">
                <a16:creationId xmlns:a16="http://schemas.microsoft.com/office/drawing/2014/main" id="{CE58E494-1C6C-6048-95A4-E67DC56D17E1}"/>
              </a:ext>
            </a:extLst>
          </p:cNvPr>
          <p:cNvGrpSpPr/>
          <p:nvPr userDrawn="1"/>
        </p:nvGrpSpPr>
        <p:grpSpPr>
          <a:xfrm>
            <a:off x="8986233" y="302269"/>
            <a:ext cx="2774642" cy="1163669"/>
            <a:chOff x="14817924" y="781197"/>
            <a:chExt cx="4575269" cy="1918977"/>
          </a:xfrm>
        </p:grpSpPr>
        <p:sp>
          <p:nvSpPr>
            <p:cNvPr id="6" name="object 6">
              <a:extLst>
                <a:ext uri="{FF2B5EF4-FFF2-40B4-BE49-F238E27FC236}">
                  <a16:creationId xmlns:a16="http://schemas.microsoft.com/office/drawing/2014/main" id="{988D07A3-0940-0A42-8A69-CD338296E901}"/>
                </a:ext>
              </a:extLst>
            </p:cNvPr>
            <p:cNvSpPr/>
            <p:nvPr/>
          </p:nvSpPr>
          <p:spPr>
            <a:xfrm>
              <a:off x="14817924" y="2494651"/>
              <a:ext cx="87452" cy="154822"/>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7" name="object 7">
              <a:extLst>
                <a:ext uri="{FF2B5EF4-FFF2-40B4-BE49-F238E27FC236}">
                  <a16:creationId xmlns:a16="http://schemas.microsoft.com/office/drawing/2014/main" id="{30B6986F-75AA-4742-977C-6A4BC896B03F}"/>
                </a:ext>
              </a:extLst>
            </p:cNvPr>
            <p:cNvSpPr/>
            <p:nvPr/>
          </p:nvSpPr>
          <p:spPr>
            <a:xfrm>
              <a:off x="14931724" y="2542744"/>
              <a:ext cx="85630" cy="10671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8" name="object 8">
              <a:extLst>
                <a:ext uri="{FF2B5EF4-FFF2-40B4-BE49-F238E27FC236}">
                  <a16:creationId xmlns:a16="http://schemas.microsoft.com/office/drawing/2014/main" id="{831D4405-7C33-EE49-83D0-0DFBF1B03A36}"/>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endParaRPr sz="1092"/>
            </a:p>
          </p:txBody>
        </p:sp>
        <p:sp>
          <p:nvSpPr>
            <p:cNvPr id="9" name="object 9">
              <a:extLst>
                <a:ext uri="{FF2B5EF4-FFF2-40B4-BE49-F238E27FC236}">
                  <a16:creationId xmlns:a16="http://schemas.microsoft.com/office/drawing/2014/main" id="{F10C3FDC-3B9C-F943-A57A-8203A4553305}"/>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endParaRPr sz="1092"/>
            </a:p>
          </p:txBody>
        </p:sp>
        <p:sp>
          <p:nvSpPr>
            <p:cNvPr id="10" name="object 10">
              <a:extLst>
                <a:ext uri="{FF2B5EF4-FFF2-40B4-BE49-F238E27FC236}">
                  <a16:creationId xmlns:a16="http://schemas.microsoft.com/office/drawing/2014/main" id="{6DC94C29-8843-4A4F-882E-11F5742BDC36}"/>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endParaRPr sz="1092"/>
            </a:p>
          </p:txBody>
        </p:sp>
        <p:sp>
          <p:nvSpPr>
            <p:cNvPr id="11" name="object 11">
              <a:extLst>
                <a:ext uri="{FF2B5EF4-FFF2-40B4-BE49-F238E27FC236}">
                  <a16:creationId xmlns:a16="http://schemas.microsoft.com/office/drawing/2014/main" id="{7D8BD669-B8D4-7848-80E7-1C8D4904BAED}"/>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endParaRPr sz="1092"/>
            </a:p>
          </p:txBody>
        </p:sp>
        <p:sp>
          <p:nvSpPr>
            <p:cNvPr id="12" name="object 12">
              <a:extLst>
                <a:ext uri="{FF2B5EF4-FFF2-40B4-BE49-F238E27FC236}">
                  <a16:creationId xmlns:a16="http://schemas.microsoft.com/office/drawing/2014/main" id="{989DAB23-E9EF-C14F-B9C4-929E36182A25}"/>
                </a:ext>
              </a:extLst>
            </p:cNvPr>
            <p:cNvSpPr/>
            <p:nvPr/>
          </p:nvSpPr>
          <p:spPr>
            <a:xfrm>
              <a:off x="15144446" y="2542744"/>
              <a:ext cx="192678" cy="10671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3" name="object 13">
              <a:extLst>
                <a:ext uri="{FF2B5EF4-FFF2-40B4-BE49-F238E27FC236}">
                  <a16:creationId xmlns:a16="http://schemas.microsoft.com/office/drawing/2014/main" id="{066B0F2C-E5DF-704B-A18A-F55897F9141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endParaRPr sz="1092"/>
            </a:p>
          </p:txBody>
        </p:sp>
        <p:sp>
          <p:nvSpPr>
            <p:cNvPr id="14" name="object 14">
              <a:extLst>
                <a:ext uri="{FF2B5EF4-FFF2-40B4-BE49-F238E27FC236}">
                  <a16:creationId xmlns:a16="http://schemas.microsoft.com/office/drawing/2014/main" id="{F5949A49-32CF-984C-8B66-5F0F8599F7B8}"/>
                </a:ext>
              </a:extLst>
            </p:cNvPr>
            <p:cNvSpPr/>
            <p:nvPr/>
          </p:nvSpPr>
          <p:spPr>
            <a:xfrm>
              <a:off x="15501005" y="2542734"/>
              <a:ext cx="199600" cy="15744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5" name="object 15">
              <a:extLst>
                <a:ext uri="{FF2B5EF4-FFF2-40B4-BE49-F238E27FC236}">
                  <a16:creationId xmlns:a16="http://schemas.microsoft.com/office/drawing/2014/main" id="{ABFE3AD2-32C6-ED43-919B-CD3D7C50C9E1}"/>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endParaRPr sz="1092"/>
            </a:p>
          </p:txBody>
        </p:sp>
        <p:sp>
          <p:nvSpPr>
            <p:cNvPr id="16" name="object 16">
              <a:extLst>
                <a:ext uri="{FF2B5EF4-FFF2-40B4-BE49-F238E27FC236}">
                  <a16:creationId xmlns:a16="http://schemas.microsoft.com/office/drawing/2014/main" id="{6EA42F7F-35EB-034A-977D-6915BDF3B4CC}"/>
                </a:ext>
              </a:extLst>
            </p:cNvPr>
            <p:cNvSpPr/>
            <p:nvPr/>
          </p:nvSpPr>
          <p:spPr>
            <a:xfrm>
              <a:off x="15924490" y="2542744"/>
              <a:ext cx="85630" cy="106719"/>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7" name="object 17">
              <a:extLst>
                <a:ext uri="{FF2B5EF4-FFF2-40B4-BE49-F238E27FC236}">
                  <a16:creationId xmlns:a16="http://schemas.microsoft.com/office/drawing/2014/main" id="{856F3CDD-B521-754D-9F17-33D01AF2FC5D}"/>
                </a:ext>
              </a:extLst>
            </p:cNvPr>
            <p:cNvSpPr/>
            <p:nvPr/>
          </p:nvSpPr>
          <p:spPr>
            <a:xfrm>
              <a:off x="16083729" y="2542734"/>
              <a:ext cx="98991" cy="15744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8" name="object 18">
              <a:extLst>
                <a:ext uri="{FF2B5EF4-FFF2-40B4-BE49-F238E27FC236}">
                  <a16:creationId xmlns:a16="http://schemas.microsoft.com/office/drawing/2014/main" id="{26B44690-08F5-394D-9C32-DFA8AEB8E95B}"/>
                </a:ext>
              </a:extLst>
            </p:cNvPr>
            <p:cNvSpPr/>
            <p:nvPr/>
          </p:nvSpPr>
          <p:spPr>
            <a:xfrm>
              <a:off x="16203392" y="2494664"/>
              <a:ext cx="81327" cy="152152"/>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9" name="object 19">
              <a:extLst>
                <a:ext uri="{FF2B5EF4-FFF2-40B4-BE49-F238E27FC236}">
                  <a16:creationId xmlns:a16="http://schemas.microsoft.com/office/drawing/2014/main" id="{82F79D31-ADC0-544C-BE4D-9AF0D38D20F9}"/>
                </a:ext>
              </a:extLst>
            </p:cNvPr>
            <p:cNvSpPr/>
            <p:nvPr/>
          </p:nvSpPr>
          <p:spPr>
            <a:xfrm>
              <a:off x="16435528" y="2542744"/>
              <a:ext cx="162704" cy="10671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0" name="object 20">
              <a:extLst>
                <a:ext uri="{FF2B5EF4-FFF2-40B4-BE49-F238E27FC236}">
                  <a16:creationId xmlns:a16="http://schemas.microsoft.com/office/drawing/2014/main" id="{749719E9-7629-0D43-B014-D5EF4E13BC42}"/>
                </a:ext>
              </a:extLst>
            </p:cNvPr>
            <p:cNvSpPr/>
            <p:nvPr/>
          </p:nvSpPr>
          <p:spPr>
            <a:xfrm>
              <a:off x="16733088" y="2542749"/>
              <a:ext cx="81128" cy="106708"/>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1" name="object 21">
              <a:extLst>
                <a:ext uri="{FF2B5EF4-FFF2-40B4-BE49-F238E27FC236}">
                  <a16:creationId xmlns:a16="http://schemas.microsoft.com/office/drawing/2014/main" id="{8D20C62F-8BDC-8949-9BEF-237EE7D4E653}"/>
                </a:ext>
              </a:extLst>
            </p:cNvPr>
            <p:cNvSpPr/>
            <p:nvPr/>
          </p:nvSpPr>
          <p:spPr>
            <a:xfrm>
              <a:off x="16842601" y="2494645"/>
              <a:ext cx="87442" cy="154801"/>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2" name="object 22">
              <a:extLst>
                <a:ext uri="{FF2B5EF4-FFF2-40B4-BE49-F238E27FC236}">
                  <a16:creationId xmlns:a16="http://schemas.microsoft.com/office/drawing/2014/main" id="{27E8ACD7-1E2A-0C4F-93E3-0886E0B9D56E}"/>
                </a:ext>
              </a:extLst>
            </p:cNvPr>
            <p:cNvSpPr/>
            <p:nvPr/>
          </p:nvSpPr>
          <p:spPr>
            <a:xfrm>
              <a:off x="17003059" y="2545373"/>
              <a:ext cx="94353" cy="152162"/>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3" name="object 23">
              <a:extLst>
                <a:ext uri="{FF2B5EF4-FFF2-40B4-BE49-F238E27FC236}">
                  <a16:creationId xmlns:a16="http://schemas.microsoft.com/office/drawing/2014/main" id="{0C46363A-0B6B-6D4B-8603-8D0B46C19AAC}"/>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endParaRPr sz="1092"/>
            </a:p>
          </p:txBody>
        </p:sp>
        <p:sp>
          <p:nvSpPr>
            <p:cNvPr id="24" name="object 24">
              <a:extLst>
                <a:ext uri="{FF2B5EF4-FFF2-40B4-BE49-F238E27FC236}">
                  <a16:creationId xmlns:a16="http://schemas.microsoft.com/office/drawing/2014/main" id="{484959F2-EC34-1F4F-904E-E9EE95EC816F}"/>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endParaRPr sz="1092"/>
            </a:p>
          </p:txBody>
        </p:sp>
        <p:sp>
          <p:nvSpPr>
            <p:cNvPr id="25" name="object 25">
              <a:extLst>
                <a:ext uri="{FF2B5EF4-FFF2-40B4-BE49-F238E27FC236}">
                  <a16:creationId xmlns:a16="http://schemas.microsoft.com/office/drawing/2014/main" id="{63E8624E-5A3B-0D45-BAD7-9DA598F7C26D}"/>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endParaRPr sz="1092"/>
            </a:p>
          </p:txBody>
        </p:sp>
        <p:sp>
          <p:nvSpPr>
            <p:cNvPr id="26" name="object 26">
              <a:extLst>
                <a:ext uri="{FF2B5EF4-FFF2-40B4-BE49-F238E27FC236}">
                  <a16:creationId xmlns:a16="http://schemas.microsoft.com/office/drawing/2014/main" id="{F585B409-CD62-9246-9092-11DDAC75585B}"/>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endParaRPr sz="1092"/>
            </a:p>
          </p:txBody>
        </p:sp>
        <p:sp>
          <p:nvSpPr>
            <p:cNvPr id="27" name="object 27">
              <a:extLst>
                <a:ext uri="{FF2B5EF4-FFF2-40B4-BE49-F238E27FC236}">
                  <a16:creationId xmlns:a16="http://schemas.microsoft.com/office/drawing/2014/main" id="{3FAD4E42-952E-D149-99A0-372A21AD6CE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endParaRPr sz="1092"/>
            </a:p>
          </p:txBody>
        </p:sp>
        <p:sp>
          <p:nvSpPr>
            <p:cNvPr id="28" name="object 28">
              <a:extLst>
                <a:ext uri="{FF2B5EF4-FFF2-40B4-BE49-F238E27FC236}">
                  <a16:creationId xmlns:a16="http://schemas.microsoft.com/office/drawing/2014/main" id="{1AEE6AD3-D5D8-4240-A700-2B0E39D9FFC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endParaRPr sz="1092"/>
            </a:p>
          </p:txBody>
        </p:sp>
        <p:sp>
          <p:nvSpPr>
            <p:cNvPr id="29" name="object 29">
              <a:extLst>
                <a:ext uri="{FF2B5EF4-FFF2-40B4-BE49-F238E27FC236}">
                  <a16:creationId xmlns:a16="http://schemas.microsoft.com/office/drawing/2014/main" id="{F0AF6F60-B5C8-034E-9CB0-F5F2FEE248E5}"/>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endParaRPr sz="1092"/>
            </a:p>
          </p:txBody>
        </p:sp>
        <p:sp>
          <p:nvSpPr>
            <p:cNvPr id="30" name="object 30">
              <a:extLst>
                <a:ext uri="{FF2B5EF4-FFF2-40B4-BE49-F238E27FC236}">
                  <a16:creationId xmlns:a16="http://schemas.microsoft.com/office/drawing/2014/main" id="{125205B5-8411-4A45-A066-6B1F267005F4}"/>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endParaRPr sz="1092"/>
            </a:p>
          </p:txBody>
        </p:sp>
      </p:grpSp>
      <p:sp>
        <p:nvSpPr>
          <p:cNvPr id="31" name="object 4">
            <a:extLst>
              <a:ext uri="{FF2B5EF4-FFF2-40B4-BE49-F238E27FC236}">
                <a16:creationId xmlns:a16="http://schemas.microsoft.com/office/drawing/2014/main" id="{61CF7A6D-5685-6042-A629-3C5635BBC234}"/>
              </a:ext>
            </a:extLst>
          </p:cNvPr>
          <p:cNvSpPr/>
          <p:nvPr userDrawn="1"/>
        </p:nvSpPr>
        <p:spPr>
          <a:xfrm>
            <a:off x="635835" y="2664176"/>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1092"/>
          </a:p>
        </p:txBody>
      </p:sp>
    </p:spTree>
    <p:extLst>
      <p:ext uri="{BB962C8B-B14F-4D97-AF65-F5344CB8AC3E}">
        <p14:creationId xmlns:p14="http://schemas.microsoft.com/office/powerpoint/2010/main" val="425907115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4_Custom Layout">
    <p:spTree>
      <p:nvGrpSpPr>
        <p:cNvPr id="1" name=""/>
        <p:cNvGrpSpPr/>
        <p:nvPr/>
      </p:nvGrpSpPr>
      <p:grpSpPr>
        <a:xfrm>
          <a:off x="0" y="0"/>
          <a:ext cx="0" cy="0"/>
          <a:chOff x="0" y="0"/>
          <a:chExt cx="0" cy="0"/>
        </a:xfrm>
      </p:grpSpPr>
      <p:pic>
        <p:nvPicPr>
          <p:cNvPr id="2" name="Picture Placeholder 115" descr="Aerial view of container ship">
            <a:extLst>
              <a:ext uri="{FF2B5EF4-FFF2-40B4-BE49-F238E27FC236}">
                <a16:creationId xmlns:a16="http://schemas.microsoft.com/office/drawing/2014/main" id="{E5E5BEF5-B5EC-6DE7-DDF4-22BC1B7B7E0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61" name="Title 1"/>
          <p:cNvSpPr>
            <a:spLocks noGrp="1"/>
          </p:cNvSpPr>
          <p:nvPr>
            <p:ph type="title"/>
          </p:nvPr>
        </p:nvSpPr>
        <p:spPr>
          <a:xfrm>
            <a:off x="3916794" y="1293536"/>
            <a:ext cx="5741487" cy="1338828"/>
          </a:xfrm>
          <a:prstGeom prst="rect">
            <a:avLst/>
          </a:prstGeom>
        </p:spPr>
        <p:txBody>
          <a:bodyPr anchor="t">
            <a:spAutoFit/>
          </a:bodyPr>
          <a:lstStyle>
            <a:lvl1pPr algn="r">
              <a:defRPr sz="4050">
                <a:solidFill>
                  <a:schemeClr val="tx1"/>
                </a:solidFill>
              </a:defRPr>
            </a:lvl1pPr>
          </a:lstStyle>
          <a:p>
            <a:r>
              <a:rPr lang="en-GB"/>
              <a:t>Click to edit Master title style</a:t>
            </a:r>
            <a:endParaRPr lang="en-US"/>
          </a:p>
        </p:txBody>
      </p:sp>
      <p:sp>
        <p:nvSpPr>
          <p:cNvPr id="86" name="Text Placeholder 18"/>
          <p:cNvSpPr>
            <a:spLocks noGrp="1"/>
          </p:cNvSpPr>
          <p:nvPr>
            <p:ph type="body" sz="quarter" idx="13"/>
          </p:nvPr>
        </p:nvSpPr>
        <p:spPr>
          <a:xfrm>
            <a:off x="7228298" y="2818323"/>
            <a:ext cx="2473626" cy="399322"/>
          </a:xfrm>
          <a:prstGeom prst="rect">
            <a:avLst/>
          </a:prstGeom>
        </p:spPr>
        <p:txBody>
          <a:bodyPr wrap="none" tIns="144000">
            <a:spAutoFit/>
          </a:bodyPr>
          <a:lstStyle>
            <a:lvl1pPr algn="r">
              <a:defRPr sz="135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lvl="0"/>
            <a:r>
              <a:rPr lang="en-US"/>
              <a:t>Click to edit Master text styles</a:t>
            </a:r>
          </a:p>
        </p:txBody>
      </p:sp>
    </p:spTree>
    <p:extLst>
      <p:ext uri="{BB962C8B-B14F-4D97-AF65-F5344CB8AC3E}">
        <p14:creationId xmlns:p14="http://schemas.microsoft.com/office/powerpoint/2010/main" val="3952868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82" y="0"/>
            <a:ext cx="12186639" cy="6857760"/>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5" y="4113726"/>
            <a:ext cx="7012180" cy="1103312"/>
          </a:xfrm>
          <a:prstGeom prst="rect">
            <a:avLst/>
          </a:prstGeom>
        </p:spPr>
        <p:txBody>
          <a:bodyPr/>
          <a:lstStyle>
            <a:lvl1pPr marL="0" indent="0">
              <a:spcBef>
                <a:spcPts val="0"/>
              </a:spcBef>
              <a:buNone/>
              <a:defRPr sz="3320" b="1" i="0">
                <a:solidFill>
                  <a:schemeClr val="bg1"/>
                </a:solidFill>
                <a:latin typeface="Tahoma Regular"/>
              </a:defRPr>
            </a:lvl1pPr>
          </a:lstStyle>
          <a:p>
            <a:pPr lvl="0"/>
            <a:r>
              <a:rPr lang="en-US" dirty="0"/>
              <a:t>DIVIDER TITLE GOES HERE</a:t>
            </a:r>
          </a:p>
          <a:p>
            <a:pPr lvl="0"/>
            <a:r>
              <a:rPr lang="en-US" dirty="0"/>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1043140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0"/>
          </p:nvPr>
        </p:nvSpPr>
        <p:spPr>
          <a:xfrm>
            <a:off x="10280651" y="6359525"/>
            <a:ext cx="1454149" cy="412750"/>
          </a:xfrm>
          <a:prstGeom prst="rect">
            <a:avLst/>
          </a:prstGeom>
        </p:spPr>
        <p:txBody>
          <a:bodyPr/>
          <a:lstStyle>
            <a:lvl1pPr>
              <a:defRPr/>
            </a:lvl1pPr>
          </a:lstStyle>
          <a:p>
            <a:pPr>
              <a:defRPr/>
            </a:pPr>
            <a:fld id="{C540CCFC-6BA4-4ACE-929C-A4BCE2E55EAC}" type="slidenum">
              <a:rPr lang="en-US" altLang="en-US"/>
              <a:pPr>
                <a:defRPr/>
              </a:pPr>
              <a:t>‹#›</a:t>
            </a:fld>
            <a:endParaRPr lang="en-US" altLang="en-US"/>
          </a:p>
        </p:txBody>
      </p:sp>
      <p:sp>
        <p:nvSpPr>
          <p:cNvPr id="5" name="Footer Placeholder 4"/>
          <p:cNvSpPr>
            <a:spLocks noGrp="1"/>
          </p:cNvSpPr>
          <p:nvPr>
            <p:ph type="ftr" sz="quarter" idx="11"/>
          </p:nvPr>
        </p:nvSpPr>
        <p:spPr>
          <a:xfrm>
            <a:off x="440267" y="6346826"/>
            <a:ext cx="5994400" cy="479425"/>
          </a:xfrm>
          <a:prstGeom prst="rect">
            <a:avLst/>
          </a:prstGeom>
        </p:spPr>
        <p:txBody>
          <a:bodyPr/>
          <a:lstStyle>
            <a:lvl1pPr>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16947279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image" Target="../media/image22.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image" Target="../media/image21.jpeg"/><Relationship Id="rId2" Type="http://schemas.openxmlformats.org/officeDocument/2006/relationships/slideLayout" Target="../slideLayouts/slideLayout11.xml"/><Relationship Id="rId16"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21" Type="http://schemas.openxmlformats.org/officeDocument/2006/relationships/slideLayout" Target="../slideLayouts/slideLayout45.xml"/><Relationship Id="rId34" Type="http://schemas.openxmlformats.org/officeDocument/2006/relationships/tags" Target="../tags/tag6.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theme" Target="../theme/theme3.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image" Target="../media/image27.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image" Target="../media/image1.emf"/><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oleObject" Target="../embeddings/oleObject1.bin"/><Relationship Id="rId8" Type="http://schemas.openxmlformats.org/officeDocument/2006/relationships/slideLayout" Target="../slideLayouts/slideLayout32.xml"/><Relationship Id="rId3"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image" Target="../media/image22.png"/><Relationship Id="rId2" Type="http://schemas.openxmlformats.org/officeDocument/2006/relationships/slideLayout" Target="../slideLayouts/slideLayout58.xml"/><Relationship Id="rId16" Type="http://schemas.openxmlformats.org/officeDocument/2006/relationships/image" Target="../media/image21.jpe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heme" Target="../theme/theme4.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2" imgW="421" imgH="420" progId="TCLayout.ActiveDocument.1">
                  <p:embed/>
                </p:oleObj>
              </mc:Choice>
              <mc:Fallback>
                <p:oleObj name="think-cell Slide" r:id="rId12" imgW="421" imgH="420" progId="TCLayout.ActiveDocument.1">
                  <p:embed/>
                  <p:pic>
                    <p:nvPicPr>
                      <p:cNvPr id="4" name="Object 3" hidden="1"/>
                      <p:cNvPicPr/>
                      <p:nvPr/>
                    </p:nvPicPr>
                    <p:blipFill>
                      <a:blip r:embed="rId1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18755" y="276058"/>
            <a:ext cx="10457775" cy="720105"/>
          </a:xfrm>
          <a:prstGeom prst="rect">
            <a:avLst/>
          </a:prstGeom>
        </p:spPr>
        <p:txBody>
          <a:bodyPr vert="horz" lIns="0" tIns="0" rIns="0" bIns="0" rtlCol="0" anchor="ctr">
            <a:noAutofit/>
          </a:bodyPr>
          <a:lstStyle/>
          <a:p>
            <a:r>
              <a:rPr lang="en-US" dirty="0"/>
              <a:t>CLICK TO EDIT MASTER SLIDE</a:t>
            </a:r>
            <a:endParaRPr lang="en-ZA" dirty="0"/>
          </a:p>
        </p:txBody>
      </p:sp>
      <p:sp>
        <p:nvSpPr>
          <p:cNvPr id="3" name="Text Placeholder 2"/>
          <p:cNvSpPr>
            <a:spLocks noGrp="1"/>
          </p:cNvSpPr>
          <p:nvPr>
            <p:ph type="body" idx="1"/>
          </p:nvPr>
        </p:nvSpPr>
        <p:spPr>
          <a:xfrm>
            <a:off x="568329" y="1200483"/>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443786" y="62927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tx1">
                    <a:lumMod val="50000"/>
                    <a:lumOff val="50000"/>
                  </a:schemeClr>
                </a:solidFill>
                <a:latin typeface="Tahoma"/>
              </a:rPr>
              <a:pPr algn="r" fontAlgn="auto">
                <a:spcBef>
                  <a:spcPts val="0"/>
                </a:spcBef>
                <a:spcAft>
                  <a:spcPts val="0"/>
                </a:spcAft>
              </a:pPr>
              <a:t>‹#›</a:t>
            </a:fld>
            <a:endParaRPr lang="en-ZA" sz="767" b="1" dirty="0">
              <a:solidFill>
                <a:schemeClr val="tx1">
                  <a:lumMod val="50000"/>
                  <a:lumOff val="50000"/>
                </a:schemeClr>
              </a:solidFill>
              <a:latin typeface="Tahoma"/>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568328" y="1121575"/>
            <a:ext cx="11055343" cy="45719"/>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dirty="0">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4"/>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2274125543"/>
      </p:ext>
    </p:extLst>
  </p:cSld>
  <p:clrMap bg1="lt1" tx1="dk1" bg2="lt2" tx2="dk2" accent1="accent1" accent2="accent2" accent3="accent3" accent4="accent4" accent5="accent5" accent6="accent6" hlink="hlink" folHlink="folHlink"/>
  <p:sldLayoutIdLst>
    <p:sldLayoutId id="2147483676" r:id="rId1"/>
    <p:sldLayoutId id="2147483702" r:id="rId2"/>
    <p:sldLayoutId id="2147483701" r:id="rId3"/>
    <p:sldLayoutId id="2147483673" r:id="rId4"/>
    <p:sldLayoutId id="2147483695" r:id="rId5"/>
    <p:sldLayoutId id="2147483705" r:id="rId6"/>
    <p:sldLayoutId id="2147483696" r:id="rId7"/>
    <p:sldLayoutId id="2147483715" r:id="rId8"/>
    <p:sldLayoutId id="2147483716" r:id="rId9"/>
  </p:sldLayoutIdLst>
  <p:hf hdr="0" ftr="0" dt="0"/>
  <p:txStyles>
    <p:title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7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13">
            <a:extLst>
              <a:ext uri="{FF2B5EF4-FFF2-40B4-BE49-F238E27FC236}">
                <a16:creationId xmlns:a16="http://schemas.microsoft.com/office/drawing/2014/main" id="{9E01AB31-7AF9-3AE8-8AF6-68D73E3AA72D}"/>
              </a:ext>
            </a:extLst>
          </p:cNvPr>
          <p:cNvGrpSpPr>
            <a:grpSpLocks/>
          </p:cNvGrpSpPr>
          <p:nvPr userDrawn="1"/>
        </p:nvGrpSpPr>
        <p:grpSpPr bwMode="auto">
          <a:xfrm>
            <a:off x="0" y="0"/>
            <a:ext cx="12192000" cy="6858000"/>
            <a:chOff x="0" y="0"/>
            <a:chExt cx="5760" cy="4320"/>
          </a:xfrm>
        </p:grpSpPr>
        <p:pic>
          <p:nvPicPr>
            <p:cNvPr id="1031" name="Picture 3" descr="TFR powerpoint templateinside.jpg">
              <a:extLst>
                <a:ext uri="{FF2B5EF4-FFF2-40B4-BE49-F238E27FC236}">
                  <a16:creationId xmlns:a16="http://schemas.microsoft.com/office/drawing/2014/main" id="{BEA0C36B-5067-8434-8BAA-4CC610561B8A}"/>
                </a:ext>
              </a:extLst>
            </p:cNvPr>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0"/>
              <a:ext cx="576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12">
              <a:extLst>
                <a:ext uri="{FF2B5EF4-FFF2-40B4-BE49-F238E27FC236}">
                  <a16:creationId xmlns:a16="http://schemas.microsoft.com/office/drawing/2014/main" id="{F10DA9D7-FFEE-806B-687C-F6B6C6ABAA92}"/>
                </a:ext>
              </a:extLst>
            </p:cNvPr>
            <p:cNvSpPr>
              <a:spLocks noChangeArrowheads="1"/>
            </p:cNvSpPr>
            <p:nvPr userDrawn="1"/>
          </p:nvSpPr>
          <p:spPr bwMode="auto">
            <a:xfrm>
              <a:off x="4520" y="215"/>
              <a:ext cx="1030" cy="977"/>
            </a:xfrm>
            <a:prstGeom prst="rect">
              <a:avLst/>
            </a:prstGeom>
            <a:solidFill>
              <a:schemeClr val="bg1"/>
            </a:solidFill>
            <a:ln>
              <a:noFill/>
            </a:ln>
            <a:effectLst/>
          </p:spPr>
          <p:txBody>
            <a:bodyPr wrap="none" anchor="ctr"/>
            <a:lstStyle>
              <a:lvl1pPr eaLnBrk="0" hangingPunct="0">
                <a:defRPr>
                  <a:solidFill>
                    <a:schemeClr val="tx1"/>
                  </a:solidFill>
                  <a:latin typeface="Tahoma" pitchFamily="34" charset="0"/>
                  <a:cs typeface="Arial" charset="0"/>
                </a:defRPr>
              </a:lvl1pPr>
              <a:lvl2pPr marL="742950" indent="-285750" eaLnBrk="0" hangingPunct="0">
                <a:defRPr>
                  <a:solidFill>
                    <a:schemeClr val="tx1"/>
                  </a:solidFill>
                  <a:latin typeface="Tahoma" pitchFamily="34" charset="0"/>
                  <a:cs typeface="Arial" charset="0"/>
                </a:defRPr>
              </a:lvl2pPr>
              <a:lvl3pPr marL="1143000" indent="-228600" eaLnBrk="0" hangingPunct="0">
                <a:defRPr>
                  <a:solidFill>
                    <a:schemeClr val="tx1"/>
                  </a:solidFill>
                  <a:latin typeface="Tahoma" pitchFamily="34" charset="0"/>
                  <a:cs typeface="Arial" charset="0"/>
                </a:defRPr>
              </a:lvl3pPr>
              <a:lvl4pPr marL="1600200" indent="-228600" eaLnBrk="0" hangingPunct="0">
                <a:defRPr>
                  <a:solidFill>
                    <a:schemeClr val="tx1"/>
                  </a:solidFill>
                  <a:latin typeface="Tahoma" pitchFamily="34" charset="0"/>
                  <a:cs typeface="Arial" charset="0"/>
                </a:defRPr>
              </a:lvl4pPr>
              <a:lvl5pPr marL="2057400" indent="-228600" eaLnBrk="0" hangingPunct="0">
                <a:defRPr>
                  <a:solidFill>
                    <a:schemeClr val="tx1"/>
                  </a:solidFill>
                  <a:latin typeface="Tahoma" pitchFamily="34" charset="0"/>
                  <a:cs typeface="Arial" charset="0"/>
                </a:defRPr>
              </a:lvl5pPr>
              <a:lvl6pPr marL="2514600" indent="-228600" defTabSz="457200" eaLnBrk="0" fontAlgn="base" hangingPunct="0">
                <a:spcBef>
                  <a:spcPct val="0"/>
                </a:spcBef>
                <a:spcAft>
                  <a:spcPct val="0"/>
                </a:spcAft>
                <a:defRPr>
                  <a:solidFill>
                    <a:schemeClr val="tx1"/>
                  </a:solidFill>
                  <a:latin typeface="Tahoma" pitchFamily="34" charset="0"/>
                  <a:cs typeface="Arial" charset="0"/>
                </a:defRPr>
              </a:lvl6pPr>
              <a:lvl7pPr marL="2971800" indent="-228600" defTabSz="457200" eaLnBrk="0" fontAlgn="base" hangingPunct="0">
                <a:spcBef>
                  <a:spcPct val="0"/>
                </a:spcBef>
                <a:spcAft>
                  <a:spcPct val="0"/>
                </a:spcAft>
                <a:defRPr>
                  <a:solidFill>
                    <a:schemeClr val="tx1"/>
                  </a:solidFill>
                  <a:latin typeface="Tahoma" pitchFamily="34" charset="0"/>
                  <a:cs typeface="Arial" charset="0"/>
                </a:defRPr>
              </a:lvl7pPr>
              <a:lvl8pPr marL="3429000" indent="-228600" defTabSz="457200" eaLnBrk="0" fontAlgn="base" hangingPunct="0">
                <a:spcBef>
                  <a:spcPct val="0"/>
                </a:spcBef>
                <a:spcAft>
                  <a:spcPct val="0"/>
                </a:spcAft>
                <a:defRPr>
                  <a:solidFill>
                    <a:schemeClr val="tx1"/>
                  </a:solidFill>
                  <a:latin typeface="Tahoma" pitchFamily="34" charset="0"/>
                  <a:cs typeface="Arial" charset="0"/>
                </a:defRPr>
              </a:lvl8pPr>
              <a:lvl9pPr marL="3886200" indent="-228600" defTabSz="457200" eaLnBrk="0" fontAlgn="base" hangingPunct="0">
                <a:spcBef>
                  <a:spcPct val="0"/>
                </a:spcBef>
                <a:spcAft>
                  <a:spcPct val="0"/>
                </a:spcAft>
                <a:defRPr>
                  <a:solidFill>
                    <a:schemeClr val="tx1"/>
                  </a:solidFill>
                  <a:latin typeface="Tahoma" pitchFamily="34" charset="0"/>
                  <a:cs typeface="Arial" charset="0"/>
                </a:defRPr>
              </a:lvl9pPr>
            </a:lstStyle>
            <a:p>
              <a:pPr eaLnBrk="1" hangingPunct="1">
                <a:defRPr/>
              </a:pPr>
              <a:endParaRPr lang="en-ZA" altLang="en-US" sz="1800"/>
            </a:p>
          </p:txBody>
        </p:sp>
        <p:pic>
          <p:nvPicPr>
            <p:cNvPr id="1033" name="Picture 11" descr="TFR-Stacked-Logo">
              <a:extLst>
                <a:ext uri="{FF2B5EF4-FFF2-40B4-BE49-F238E27FC236}">
                  <a16:creationId xmlns:a16="http://schemas.microsoft.com/office/drawing/2014/main" id="{2CD5069B-B9A4-E72F-3F0E-C44A69EDA01B}"/>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4857" y="215"/>
              <a:ext cx="693" cy="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27" name="Title Placeholder 1">
            <a:extLst>
              <a:ext uri="{FF2B5EF4-FFF2-40B4-BE49-F238E27FC236}">
                <a16:creationId xmlns:a16="http://schemas.microsoft.com/office/drawing/2014/main" id="{84228AE6-1B34-EA9E-8A55-32DAC35778C5}"/>
              </a:ext>
            </a:extLst>
          </p:cNvPr>
          <p:cNvSpPr>
            <a:spLocks noGrp="1"/>
          </p:cNvSpPr>
          <p:nvPr>
            <p:ph type="title"/>
          </p:nvPr>
        </p:nvSpPr>
        <p:spPr bwMode="auto">
          <a:xfrm>
            <a:off x="609600" y="439738"/>
            <a:ext cx="9160933"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Text Placeholder 2">
            <a:extLst>
              <a:ext uri="{FF2B5EF4-FFF2-40B4-BE49-F238E27FC236}">
                <a16:creationId xmlns:a16="http://schemas.microsoft.com/office/drawing/2014/main" id="{B2F7B984-8DE8-D7AD-DBE4-3B9DCBD88DA3}"/>
              </a:ext>
            </a:extLst>
          </p:cNvPr>
          <p:cNvSpPr>
            <a:spLocks noGrp="1"/>
          </p:cNvSpPr>
          <p:nvPr>
            <p:ph type="body" idx="1"/>
          </p:nvPr>
        </p:nvSpPr>
        <p:spPr bwMode="auto">
          <a:xfrm>
            <a:off x="609600" y="1600201"/>
            <a:ext cx="10972800" cy="474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C425D800-4E69-486C-FE9F-5F376415B7AE}"/>
              </a:ext>
            </a:extLst>
          </p:cNvPr>
          <p:cNvSpPr>
            <a:spLocks noGrp="1"/>
          </p:cNvSpPr>
          <p:nvPr>
            <p:ph type="sldNum" sz="quarter" idx="4"/>
          </p:nvPr>
        </p:nvSpPr>
        <p:spPr>
          <a:xfrm>
            <a:off x="10280651" y="6359525"/>
            <a:ext cx="1454149" cy="41275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chemeClr val="bg1"/>
                </a:solidFill>
              </a:defRPr>
            </a:lvl1pPr>
          </a:lstStyle>
          <a:p>
            <a:pPr>
              <a:defRPr/>
            </a:pPr>
            <a:fld id="{C3012E2E-EF10-4C32-A2C3-958A2EE736E1}" type="slidenum">
              <a:rPr lang="en-US" altLang="en-US"/>
              <a:pPr>
                <a:defRPr/>
              </a:pPr>
              <a:t>‹#›</a:t>
            </a:fld>
            <a:endParaRPr lang="en-US" altLang="en-US"/>
          </a:p>
        </p:txBody>
      </p:sp>
      <p:sp>
        <p:nvSpPr>
          <p:cNvPr id="5" name="Footer Placeholder 4">
            <a:extLst>
              <a:ext uri="{FF2B5EF4-FFF2-40B4-BE49-F238E27FC236}">
                <a16:creationId xmlns:a16="http://schemas.microsoft.com/office/drawing/2014/main" id="{E0516084-522C-276F-5AEE-810E1BE23893}"/>
              </a:ext>
            </a:extLst>
          </p:cNvPr>
          <p:cNvSpPr>
            <a:spLocks noGrp="1"/>
          </p:cNvSpPr>
          <p:nvPr>
            <p:ph type="ftr" sz="quarter" idx="3"/>
          </p:nvPr>
        </p:nvSpPr>
        <p:spPr>
          <a:xfrm>
            <a:off x="440267" y="6346826"/>
            <a:ext cx="5994400" cy="479425"/>
          </a:xfrm>
          <a:prstGeom prst="rect">
            <a:avLst/>
          </a:prstGeom>
        </p:spPr>
        <p:txBody>
          <a:bodyPr vert="horz" wrap="square" lIns="91440" tIns="45720" rIns="91440" bIns="45720" numCol="1" anchor="ctr" anchorCtr="0" compatLnSpc="1">
            <a:prstTxWarp prst="textNoShape">
              <a:avLst/>
            </a:prstTxWarp>
          </a:bodyPr>
          <a:lstStyle>
            <a:lvl1pPr eaLnBrk="1" hangingPunct="1">
              <a:lnSpc>
                <a:spcPct val="120000"/>
              </a:lnSpc>
              <a:defRPr sz="900">
                <a:solidFill>
                  <a:srgbClr val="4D4D4D"/>
                </a:solidFill>
                <a:cs typeface="Arial" charset="0"/>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245199470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Lst>
  <p:hf hdr="0" dt="0"/>
  <p:txStyles>
    <p:titleStyle>
      <a:lvl1pPr algn="l" defTabSz="457200" rtl="0" eaLnBrk="0" fontAlgn="base" hangingPunct="0">
        <a:spcBef>
          <a:spcPct val="0"/>
        </a:spcBef>
        <a:spcAft>
          <a:spcPct val="0"/>
        </a:spcAft>
        <a:defRPr sz="2200" b="1" kern="1200">
          <a:solidFill>
            <a:srgbClr val="808000"/>
          </a:solidFill>
          <a:latin typeface="Tahoma" pitchFamily="34" charset="0"/>
          <a:ea typeface="+mj-ea"/>
          <a:cs typeface="+mj-cs"/>
        </a:defRPr>
      </a:lvl1pPr>
      <a:lvl2pPr algn="l" defTabSz="457200" rtl="0" eaLnBrk="0" fontAlgn="base" hangingPunct="0">
        <a:spcBef>
          <a:spcPct val="0"/>
        </a:spcBef>
        <a:spcAft>
          <a:spcPct val="0"/>
        </a:spcAft>
        <a:defRPr sz="2200" b="1">
          <a:solidFill>
            <a:srgbClr val="808000"/>
          </a:solidFill>
          <a:latin typeface="Tahoma" pitchFamily="34" charset="0"/>
        </a:defRPr>
      </a:lvl2pPr>
      <a:lvl3pPr algn="l" defTabSz="457200" rtl="0" eaLnBrk="0" fontAlgn="base" hangingPunct="0">
        <a:spcBef>
          <a:spcPct val="0"/>
        </a:spcBef>
        <a:spcAft>
          <a:spcPct val="0"/>
        </a:spcAft>
        <a:defRPr sz="2200" b="1">
          <a:solidFill>
            <a:srgbClr val="808000"/>
          </a:solidFill>
          <a:latin typeface="Tahoma" pitchFamily="34" charset="0"/>
        </a:defRPr>
      </a:lvl3pPr>
      <a:lvl4pPr algn="l" defTabSz="457200" rtl="0" eaLnBrk="0" fontAlgn="base" hangingPunct="0">
        <a:spcBef>
          <a:spcPct val="0"/>
        </a:spcBef>
        <a:spcAft>
          <a:spcPct val="0"/>
        </a:spcAft>
        <a:defRPr sz="2200" b="1">
          <a:solidFill>
            <a:srgbClr val="808000"/>
          </a:solidFill>
          <a:latin typeface="Tahoma" pitchFamily="34" charset="0"/>
        </a:defRPr>
      </a:lvl4pPr>
      <a:lvl5pPr algn="l" defTabSz="457200" rtl="0" eaLnBrk="0" fontAlgn="base" hangingPunct="0">
        <a:spcBef>
          <a:spcPct val="0"/>
        </a:spcBef>
        <a:spcAft>
          <a:spcPct val="0"/>
        </a:spcAft>
        <a:defRPr sz="2200" b="1">
          <a:solidFill>
            <a:srgbClr val="808000"/>
          </a:solidFill>
          <a:latin typeface="Tahoma"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177800" indent="-177800" algn="l" defTabSz="457200" rtl="0" eaLnBrk="0" fontAlgn="base" hangingPunct="0">
        <a:spcBef>
          <a:spcPct val="20000"/>
        </a:spcBef>
        <a:spcAft>
          <a:spcPct val="0"/>
        </a:spcAft>
        <a:buClr>
          <a:srgbClr val="CC0000"/>
        </a:buClr>
        <a:buFont typeface="Wingdings" panose="05000000000000000000" pitchFamily="2" charset="2"/>
        <a:buChar char="§"/>
        <a:defRPr sz="2000" kern="1200">
          <a:solidFill>
            <a:schemeClr val="tx1"/>
          </a:solidFill>
          <a:latin typeface="Tahoma" pitchFamily="34" charset="0"/>
          <a:ea typeface="+mn-ea"/>
          <a:cs typeface="+mn-cs"/>
        </a:defRPr>
      </a:lvl1pPr>
      <a:lvl2pPr marL="533400" indent="-176213" algn="l" defTabSz="457200" rtl="0" eaLnBrk="0" fontAlgn="base" hangingPunct="0">
        <a:spcBef>
          <a:spcPct val="20000"/>
        </a:spcBef>
        <a:spcAft>
          <a:spcPct val="0"/>
        </a:spcAft>
        <a:buClr>
          <a:srgbClr val="CC0000"/>
        </a:buClr>
        <a:buFont typeface="Wingdings" panose="05000000000000000000" pitchFamily="2" charset="2"/>
        <a:buChar char="§"/>
        <a:defRPr kern="1200">
          <a:solidFill>
            <a:srgbClr val="4D4D4D"/>
          </a:solidFill>
          <a:latin typeface="Tahoma" pitchFamily="34" charset="0"/>
          <a:ea typeface="+mn-ea"/>
          <a:cs typeface="+mn-cs"/>
        </a:defRPr>
      </a:lvl2pPr>
      <a:lvl3pPr marL="898525" indent="-177800" algn="l" defTabSz="457200" rtl="0" eaLnBrk="0" fontAlgn="base" hangingPunct="0">
        <a:spcBef>
          <a:spcPct val="20000"/>
        </a:spcBef>
        <a:spcAft>
          <a:spcPct val="0"/>
        </a:spcAft>
        <a:buClr>
          <a:srgbClr val="CC0000"/>
        </a:buClr>
        <a:buFont typeface="Wingdings" panose="05000000000000000000" pitchFamily="2" charset="2"/>
        <a:buChar char="§"/>
        <a:defRPr kern="1200">
          <a:solidFill>
            <a:srgbClr val="4D4D4D"/>
          </a:solidFill>
          <a:latin typeface="Tahoma" pitchFamily="34" charset="0"/>
          <a:ea typeface="+mn-ea"/>
          <a:cs typeface="+mn-cs"/>
        </a:defRPr>
      </a:lvl3pPr>
      <a:lvl4pPr marL="1255713" indent="-177800" algn="l" defTabSz="457200" rtl="0" eaLnBrk="0" fontAlgn="base" hangingPunct="0">
        <a:spcBef>
          <a:spcPct val="20000"/>
        </a:spcBef>
        <a:spcAft>
          <a:spcPct val="0"/>
        </a:spcAft>
        <a:buClr>
          <a:srgbClr val="CC0000"/>
        </a:buClr>
        <a:buFont typeface="Wingdings" panose="05000000000000000000" pitchFamily="2" charset="2"/>
        <a:buChar char="§"/>
        <a:defRPr kern="1200">
          <a:solidFill>
            <a:srgbClr val="4D4D4D"/>
          </a:solidFill>
          <a:latin typeface="Tahoma" pitchFamily="34" charset="0"/>
          <a:ea typeface="+mn-ea"/>
          <a:cs typeface="+mn-cs"/>
        </a:defRPr>
      </a:lvl4pPr>
      <a:lvl5pPr marL="1612900" indent="-177800" algn="l" defTabSz="457200" rtl="0" eaLnBrk="0" fontAlgn="base" hangingPunct="0">
        <a:spcBef>
          <a:spcPct val="20000"/>
        </a:spcBef>
        <a:spcAft>
          <a:spcPct val="0"/>
        </a:spcAft>
        <a:buClr>
          <a:srgbClr val="CC0000"/>
        </a:buClr>
        <a:buFont typeface="Wingdings" panose="05000000000000000000" pitchFamily="2" charset="2"/>
        <a:buChar char="§"/>
        <a:defRPr kern="1200">
          <a:solidFill>
            <a:srgbClr val="4D4D4D"/>
          </a:solidFill>
          <a:latin typeface="Tahoma"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4"/>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5" imgW="421" imgH="420" progId="TCLayout.ActiveDocument.1">
                  <p:embed/>
                </p:oleObj>
              </mc:Choice>
              <mc:Fallback>
                <p:oleObj name="think-cell Slide" r:id="rId35" imgW="421" imgH="420" progId="TCLayout.ActiveDocument.1">
                  <p:embed/>
                  <p:pic>
                    <p:nvPicPr>
                      <p:cNvPr id="4" name="Object 3" hidden="1"/>
                      <p:cNvPicPr/>
                      <p:nvPr/>
                    </p:nvPicPr>
                    <p:blipFill>
                      <a:blip r:embed="rId36"/>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7"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2985699492"/>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5" r:id="rId31"/>
    <p:sldLayoutId id="2147483766" r:id="rId32"/>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p15:clr>
            <a:srgbClr val="F26B43"/>
          </p15:clr>
        </p15:guide>
        <p15:guide id="4" orient="horz" pos="4156">
          <p15:clr>
            <a:srgbClr val="F26B43"/>
          </p15:clr>
        </p15:guide>
        <p15:guide id="5" orient="horz" pos="2432">
          <p15:clr>
            <a:srgbClr val="F26B43"/>
          </p15:clr>
        </p15:guide>
        <p15:guide id="7" orient="horz" pos="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13">
            <a:extLst>
              <a:ext uri="{FF2B5EF4-FFF2-40B4-BE49-F238E27FC236}">
                <a16:creationId xmlns:a16="http://schemas.microsoft.com/office/drawing/2014/main" id="{AA3AF823-81CD-909A-4D64-13CC3A831E56}"/>
              </a:ext>
            </a:extLst>
          </p:cNvPr>
          <p:cNvGrpSpPr>
            <a:grpSpLocks/>
          </p:cNvGrpSpPr>
          <p:nvPr userDrawn="1"/>
        </p:nvGrpSpPr>
        <p:grpSpPr bwMode="auto">
          <a:xfrm>
            <a:off x="0" y="0"/>
            <a:ext cx="12192000" cy="6858000"/>
            <a:chOff x="0" y="0"/>
            <a:chExt cx="5760" cy="4320"/>
          </a:xfrm>
        </p:grpSpPr>
        <p:pic>
          <p:nvPicPr>
            <p:cNvPr id="1031" name="Picture 3" descr="TFR powerpoint templateinside.jpg">
              <a:extLst>
                <a:ext uri="{FF2B5EF4-FFF2-40B4-BE49-F238E27FC236}">
                  <a16:creationId xmlns:a16="http://schemas.microsoft.com/office/drawing/2014/main" id="{E2B41CB5-0E4F-995A-BDA9-1E08236D87FA}"/>
                </a:ext>
              </a:extLst>
            </p:cNvPr>
            <p:cNvPicPr>
              <a:picLocks noChangeAspect="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576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12">
              <a:extLst>
                <a:ext uri="{FF2B5EF4-FFF2-40B4-BE49-F238E27FC236}">
                  <a16:creationId xmlns:a16="http://schemas.microsoft.com/office/drawing/2014/main" id="{4B3FB035-BF1C-FDC1-A6B1-3A7AE5F31AAD}"/>
                </a:ext>
              </a:extLst>
            </p:cNvPr>
            <p:cNvSpPr>
              <a:spLocks noChangeArrowheads="1"/>
            </p:cNvSpPr>
            <p:nvPr userDrawn="1"/>
          </p:nvSpPr>
          <p:spPr bwMode="auto">
            <a:xfrm>
              <a:off x="4520" y="215"/>
              <a:ext cx="1030" cy="977"/>
            </a:xfrm>
            <a:prstGeom prst="rect">
              <a:avLst/>
            </a:prstGeom>
            <a:solidFill>
              <a:schemeClr val="bg1"/>
            </a:solidFill>
            <a:ln>
              <a:noFill/>
            </a:ln>
            <a:effectLst/>
          </p:spPr>
          <p:txBody>
            <a:bodyPr wrap="none" anchor="ctr"/>
            <a:lstStyle>
              <a:lvl1pPr eaLnBrk="0" hangingPunct="0">
                <a:defRPr>
                  <a:solidFill>
                    <a:schemeClr val="tx1"/>
                  </a:solidFill>
                  <a:latin typeface="Tahoma" pitchFamily="34" charset="0"/>
                  <a:cs typeface="Arial" charset="0"/>
                </a:defRPr>
              </a:lvl1pPr>
              <a:lvl2pPr marL="742950" indent="-285750" eaLnBrk="0" hangingPunct="0">
                <a:defRPr>
                  <a:solidFill>
                    <a:schemeClr val="tx1"/>
                  </a:solidFill>
                  <a:latin typeface="Tahoma" pitchFamily="34" charset="0"/>
                  <a:cs typeface="Arial" charset="0"/>
                </a:defRPr>
              </a:lvl2pPr>
              <a:lvl3pPr marL="1143000" indent="-228600" eaLnBrk="0" hangingPunct="0">
                <a:defRPr>
                  <a:solidFill>
                    <a:schemeClr val="tx1"/>
                  </a:solidFill>
                  <a:latin typeface="Tahoma" pitchFamily="34" charset="0"/>
                  <a:cs typeface="Arial" charset="0"/>
                </a:defRPr>
              </a:lvl3pPr>
              <a:lvl4pPr marL="1600200" indent="-228600" eaLnBrk="0" hangingPunct="0">
                <a:defRPr>
                  <a:solidFill>
                    <a:schemeClr val="tx1"/>
                  </a:solidFill>
                  <a:latin typeface="Tahoma" pitchFamily="34" charset="0"/>
                  <a:cs typeface="Arial" charset="0"/>
                </a:defRPr>
              </a:lvl4pPr>
              <a:lvl5pPr marL="2057400" indent="-228600" eaLnBrk="0" hangingPunct="0">
                <a:defRPr>
                  <a:solidFill>
                    <a:schemeClr val="tx1"/>
                  </a:solidFill>
                  <a:latin typeface="Tahoma" pitchFamily="34" charset="0"/>
                  <a:cs typeface="Arial" charset="0"/>
                </a:defRPr>
              </a:lvl5pPr>
              <a:lvl6pPr marL="2514600" indent="-228600" defTabSz="457200" eaLnBrk="0" fontAlgn="base" hangingPunct="0">
                <a:spcBef>
                  <a:spcPct val="0"/>
                </a:spcBef>
                <a:spcAft>
                  <a:spcPct val="0"/>
                </a:spcAft>
                <a:defRPr>
                  <a:solidFill>
                    <a:schemeClr val="tx1"/>
                  </a:solidFill>
                  <a:latin typeface="Tahoma" pitchFamily="34" charset="0"/>
                  <a:cs typeface="Arial" charset="0"/>
                </a:defRPr>
              </a:lvl6pPr>
              <a:lvl7pPr marL="2971800" indent="-228600" defTabSz="457200" eaLnBrk="0" fontAlgn="base" hangingPunct="0">
                <a:spcBef>
                  <a:spcPct val="0"/>
                </a:spcBef>
                <a:spcAft>
                  <a:spcPct val="0"/>
                </a:spcAft>
                <a:defRPr>
                  <a:solidFill>
                    <a:schemeClr val="tx1"/>
                  </a:solidFill>
                  <a:latin typeface="Tahoma" pitchFamily="34" charset="0"/>
                  <a:cs typeface="Arial" charset="0"/>
                </a:defRPr>
              </a:lvl7pPr>
              <a:lvl8pPr marL="3429000" indent="-228600" defTabSz="457200" eaLnBrk="0" fontAlgn="base" hangingPunct="0">
                <a:spcBef>
                  <a:spcPct val="0"/>
                </a:spcBef>
                <a:spcAft>
                  <a:spcPct val="0"/>
                </a:spcAft>
                <a:defRPr>
                  <a:solidFill>
                    <a:schemeClr val="tx1"/>
                  </a:solidFill>
                  <a:latin typeface="Tahoma" pitchFamily="34" charset="0"/>
                  <a:cs typeface="Arial" charset="0"/>
                </a:defRPr>
              </a:lvl8pPr>
              <a:lvl9pPr marL="3886200" indent="-228600" defTabSz="457200" eaLnBrk="0" fontAlgn="base" hangingPunct="0">
                <a:spcBef>
                  <a:spcPct val="0"/>
                </a:spcBef>
                <a:spcAft>
                  <a:spcPct val="0"/>
                </a:spcAft>
                <a:defRPr>
                  <a:solidFill>
                    <a:schemeClr val="tx1"/>
                  </a:solidFill>
                  <a:latin typeface="Tahoma" pitchFamily="34" charset="0"/>
                  <a:cs typeface="Arial" charset="0"/>
                </a:defRPr>
              </a:lvl9pPr>
            </a:lstStyle>
            <a:p>
              <a:pPr eaLnBrk="1" hangingPunct="1">
                <a:defRPr/>
              </a:pPr>
              <a:endParaRPr lang="en-ZA" altLang="en-US" sz="1800" dirty="0"/>
            </a:p>
          </p:txBody>
        </p:sp>
        <p:pic>
          <p:nvPicPr>
            <p:cNvPr id="1033" name="Picture 11" descr="TFR-Stacked-Logo">
              <a:extLst>
                <a:ext uri="{FF2B5EF4-FFF2-40B4-BE49-F238E27FC236}">
                  <a16:creationId xmlns:a16="http://schemas.microsoft.com/office/drawing/2014/main" id="{9F161C51-A9A0-D515-A17B-4D63C45B93E9}"/>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4857" y="215"/>
              <a:ext cx="693" cy="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27" name="Title Placeholder 1">
            <a:extLst>
              <a:ext uri="{FF2B5EF4-FFF2-40B4-BE49-F238E27FC236}">
                <a16:creationId xmlns:a16="http://schemas.microsoft.com/office/drawing/2014/main" id="{C22F64F0-333D-4816-7253-C9585C3B6ECA}"/>
              </a:ext>
            </a:extLst>
          </p:cNvPr>
          <p:cNvSpPr>
            <a:spLocks noGrp="1"/>
          </p:cNvSpPr>
          <p:nvPr>
            <p:ph type="title"/>
          </p:nvPr>
        </p:nvSpPr>
        <p:spPr bwMode="auto">
          <a:xfrm>
            <a:off x="609600" y="439738"/>
            <a:ext cx="9160933"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Text Placeholder 2">
            <a:extLst>
              <a:ext uri="{FF2B5EF4-FFF2-40B4-BE49-F238E27FC236}">
                <a16:creationId xmlns:a16="http://schemas.microsoft.com/office/drawing/2014/main" id="{1599999C-9B56-C9CC-1346-73A8AB85C7FA}"/>
              </a:ext>
            </a:extLst>
          </p:cNvPr>
          <p:cNvSpPr>
            <a:spLocks noGrp="1"/>
          </p:cNvSpPr>
          <p:nvPr>
            <p:ph type="body" idx="1"/>
          </p:nvPr>
        </p:nvSpPr>
        <p:spPr bwMode="auto">
          <a:xfrm>
            <a:off x="609600" y="1600201"/>
            <a:ext cx="10972800" cy="474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20A736B4-2C52-1EF5-C220-F4F337120FEF}"/>
              </a:ext>
            </a:extLst>
          </p:cNvPr>
          <p:cNvSpPr>
            <a:spLocks noGrp="1"/>
          </p:cNvSpPr>
          <p:nvPr>
            <p:ph type="sldNum" sz="quarter" idx="4"/>
          </p:nvPr>
        </p:nvSpPr>
        <p:spPr>
          <a:xfrm>
            <a:off x="10280651" y="6359525"/>
            <a:ext cx="1454149" cy="41275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chemeClr val="bg1"/>
                </a:solidFill>
              </a:defRPr>
            </a:lvl1pPr>
          </a:lstStyle>
          <a:p>
            <a:pPr>
              <a:defRPr/>
            </a:pPr>
            <a:fld id="{B1BB3C06-7600-4C13-A8B6-550127E13230}" type="slidenum">
              <a:rPr lang="en-US" altLang="en-US"/>
              <a:pPr>
                <a:defRPr/>
              </a:pPr>
              <a:t>‹#›</a:t>
            </a:fld>
            <a:endParaRPr lang="en-US" altLang="en-US" dirty="0"/>
          </a:p>
        </p:txBody>
      </p:sp>
      <p:sp>
        <p:nvSpPr>
          <p:cNvPr id="5" name="Footer Placeholder 4">
            <a:extLst>
              <a:ext uri="{FF2B5EF4-FFF2-40B4-BE49-F238E27FC236}">
                <a16:creationId xmlns:a16="http://schemas.microsoft.com/office/drawing/2014/main" id="{1E696E96-998F-0A8C-5FD4-90AB923A95F4}"/>
              </a:ext>
            </a:extLst>
          </p:cNvPr>
          <p:cNvSpPr>
            <a:spLocks noGrp="1"/>
          </p:cNvSpPr>
          <p:nvPr>
            <p:ph type="ftr" sz="quarter" idx="3"/>
          </p:nvPr>
        </p:nvSpPr>
        <p:spPr>
          <a:xfrm>
            <a:off x="440267" y="6346826"/>
            <a:ext cx="5994400" cy="479425"/>
          </a:xfrm>
          <a:prstGeom prst="rect">
            <a:avLst/>
          </a:prstGeom>
        </p:spPr>
        <p:txBody>
          <a:bodyPr vert="horz" wrap="square" lIns="91440" tIns="45720" rIns="91440" bIns="45720" numCol="1" anchor="ctr" anchorCtr="0" compatLnSpc="1">
            <a:prstTxWarp prst="textNoShape">
              <a:avLst/>
            </a:prstTxWarp>
          </a:bodyPr>
          <a:lstStyle>
            <a:lvl1pPr eaLnBrk="1" hangingPunct="1">
              <a:lnSpc>
                <a:spcPct val="120000"/>
              </a:lnSpc>
              <a:defRPr sz="900" dirty="0">
                <a:solidFill>
                  <a:srgbClr val="4D4D4D"/>
                </a:solidFill>
                <a:cs typeface="Arial" charset="0"/>
              </a:defRPr>
            </a:lvl1pPr>
          </a:lstStyle>
          <a:p>
            <a:pPr>
              <a:defRPr/>
            </a:pPr>
            <a:r>
              <a:rPr lang="en-ZA"/>
              <a:t>Transnet Freight Rail is a division of Transnet SOC Ltd Reg no.: 1990/000900/30    An Authorised Financial Services Provider – FSP 18828</a:t>
            </a:r>
          </a:p>
        </p:txBody>
      </p:sp>
    </p:spTree>
    <p:extLst>
      <p:ext uri="{BB962C8B-B14F-4D97-AF65-F5344CB8AC3E}">
        <p14:creationId xmlns:p14="http://schemas.microsoft.com/office/powerpoint/2010/main" val="351400540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Lst>
  <p:hf hdr="0" dt="0"/>
  <p:txStyles>
    <p:titleStyle>
      <a:lvl1pPr algn="l" defTabSz="457200" rtl="0" eaLnBrk="0" fontAlgn="base" hangingPunct="0">
        <a:spcBef>
          <a:spcPct val="0"/>
        </a:spcBef>
        <a:spcAft>
          <a:spcPct val="0"/>
        </a:spcAft>
        <a:defRPr sz="2200" b="1" kern="1200">
          <a:solidFill>
            <a:srgbClr val="808000"/>
          </a:solidFill>
          <a:latin typeface="Tahoma" pitchFamily="34" charset="0"/>
          <a:ea typeface="+mj-ea"/>
          <a:cs typeface="+mj-cs"/>
        </a:defRPr>
      </a:lvl1pPr>
      <a:lvl2pPr algn="l" defTabSz="457200" rtl="0" eaLnBrk="0" fontAlgn="base" hangingPunct="0">
        <a:spcBef>
          <a:spcPct val="0"/>
        </a:spcBef>
        <a:spcAft>
          <a:spcPct val="0"/>
        </a:spcAft>
        <a:defRPr sz="2200" b="1">
          <a:solidFill>
            <a:srgbClr val="808000"/>
          </a:solidFill>
          <a:latin typeface="Tahoma" pitchFamily="34" charset="0"/>
        </a:defRPr>
      </a:lvl2pPr>
      <a:lvl3pPr algn="l" defTabSz="457200" rtl="0" eaLnBrk="0" fontAlgn="base" hangingPunct="0">
        <a:spcBef>
          <a:spcPct val="0"/>
        </a:spcBef>
        <a:spcAft>
          <a:spcPct val="0"/>
        </a:spcAft>
        <a:defRPr sz="2200" b="1">
          <a:solidFill>
            <a:srgbClr val="808000"/>
          </a:solidFill>
          <a:latin typeface="Tahoma" pitchFamily="34" charset="0"/>
        </a:defRPr>
      </a:lvl3pPr>
      <a:lvl4pPr algn="l" defTabSz="457200" rtl="0" eaLnBrk="0" fontAlgn="base" hangingPunct="0">
        <a:spcBef>
          <a:spcPct val="0"/>
        </a:spcBef>
        <a:spcAft>
          <a:spcPct val="0"/>
        </a:spcAft>
        <a:defRPr sz="2200" b="1">
          <a:solidFill>
            <a:srgbClr val="808000"/>
          </a:solidFill>
          <a:latin typeface="Tahoma" pitchFamily="34" charset="0"/>
        </a:defRPr>
      </a:lvl4pPr>
      <a:lvl5pPr algn="l" defTabSz="457200" rtl="0" eaLnBrk="0" fontAlgn="base" hangingPunct="0">
        <a:spcBef>
          <a:spcPct val="0"/>
        </a:spcBef>
        <a:spcAft>
          <a:spcPct val="0"/>
        </a:spcAft>
        <a:defRPr sz="2200" b="1">
          <a:solidFill>
            <a:srgbClr val="808000"/>
          </a:solidFill>
          <a:latin typeface="Tahoma"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177800" indent="-177800" algn="l" defTabSz="457200" rtl="0" eaLnBrk="0" fontAlgn="base" hangingPunct="0">
        <a:spcBef>
          <a:spcPct val="20000"/>
        </a:spcBef>
        <a:spcAft>
          <a:spcPct val="0"/>
        </a:spcAft>
        <a:buClr>
          <a:srgbClr val="CC0000"/>
        </a:buClr>
        <a:buFont typeface="Wingdings" panose="05000000000000000000" pitchFamily="2" charset="2"/>
        <a:buChar char="§"/>
        <a:defRPr sz="2000" kern="1200">
          <a:solidFill>
            <a:schemeClr val="tx1"/>
          </a:solidFill>
          <a:latin typeface="Tahoma" pitchFamily="34" charset="0"/>
          <a:ea typeface="+mn-ea"/>
          <a:cs typeface="+mn-cs"/>
        </a:defRPr>
      </a:lvl1pPr>
      <a:lvl2pPr marL="533400" indent="-176213" algn="l" defTabSz="457200" rtl="0" eaLnBrk="0" fontAlgn="base" hangingPunct="0">
        <a:spcBef>
          <a:spcPct val="20000"/>
        </a:spcBef>
        <a:spcAft>
          <a:spcPct val="0"/>
        </a:spcAft>
        <a:buClr>
          <a:srgbClr val="CC0000"/>
        </a:buClr>
        <a:buFont typeface="Wingdings" panose="05000000000000000000" pitchFamily="2" charset="2"/>
        <a:buChar char="§"/>
        <a:defRPr kern="1200">
          <a:solidFill>
            <a:srgbClr val="4D4D4D"/>
          </a:solidFill>
          <a:latin typeface="Tahoma" pitchFamily="34" charset="0"/>
          <a:ea typeface="+mn-ea"/>
          <a:cs typeface="+mn-cs"/>
        </a:defRPr>
      </a:lvl2pPr>
      <a:lvl3pPr marL="898525" indent="-177800" algn="l" defTabSz="457200" rtl="0" eaLnBrk="0" fontAlgn="base" hangingPunct="0">
        <a:spcBef>
          <a:spcPct val="20000"/>
        </a:spcBef>
        <a:spcAft>
          <a:spcPct val="0"/>
        </a:spcAft>
        <a:buClr>
          <a:srgbClr val="CC0000"/>
        </a:buClr>
        <a:buFont typeface="Wingdings" panose="05000000000000000000" pitchFamily="2" charset="2"/>
        <a:buChar char="§"/>
        <a:defRPr kern="1200">
          <a:solidFill>
            <a:srgbClr val="4D4D4D"/>
          </a:solidFill>
          <a:latin typeface="Tahoma" pitchFamily="34" charset="0"/>
          <a:ea typeface="+mn-ea"/>
          <a:cs typeface="+mn-cs"/>
        </a:defRPr>
      </a:lvl3pPr>
      <a:lvl4pPr marL="1255713" indent="-177800" algn="l" defTabSz="457200" rtl="0" eaLnBrk="0" fontAlgn="base" hangingPunct="0">
        <a:spcBef>
          <a:spcPct val="20000"/>
        </a:spcBef>
        <a:spcAft>
          <a:spcPct val="0"/>
        </a:spcAft>
        <a:buClr>
          <a:srgbClr val="CC0000"/>
        </a:buClr>
        <a:buFont typeface="Wingdings" panose="05000000000000000000" pitchFamily="2" charset="2"/>
        <a:buChar char="§"/>
        <a:defRPr kern="1200">
          <a:solidFill>
            <a:srgbClr val="4D4D4D"/>
          </a:solidFill>
          <a:latin typeface="Tahoma" pitchFamily="34" charset="0"/>
          <a:ea typeface="+mn-ea"/>
          <a:cs typeface="+mn-cs"/>
        </a:defRPr>
      </a:lvl4pPr>
      <a:lvl5pPr marL="1612900" indent="-177800" algn="l" defTabSz="457200" rtl="0" eaLnBrk="0" fontAlgn="base" hangingPunct="0">
        <a:spcBef>
          <a:spcPct val="20000"/>
        </a:spcBef>
        <a:spcAft>
          <a:spcPct val="0"/>
        </a:spcAft>
        <a:buClr>
          <a:srgbClr val="CC0000"/>
        </a:buClr>
        <a:buFont typeface="Wingdings" panose="05000000000000000000" pitchFamily="2" charset="2"/>
        <a:buChar char="§"/>
        <a:defRPr kern="1200">
          <a:solidFill>
            <a:srgbClr val="4D4D4D"/>
          </a:solidFill>
          <a:latin typeface="Tahoma"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52.emf"/></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1.xml"/><Relationship Id="rId1" Type="http://schemas.openxmlformats.org/officeDocument/2006/relationships/slideLayout" Target="../slideLayouts/slideLayout55.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54.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9.xml"/></Relationships>
</file>

<file path=ppt/slides/_rels/slide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9.xml"/></Relationships>
</file>

<file path=ppt/slides/_rels/slide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9.xml"/><Relationship Id="rId1" Type="http://schemas.openxmlformats.org/officeDocument/2006/relationships/tags" Target="../tags/tag9.xml"/><Relationship Id="rId4" Type="http://schemas.openxmlformats.org/officeDocument/2006/relationships/image" Target="../media/image3.emf"/></Relationships>
</file>

<file path=ppt/slides/_rels/slide36.xml.rels><?xml version="1.0" encoding="UTF-8" standalone="yes"?>
<Relationships xmlns="http://schemas.openxmlformats.org/package/2006/relationships"><Relationship Id="rId2" Type="http://schemas.openxmlformats.org/officeDocument/2006/relationships/image" Target="../media/image59.gif"/><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hyperlink" Target="http://www.etenders.gov.za/" TargetMode="External"/><Relationship Id="rId2" Type="http://schemas.openxmlformats.org/officeDocument/2006/relationships/hyperlink" Target="mailto:Emmanuel.Moririi@transnet.net" TargetMode="Externa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hyperlink" Target="mailto:Emmanuel.Moriri@Transnet.net" TargetMode="External"/><Relationship Id="rId2" Type="http://schemas.openxmlformats.org/officeDocument/2006/relationships/hyperlink" Target="mailto:groupscmcomplaints@transnet.net" TargetMode="Externa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D48B49-B862-45C6-BFCD-064FEF9AC8BC}"/>
              </a:ext>
            </a:extLst>
          </p:cNvPr>
          <p:cNvSpPr>
            <a:spLocks noGrp="1"/>
          </p:cNvSpPr>
          <p:nvPr>
            <p:ph type="body" sz="quarter" idx="11"/>
          </p:nvPr>
        </p:nvSpPr>
        <p:spPr>
          <a:xfrm>
            <a:off x="1484371" y="2133600"/>
            <a:ext cx="9071570" cy="3204462"/>
          </a:xfrm>
        </p:spPr>
        <p:txBody>
          <a:bodyPr/>
          <a:lstStyle/>
          <a:p>
            <a:pPr algn="just">
              <a:lnSpc>
                <a:spcPct val="150000"/>
              </a:lnSpc>
              <a:spcAft>
                <a:spcPts val="0"/>
              </a:spcAft>
            </a:pPr>
            <a:r>
              <a:rPr lang="en-GB" sz="2000">
                <a:latin typeface="Tahoma" panose="020B0604030504040204" pitchFamily="34" charset="0"/>
                <a:ea typeface="Times New Roman" panose="02020603050405020304" pitchFamily="18" charset="0"/>
                <a:cs typeface="Tahoma" panose="020B0604030504040204" pitchFamily="34" charset="0"/>
              </a:rPr>
              <a:t>BRIEFING SESSION (</a:t>
            </a:r>
            <a:r>
              <a:rPr lang="en-GB" sz="2000" b="1">
                <a:effectLst/>
                <a:latin typeface="Tahoma" panose="020B0604030504040204" pitchFamily="34" charset="0"/>
                <a:ea typeface="Times New Roman" panose="02020603050405020304" pitchFamily="18" charset="0"/>
                <a:cs typeface="Times New Roman" panose="02020603050405020304" pitchFamily="18" charset="0"/>
              </a:rPr>
              <a:t>HOAC-HO-51865) </a:t>
            </a:r>
            <a:endParaRPr lang="en-GB" sz="2000" dirty="0">
              <a:latin typeface="Tahoma" panose="020B0604030504040204" pitchFamily="34" charset="0"/>
              <a:ea typeface="Times New Roman" panose="02020603050405020304" pitchFamily="18" charset="0"/>
              <a:cs typeface="Tahoma" panose="020B0604030504040204" pitchFamily="34" charset="0"/>
            </a:endParaRPr>
          </a:p>
          <a:p>
            <a:pPr>
              <a:lnSpc>
                <a:spcPct val="150000"/>
              </a:lnSpc>
              <a:spcAft>
                <a:spcPts val="0"/>
              </a:spcAft>
            </a:pPr>
            <a:r>
              <a:rPr lang="en-US" sz="2000" dirty="0">
                <a:latin typeface="Tahoma" panose="020B0604030504040204" pitchFamily="34" charset="0"/>
                <a:ea typeface="Times New Roman" panose="02020603050405020304" pitchFamily="18" charset="0"/>
                <a:cs typeface="Tahoma" panose="020B0604030504040204" pitchFamily="34" charset="0"/>
              </a:rPr>
              <a:t>SUPPLY AND DELIVERY OF RECOVERY (TRACK BULLDOZERS, EXCAVATORS AND LOW BED TRAILER) EQUIPMENT WITH A FULL MANAGED MAINTENANCE PLAN FOR A PERIOD OF 7 YEARS. </a:t>
            </a:r>
            <a:endParaRPr lang="en-ZA" sz="2000" dirty="0">
              <a:latin typeface="Tahoma" panose="020B0604030504040204" pitchFamily="34" charset="0"/>
              <a:ea typeface="Times New Roman" panose="02020603050405020304" pitchFamily="18" charset="0"/>
              <a:cs typeface="Times New Roman" panose="02020603050405020304" pitchFamily="18" charset="0"/>
            </a:endParaRPr>
          </a:p>
        </p:txBody>
      </p:sp>
      <p:sp>
        <p:nvSpPr>
          <p:cNvPr id="3" name="Text Placeholder 2">
            <a:extLst>
              <a:ext uri="{FF2B5EF4-FFF2-40B4-BE49-F238E27FC236}">
                <a16:creationId xmlns:a16="http://schemas.microsoft.com/office/drawing/2014/main" id="{CDD826CF-5ADC-4C79-A8A7-593A5964C3E5}"/>
              </a:ext>
            </a:extLst>
          </p:cNvPr>
          <p:cNvSpPr>
            <a:spLocks noGrp="1"/>
          </p:cNvSpPr>
          <p:nvPr>
            <p:ph type="body" sz="quarter" idx="12"/>
          </p:nvPr>
        </p:nvSpPr>
        <p:spPr>
          <a:xfrm>
            <a:off x="1484371" y="5891859"/>
            <a:ext cx="6248013" cy="726562"/>
          </a:xfrm>
        </p:spPr>
        <p:txBody>
          <a:bodyPr/>
          <a:lstStyle/>
          <a:p>
            <a:pPr marL="7521">
              <a:spcBef>
                <a:spcPts val="56"/>
              </a:spcBef>
            </a:pPr>
            <a:r>
              <a:rPr lang="en-GB" sz="2000" spc="-6" dirty="0">
                <a:latin typeface="Tahoma" panose="020B0604030504040204" pitchFamily="34" charset="0"/>
                <a:ea typeface="Tahoma" panose="020B0604030504040204" pitchFamily="34" charset="0"/>
                <a:cs typeface="Tahoma" panose="020B0604030504040204" pitchFamily="34" charset="0"/>
              </a:rPr>
              <a:t>18 November 2025</a:t>
            </a:r>
            <a:endParaRPr lang="en-GB" sz="2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996019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3771" y="276058"/>
            <a:ext cx="10292759" cy="720105"/>
          </a:xfrm>
        </p:spPr>
        <p:txBody>
          <a:bodyPr/>
          <a:lstStyle/>
          <a:p>
            <a:r>
              <a:rPr lang="en-ZA" altLang="en-US" dirty="0"/>
              <a:t>Evaluation process </a:t>
            </a:r>
            <a:endParaRPr lang="en-ZA" dirty="0"/>
          </a:p>
        </p:txBody>
      </p:sp>
      <p:cxnSp>
        <p:nvCxnSpPr>
          <p:cNvPr id="44" name="Straight Connector 43">
            <a:extLst>
              <a:ext uri="{FF2B5EF4-FFF2-40B4-BE49-F238E27FC236}">
                <a16:creationId xmlns:a16="http://schemas.microsoft.com/office/drawing/2014/main" id="{9D973274-30FF-A56E-029D-BFC5C8717E89}"/>
              </a:ext>
            </a:extLst>
          </p:cNvPr>
          <p:cNvCxnSpPr>
            <a:cxnSpLocks noChangeShapeType="1"/>
          </p:cNvCxnSpPr>
          <p:nvPr/>
        </p:nvCxnSpPr>
        <p:spPr bwMode="auto">
          <a:xfrm>
            <a:off x="766306" y="6608445"/>
            <a:ext cx="9049569" cy="0"/>
          </a:xfrm>
          <a:prstGeom prst="line">
            <a:avLst/>
          </a:prstGeom>
          <a:noFill/>
          <a:ln w="22225" algn="ctr">
            <a:solidFill>
              <a:schemeClr val="tx1"/>
            </a:solidFill>
            <a:round/>
            <a:headEnd/>
            <a:tailEnd/>
          </a:ln>
          <a:effectLst/>
        </p:spPr>
      </p:cxnSp>
      <p:sp>
        <p:nvSpPr>
          <p:cNvPr id="46" name="Rectangle 42">
            <a:extLst>
              <a:ext uri="{FF2B5EF4-FFF2-40B4-BE49-F238E27FC236}">
                <a16:creationId xmlns:a16="http://schemas.microsoft.com/office/drawing/2014/main" id="{BB4DC2BB-8196-049A-E67F-FB28128FAF72}"/>
              </a:ext>
            </a:extLst>
          </p:cNvPr>
          <p:cNvSpPr>
            <a:spLocks noChangeArrowheads="1"/>
          </p:cNvSpPr>
          <p:nvPr/>
        </p:nvSpPr>
        <p:spPr bwMode="auto">
          <a:xfrm>
            <a:off x="894081" y="1252082"/>
            <a:ext cx="139090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Transnet will utilize the following methodology and criteria in selecting a preferred Service provider, if so required: </a:t>
            </a:r>
            <a:endParaRPr kumimoji="0" lang="en-ZA" altLang="en-US" sz="1200" b="1" i="0" u="none" strike="noStrike" cap="none" normalizeH="0" baseline="0" dirty="0">
              <a:ln>
                <a:noFill/>
              </a:ln>
              <a:solidFill>
                <a:schemeClr val="tx1"/>
              </a:solidFill>
              <a:effectLst/>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ZA" altLang="en-US" sz="1800" b="0" i="0" u="none" strike="noStrike" cap="none" normalizeH="0" baseline="0" dirty="0">
              <a:ln>
                <a:noFill/>
              </a:ln>
              <a:solidFill>
                <a:schemeClr val="tx1"/>
              </a:solidFill>
              <a:effectLst/>
              <a:latin typeface="Arial" panose="020B0604020202020204" pitchFamily="34" charset="0"/>
            </a:endParaRPr>
          </a:p>
        </p:txBody>
      </p:sp>
      <p:sp>
        <p:nvSpPr>
          <p:cNvPr id="47" name="Rectangle 68">
            <a:extLst>
              <a:ext uri="{FF2B5EF4-FFF2-40B4-BE49-F238E27FC236}">
                <a16:creationId xmlns:a16="http://schemas.microsoft.com/office/drawing/2014/main" id="{FBBC6D8E-852B-3734-35C9-C752BEAFE6FC}"/>
              </a:ext>
            </a:extLst>
          </p:cNvPr>
          <p:cNvSpPr>
            <a:spLocks noChangeArrowheads="1"/>
          </p:cNvSpPr>
          <p:nvPr/>
        </p:nvSpPr>
        <p:spPr bwMode="auto">
          <a:xfrm>
            <a:off x="894081" y="1833880"/>
            <a:ext cx="1390904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pic>
        <p:nvPicPr>
          <p:cNvPr id="3" name="Picture 2">
            <a:extLst>
              <a:ext uri="{FF2B5EF4-FFF2-40B4-BE49-F238E27FC236}">
                <a16:creationId xmlns:a16="http://schemas.microsoft.com/office/drawing/2014/main" id="{DDDC2FBD-2B38-A957-C78F-7C37B53D6A97}"/>
              </a:ext>
            </a:extLst>
          </p:cNvPr>
          <p:cNvPicPr>
            <a:picLocks noChangeAspect="1"/>
          </p:cNvPicPr>
          <p:nvPr/>
        </p:nvPicPr>
        <p:blipFill>
          <a:blip r:embed="rId2"/>
          <a:stretch>
            <a:fillRect/>
          </a:stretch>
        </p:blipFill>
        <p:spPr>
          <a:xfrm>
            <a:off x="894081" y="1109217"/>
            <a:ext cx="9499599" cy="5250939"/>
          </a:xfrm>
          <a:prstGeom prst="rect">
            <a:avLst/>
          </a:prstGeom>
        </p:spPr>
      </p:pic>
    </p:spTree>
    <p:extLst>
      <p:ext uri="{BB962C8B-B14F-4D97-AF65-F5344CB8AC3E}">
        <p14:creationId xmlns:p14="http://schemas.microsoft.com/office/powerpoint/2010/main" val="3952637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ical Evaluation Methodology</a:t>
            </a:r>
            <a:endParaRPr lang="en-ZA" dirty="0"/>
          </a:p>
        </p:txBody>
      </p:sp>
      <p:sp>
        <p:nvSpPr>
          <p:cNvPr id="4" name="Slide Number Placeholder 3"/>
          <p:cNvSpPr>
            <a:spLocks noGrp="1"/>
          </p:cNvSpPr>
          <p:nvPr>
            <p:ph type="sldNum" sz="quarter" idx="10"/>
          </p:nvPr>
        </p:nvSpPr>
        <p:spPr/>
        <p:txBody>
          <a:bodyPr/>
          <a:lstStyle/>
          <a:p>
            <a:pPr>
              <a:defRPr/>
            </a:pPr>
            <a:fld id="{C540CCFC-6BA4-4ACE-929C-A4BCE2E55EAC}" type="slidenum">
              <a:rPr lang="en-US" altLang="en-US" smtClean="0"/>
              <a:pPr>
                <a:defRPr/>
              </a:pPr>
              <a:t>11</a:t>
            </a:fld>
            <a:endParaRPr lang="en-US" altLang="en-US"/>
          </a:p>
        </p:txBody>
      </p:sp>
      <p:sp>
        <p:nvSpPr>
          <p:cNvPr id="3" name="Rectangle 2"/>
          <p:cNvSpPr/>
          <p:nvPr/>
        </p:nvSpPr>
        <p:spPr>
          <a:xfrm>
            <a:off x="105103" y="6015276"/>
            <a:ext cx="10363200" cy="544123"/>
          </a:xfrm>
          <a:prstGeom prst="rect">
            <a:avLst/>
          </a:prstGeom>
        </p:spPr>
        <p:txBody>
          <a:bodyPr wrap="square">
            <a:spAutoFit/>
          </a:bodyPr>
          <a:lstStyle/>
          <a:p>
            <a:pPr marL="1004570" algn="just">
              <a:lnSpc>
                <a:spcPct val="150000"/>
              </a:lnSpc>
              <a:spcBef>
                <a:spcPts val="300"/>
              </a:spcBef>
              <a:spcAft>
                <a:spcPts val="0"/>
              </a:spcAft>
            </a:pPr>
            <a:r>
              <a:rPr lang="en-US" sz="1050" b="1" i="1" dirty="0">
                <a:latin typeface="Tahoma" panose="020B0604030504040204" pitchFamily="34" charset="0"/>
                <a:ea typeface="Times New Roman" panose="02020603050405020304" pitchFamily="18" charset="0"/>
                <a:cs typeface="Times New Roman" panose="02020603050405020304" pitchFamily="18" charset="0"/>
              </a:rPr>
              <a:t>Respondents are to note that Transnet will round off final technical scores to the nearest 2 (two) decimal places for the purposes of determining whether the technical threshold has been met.</a:t>
            </a:r>
            <a:endParaRPr lang="en-ZA" sz="1050" b="1" dirty="0">
              <a:effectLst/>
              <a:latin typeface="Tahoma" panose="020B0604030504040204" pitchFamily="34" charset="0"/>
              <a:ea typeface="Times New Roman" panose="02020603050405020304" pitchFamily="18" charset="0"/>
              <a:cs typeface="Times New Roman" panose="02020603050405020304" pitchFamily="18" charset="0"/>
            </a:endParaRPr>
          </a:p>
        </p:txBody>
      </p:sp>
      <p:sp>
        <p:nvSpPr>
          <p:cNvPr id="7" name="Rectangle 1">
            <a:extLst>
              <a:ext uri="{FF2B5EF4-FFF2-40B4-BE49-F238E27FC236}">
                <a16:creationId xmlns:a16="http://schemas.microsoft.com/office/drawing/2014/main" id="{5F2FFD3C-9F56-7485-43E7-D637816DAA98}"/>
              </a:ext>
            </a:extLst>
          </p:cNvPr>
          <p:cNvSpPr>
            <a:spLocks noChangeArrowheads="1"/>
          </p:cNvSpPr>
          <p:nvPr/>
        </p:nvSpPr>
        <p:spPr bwMode="auto">
          <a:xfrm rot="10800000" flipV="1">
            <a:off x="178676" y="995109"/>
            <a:ext cx="11556124" cy="1288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39580" tIns="152352" rIns="91440" bIns="0" numCol="1" anchor="ctr" anchorCtr="0" compatLnSpc="1">
            <a:prstTxWarp prst="textNoShape">
              <a:avLst/>
            </a:prstTxWarp>
            <a:spAutoFit/>
          </a:bodyPr>
          <a:lstStyle>
            <a:lvl1pPr eaLnBrk="0" fontAlgn="base" hangingPunct="0">
              <a:spcBef>
                <a:spcPct val="0"/>
              </a:spcBef>
              <a:spcAft>
                <a:spcPct val="0"/>
              </a:spcAft>
              <a:tabLst>
                <a:tab pos="292100" algn="l"/>
              </a:tabLst>
              <a:defRPr>
                <a:solidFill>
                  <a:schemeClr val="tx1"/>
                </a:solidFill>
                <a:latin typeface="Arial" panose="020B0604020202020204" pitchFamily="34" charset="0"/>
              </a:defRPr>
            </a:lvl1pPr>
            <a:lvl2pPr eaLnBrk="0" fontAlgn="base" hangingPunct="0">
              <a:spcBef>
                <a:spcPct val="0"/>
              </a:spcBef>
              <a:spcAft>
                <a:spcPct val="0"/>
              </a:spcAft>
              <a:tabLst>
                <a:tab pos="292100" algn="l"/>
              </a:tabLst>
              <a:defRPr>
                <a:solidFill>
                  <a:schemeClr val="tx1"/>
                </a:solidFill>
                <a:latin typeface="Arial" panose="020B0604020202020204" pitchFamily="34" charset="0"/>
              </a:defRPr>
            </a:lvl2pPr>
            <a:lvl3pPr eaLnBrk="0" fontAlgn="base" hangingPunct="0">
              <a:spcBef>
                <a:spcPct val="0"/>
              </a:spcBef>
              <a:spcAft>
                <a:spcPct val="0"/>
              </a:spcAft>
              <a:tabLst>
                <a:tab pos="292100" algn="l"/>
              </a:tabLst>
              <a:defRPr>
                <a:solidFill>
                  <a:schemeClr val="tx1"/>
                </a:solidFill>
                <a:latin typeface="Arial" panose="020B0604020202020204" pitchFamily="34" charset="0"/>
              </a:defRPr>
            </a:lvl3pPr>
            <a:lvl4pPr eaLnBrk="0" fontAlgn="base" hangingPunct="0">
              <a:spcBef>
                <a:spcPct val="0"/>
              </a:spcBef>
              <a:spcAft>
                <a:spcPct val="0"/>
              </a:spcAft>
              <a:tabLst>
                <a:tab pos="292100" algn="l"/>
              </a:tabLst>
              <a:defRPr>
                <a:solidFill>
                  <a:schemeClr val="tx1"/>
                </a:solidFill>
                <a:latin typeface="Arial" panose="020B0604020202020204" pitchFamily="34" charset="0"/>
              </a:defRPr>
            </a:lvl4pPr>
            <a:lvl5pPr eaLnBrk="0" fontAlgn="base" hangingPunct="0">
              <a:spcBef>
                <a:spcPct val="0"/>
              </a:spcBef>
              <a:spcAft>
                <a:spcPct val="0"/>
              </a:spcAft>
              <a:tabLst>
                <a:tab pos="292100" algn="l"/>
              </a:tabLst>
              <a:defRPr>
                <a:solidFill>
                  <a:schemeClr val="tx1"/>
                </a:solidFill>
                <a:latin typeface="Arial" panose="020B0604020202020204" pitchFamily="34" charset="0"/>
              </a:defRPr>
            </a:lvl5pPr>
            <a:lvl6pPr eaLnBrk="0" fontAlgn="base" hangingPunct="0">
              <a:spcBef>
                <a:spcPct val="0"/>
              </a:spcBef>
              <a:spcAft>
                <a:spcPct val="0"/>
              </a:spcAft>
              <a:tabLst>
                <a:tab pos="292100" algn="l"/>
              </a:tabLst>
              <a:defRPr>
                <a:solidFill>
                  <a:schemeClr val="tx1"/>
                </a:solidFill>
                <a:latin typeface="Arial" panose="020B0604020202020204" pitchFamily="34" charset="0"/>
              </a:defRPr>
            </a:lvl6pPr>
            <a:lvl7pPr eaLnBrk="0" fontAlgn="base" hangingPunct="0">
              <a:spcBef>
                <a:spcPct val="0"/>
              </a:spcBef>
              <a:spcAft>
                <a:spcPct val="0"/>
              </a:spcAft>
              <a:tabLst>
                <a:tab pos="292100" algn="l"/>
              </a:tabLst>
              <a:defRPr>
                <a:solidFill>
                  <a:schemeClr val="tx1"/>
                </a:solidFill>
                <a:latin typeface="Arial" panose="020B0604020202020204" pitchFamily="34" charset="0"/>
              </a:defRPr>
            </a:lvl7pPr>
            <a:lvl8pPr eaLnBrk="0" fontAlgn="base" hangingPunct="0">
              <a:spcBef>
                <a:spcPct val="0"/>
              </a:spcBef>
              <a:spcAft>
                <a:spcPct val="0"/>
              </a:spcAft>
              <a:tabLst>
                <a:tab pos="292100" algn="l"/>
              </a:tabLst>
              <a:defRPr>
                <a:solidFill>
                  <a:schemeClr val="tx1"/>
                </a:solidFill>
                <a:latin typeface="Arial" panose="020B0604020202020204" pitchFamily="34" charset="0"/>
              </a:defRPr>
            </a:lvl8pPr>
            <a:lvl9pPr eaLnBrk="0" fontAlgn="base" hangingPunct="0">
              <a:spcBef>
                <a:spcPct val="0"/>
              </a:spcBef>
              <a:spcAft>
                <a:spcPct val="0"/>
              </a:spcAft>
              <a:tabLst>
                <a:tab pos="292100" algn="l"/>
              </a:tabLst>
              <a:defRPr>
                <a:solidFill>
                  <a:schemeClr val="tx1"/>
                </a:solidFill>
                <a:latin typeface="Arial" panose="020B0604020202020204" pitchFamily="34" charset="0"/>
              </a:defRPr>
            </a:lvl9pPr>
          </a:lstStyle>
          <a:p>
            <a:pPr marL="457200" marR="0" lvl="1" indent="0" algn="just" defTabSz="914400" rtl="0" eaLnBrk="0" fontAlgn="base" latinLnBrk="0" hangingPunct="0">
              <a:lnSpc>
                <a:spcPct val="100000"/>
              </a:lnSpc>
              <a:spcBef>
                <a:spcPct val="0"/>
              </a:spcBef>
              <a:spcAft>
                <a:spcPct val="0"/>
              </a:spcAft>
              <a:buClrTx/>
              <a:buSzTx/>
              <a:tabLst>
                <a:tab pos="292100" algn="l"/>
              </a:tabLst>
            </a:pPr>
            <a:r>
              <a:rPr kumimoji="0" lang="en-GB" altLang="en-US" sz="1200" b="1" i="0" u="none" strike="noStrike" cap="none" normalizeH="0" baseline="0" dirty="0">
                <a:ln>
                  <a:noFill/>
                </a:ln>
                <a:solidFill>
                  <a:schemeClr val="tx1"/>
                </a:solidFill>
                <a:effectLst/>
                <a:latin typeface="Tahoma" panose="020B0604030504040204" pitchFamily="34" charset="0"/>
                <a:cs typeface="Times New Roman" panose="02020603050405020304" pitchFamily="18" charset="0"/>
              </a:rPr>
              <a:t>STEP TWO: </a:t>
            </a:r>
            <a:r>
              <a:rPr kumimoji="0" lang="en-US" altLang="en-US" sz="1200" b="1" i="0" u="none" strike="noStrike" cap="none" normalizeH="0" baseline="0" dirty="0">
                <a:ln>
                  <a:noFill/>
                </a:ln>
                <a:solidFill>
                  <a:schemeClr val="tx1"/>
                </a:solidFill>
                <a:effectLst/>
                <a:latin typeface="Tahoma" panose="020B0604030504040204" pitchFamily="34" charset="0"/>
                <a:cs typeface="Times New Roman" panose="02020603050405020304" pitchFamily="18" charset="0"/>
              </a:rPr>
              <a:t>Minimum Threshold 75% points for Technical Assessment Criteria and Minimum Threshold 60% points for technical expertise and previous experience assessment. </a:t>
            </a:r>
            <a:endParaRPr kumimoji="0" lang="en-GB" altLang="en-US" sz="1100" b="0" i="0" u="none" strike="noStrike" cap="none" normalizeH="0" baseline="0" dirty="0">
              <a:ln>
                <a:noFill/>
              </a:ln>
              <a:solidFill>
                <a:schemeClr val="tx1"/>
              </a:solidFill>
              <a:effectLst/>
              <a:latin typeface="Tahoma" panose="020B0604030504040204" pitchFamily="34" charset="0"/>
              <a:cs typeface="Times New Roman" panose="02020603050405020304" pitchFamily="18" charset="0"/>
            </a:endParaRPr>
          </a:p>
          <a:p>
            <a:pPr marL="450215" marR="111760" algn="just">
              <a:lnSpc>
                <a:spcPct val="150000"/>
              </a:lnSpc>
              <a:spcBef>
                <a:spcPts val="300"/>
              </a:spcBef>
              <a:buNone/>
              <a:tabLst>
                <a:tab pos="-381000" algn="l"/>
              </a:tabLst>
            </a:pPr>
            <a:r>
              <a:rPr lang="en-US" sz="1100" dirty="0">
                <a:effectLst/>
                <a:latin typeface="Tahoma" panose="020B0604030504040204" pitchFamily="34" charset="0"/>
                <a:ea typeface="Times New Roman" panose="02020603050405020304" pitchFamily="18" charset="0"/>
                <a:cs typeface="Tahoma" panose="020B0604030504040204" pitchFamily="34" charset="0"/>
              </a:rPr>
              <a:t>Failure to achieve the 75% and 60% threshold will lead to disqualification and will not progress to the next stage of the evaluation The test for the Technical and Functional threshold is attached as Annexure B (Technical Evaluation Criteria) Category A step 1 and step 2.  And Annexure C (Technical Evaluation Criteria) Category B step 1 and step 2.  Bidders will be scored according to attached Annexure D (Technical scoring matrix).</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p:txBody>
      </p:sp>
      <p:sp>
        <p:nvSpPr>
          <p:cNvPr id="10" name="TextBox 9">
            <a:extLst>
              <a:ext uri="{FF2B5EF4-FFF2-40B4-BE49-F238E27FC236}">
                <a16:creationId xmlns:a16="http://schemas.microsoft.com/office/drawing/2014/main" id="{BFA3B378-C3DA-C68D-896A-267EF95FF5B0}"/>
              </a:ext>
            </a:extLst>
          </p:cNvPr>
          <p:cNvSpPr txBox="1"/>
          <p:nvPr/>
        </p:nvSpPr>
        <p:spPr>
          <a:xfrm>
            <a:off x="1158240" y="2402694"/>
            <a:ext cx="8117840" cy="311688"/>
          </a:xfrm>
          <a:prstGeom prst="rect">
            <a:avLst/>
          </a:prstGeom>
          <a:noFill/>
        </p:spPr>
        <p:txBody>
          <a:bodyPr wrap="square">
            <a:spAutoFit/>
          </a:bodyPr>
          <a:lstStyle/>
          <a:p>
            <a:pPr algn="just">
              <a:lnSpc>
                <a:spcPct val="150000"/>
              </a:lnSpc>
              <a:spcBef>
                <a:spcPts val="1200"/>
              </a:spcBef>
              <a:buNone/>
            </a:pPr>
            <a:r>
              <a:rPr lang="en-GB" sz="1100" kern="1600" dirty="0">
                <a:effectLst/>
                <a:latin typeface="Tahoma" panose="020B0604030504040204" pitchFamily="34" charset="0"/>
                <a:ea typeface="Times New Roman" panose="02020603050405020304" pitchFamily="18" charset="0"/>
                <a:cs typeface="Times New Roman" panose="02020603050405020304" pitchFamily="18" charset="0"/>
              </a:rPr>
              <a:t>The test for the technical and functional threshold for </a:t>
            </a:r>
            <a:r>
              <a:rPr lang="en-GB" sz="1100" b="1" kern="1600" dirty="0">
                <a:effectLst/>
                <a:latin typeface="Tahoma" panose="020B0604030504040204" pitchFamily="34" charset="0"/>
                <a:ea typeface="Times New Roman" panose="02020603050405020304" pitchFamily="18" charset="0"/>
                <a:cs typeface="Times New Roman" panose="02020603050405020304" pitchFamily="18" charset="0"/>
              </a:rPr>
              <a:t>Category A Step 1</a:t>
            </a:r>
            <a:r>
              <a:rPr lang="en-GB" sz="1100" kern="1600" dirty="0">
                <a:effectLst/>
                <a:latin typeface="Tahoma" panose="020B0604030504040204" pitchFamily="34" charset="0"/>
                <a:ea typeface="Times New Roman" panose="02020603050405020304" pitchFamily="18" charset="0"/>
                <a:cs typeface="Times New Roman" panose="02020603050405020304" pitchFamily="18" charset="0"/>
              </a:rPr>
              <a:t> </a:t>
            </a:r>
            <a:r>
              <a:rPr lang="en-GB" sz="1100" b="1" kern="1600" dirty="0">
                <a:effectLst/>
                <a:latin typeface="Tahoma" panose="020B0604030504040204" pitchFamily="34" charset="0"/>
                <a:ea typeface="Times New Roman" panose="02020603050405020304" pitchFamily="18" charset="0"/>
                <a:cs typeface="Times New Roman" panose="02020603050405020304" pitchFamily="18" charset="0"/>
              </a:rPr>
              <a:t>(Track Bulldozers)</a:t>
            </a:r>
            <a:r>
              <a:rPr lang="en-GB" sz="1100" kern="1600" dirty="0">
                <a:effectLst/>
                <a:latin typeface="Tahoma" panose="020B0604030504040204" pitchFamily="34" charset="0"/>
                <a:ea typeface="Times New Roman" panose="02020603050405020304" pitchFamily="18" charset="0"/>
                <a:cs typeface="Times New Roman" panose="02020603050405020304" pitchFamily="18" charset="0"/>
              </a:rPr>
              <a:t> will include the following: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p:txBody>
      </p:sp>
      <p:graphicFrame>
        <p:nvGraphicFramePr>
          <p:cNvPr id="13" name="Table 12">
            <a:extLst>
              <a:ext uri="{FF2B5EF4-FFF2-40B4-BE49-F238E27FC236}">
                <a16:creationId xmlns:a16="http://schemas.microsoft.com/office/drawing/2014/main" id="{3DBC5616-41DE-C7DB-A137-C5B9504E8E50}"/>
              </a:ext>
            </a:extLst>
          </p:cNvPr>
          <p:cNvGraphicFramePr>
            <a:graphicFrameLocks noGrp="1"/>
          </p:cNvGraphicFramePr>
          <p:nvPr>
            <p:extLst>
              <p:ext uri="{D42A27DB-BD31-4B8C-83A1-F6EECF244321}">
                <p14:modId xmlns:p14="http://schemas.microsoft.com/office/powerpoint/2010/main" val="1829029447"/>
              </p:ext>
            </p:extLst>
          </p:nvPr>
        </p:nvGraphicFramePr>
        <p:xfrm>
          <a:off x="1341437" y="3060940"/>
          <a:ext cx="8462963" cy="2516900"/>
        </p:xfrm>
        <a:graphic>
          <a:graphicData uri="http://schemas.openxmlformats.org/drawingml/2006/table">
            <a:tbl>
              <a:tblPr firstRow="1" firstCol="1" bandRow="1">
                <a:tableStyleId>{5C22544A-7EE6-4342-B048-85BDC9FD1C3A}</a:tableStyleId>
              </a:tblPr>
              <a:tblGrid>
                <a:gridCol w="6510856">
                  <a:extLst>
                    <a:ext uri="{9D8B030D-6E8A-4147-A177-3AD203B41FA5}">
                      <a16:colId xmlns:a16="http://schemas.microsoft.com/office/drawing/2014/main" val="1402762436"/>
                    </a:ext>
                  </a:extLst>
                </a:gridCol>
                <a:gridCol w="1952107">
                  <a:extLst>
                    <a:ext uri="{9D8B030D-6E8A-4147-A177-3AD203B41FA5}">
                      <a16:colId xmlns:a16="http://schemas.microsoft.com/office/drawing/2014/main" val="2364552552"/>
                    </a:ext>
                  </a:extLst>
                </a:gridCol>
              </a:tblGrid>
              <a:tr h="506508">
                <a:tc>
                  <a:txBody>
                    <a:bodyPr/>
                    <a:lstStyle/>
                    <a:p>
                      <a:pPr algn="l">
                        <a:lnSpc>
                          <a:spcPct val="150000"/>
                        </a:lnSpc>
                        <a:spcBef>
                          <a:spcPts val="300"/>
                        </a:spcBef>
                        <a:buNone/>
                      </a:pPr>
                      <a:r>
                        <a:rPr lang="en-GB" sz="1100">
                          <a:effectLst/>
                        </a:rPr>
                        <a:t>Technical Evaluation Criteria: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l">
                        <a:lnSpc>
                          <a:spcPct val="150000"/>
                        </a:lnSpc>
                        <a:spcBef>
                          <a:spcPts val="300"/>
                        </a:spcBef>
                        <a:buNone/>
                      </a:pPr>
                      <a:r>
                        <a:rPr lang="en-GB" sz="1100">
                          <a:effectLst/>
                        </a:rPr>
                        <a:t>Points Weightings</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632957245"/>
                  </a:ext>
                </a:extLst>
              </a:tr>
              <a:tr h="802851">
                <a:tc>
                  <a:txBody>
                    <a:bodyPr/>
                    <a:lstStyle/>
                    <a:p>
                      <a:pPr algn="just">
                        <a:lnSpc>
                          <a:spcPct val="150000"/>
                        </a:lnSpc>
                        <a:spcBef>
                          <a:spcPts val="300"/>
                        </a:spcBef>
                        <a:buNone/>
                      </a:pPr>
                      <a:r>
                        <a:rPr lang="en-GB" sz="1100">
                          <a:effectLst/>
                        </a:rPr>
                        <a:t>Technical Functionality:</a:t>
                      </a:r>
                      <a:endParaRPr lang="en-ZA" sz="1100">
                        <a:effectLst/>
                      </a:endParaRPr>
                    </a:p>
                    <a:p>
                      <a:pPr marL="342900" lvl="0" indent="-342900" algn="l">
                        <a:lnSpc>
                          <a:spcPct val="150000"/>
                        </a:lnSpc>
                        <a:spcBef>
                          <a:spcPts val="300"/>
                        </a:spcBef>
                        <a:buFont typeface="Symbol" panose="05050102010706020507" pitchFamily="18" charset="2"/>
                        <a:buChar char=""/>
                      </a:pPr>
                      <a:r>
                        <a:rPr lang="en-GB" sz="1100">
                          <a:effectLst/>
                        </a:rPr>
                        <a:t>Track Bulldozer Design and Functionality</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 </a:t>
                      </a:r>
                      <a:endParaRPr lang="en-ZA" sz="1100">
                        <a:effectLst/>
                      </a:endParaRPr>
                    </a:p>
                    <a:p>
                      <a:pPr algn="ctr">
                        <a:lnSpc>
                          <a:spcPct val="150000"/>
                        </a:lnSpc>
                        <a:spcBef>
                          <a:spcPts val="300"/>
                        </a:spcBef>
                        <a:buNone/>
                      </a:pPr>
                      <a:r>
                        <a:rPr lang="en-GB" sz="1100">
                          <a:effectLst/>
                        </a:rPr>
                        <a:t> </a:t>
                      </a:r>
                      <a:endParaRPr lang="en-ZA" sz="1100">
                        <a:effectLst/>
                      </a:endParaRPr>
                    </a:p>
                    <a:p>
                      <a:pPr algn="ctr">
                        <a:lnSpc>
                          <a:spcPct val="150000"/>
                        </a:lnSpc>
                        <a:spcBef>
                          <a:spcPts val="300"/>
                        </a:spcBef>
                        <a:buNone/>
                      </a:pPr>
                      <a:r>
                        <a:rPr lang="en-GB" sz="1100">
                          <a:effectLst/>
                        </a:rPr>
                        <a:t>6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286590341"/>
                  </a:ext>
                </a:extLst>
              </a:tr>
              <a:tr h="509916">
                <a:tc>
                  <a:txBody>
                    <a:bodyPr/>
                    <a:lstStyle/>
                    <a:p>
                      <a:pPr marL="342900" lvl="0" indent="-342900" algn="l">
                        <a:lnSpc>
                          <a:spcPct val="150000"/>
                        </a:lnSpc>
                        <a:spcBef>
                          <a:spcPts val="300"/>
                        </a:spcBef>
                        <a:buFont typeface="Symbol" panose="05050102010706020507" pitchFamily="18" charset="2"/>
                        <a:buChar char=""/>
                      </a:pPr>
                      <a:r>
                        <a:rPr lang="en-GB" sz="1100">
                          <a:effectLst/>
                        </a:rPr>
                        <a:t>Fully Managed Equipment Maintenance plan (planned and unplanned maintenance)</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 </a:t>
                      </a:r>
                      <a:endParaRPr lang="en-ZA" sz="1100">
                        <a:effectLst/>
                      </a:endParaRPr>
                    </a:p>
                    <a:p>
                      <a:pPr algn="ctr">
                        <a:lnSpc>
                          <a:spcPct val="150000"/>
                        </a:lnSpc>
                        <a:spcBef>
                          <a:spcPts val="300"/>
                        </a:spcBef>
                        <a:buNone/>
                      </a:pPr>
                      <a:r>
                        <a:rPr lang="en-GB" sz="1100">
                          <a:effectLst/>
                        </a:rPr>
                        <a:t>4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08203419"/>
                  </a:ext>
                </a:extLst>
              </a:tr>
              <a:tr h="341752">
                <a:tc>
                  <a:txBody>
                    <a:bodyPr/>
                    <a:lstStyle/>
                    <a:p>
                      <a:pPr algn="l">
                        <a:lnSpc>
                          <a:spcPct val="150000"/>
                        </a:lnSpc>
                        <a:spcBef>
                          <a:spcPts val="300"/>
                        </a:spcBef>
                        <a:buNone/>
                      </a:pPr>
                      <a:r>
                        <a:rPr lang="en-GB" sz="1100">
                          <a:effectLst/>
                        </a:rPr>
                        <a:t>Total Weighting:</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10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974782205"/>
                  </a:ext>
                </a:extLst>
              </a:tr>
              <a:tr h="355873">
                <a:tc>
                  <a:txBody>
                    <a:bodyPr/>
                    <a:lstStyle/>
                    <a:p>
                      <a:pPr algn="l">
                        <a:lnSpc>
                          <a:spcPct val="150000"/>
                        </a:lnSpc>
                        <a:spcBef>
                          <a:spcPts val="300"/>
                        </a:spcBef>
                        <a:buNone/>
                      </a:pPr>
                      <a:r>
                        <a:rPr lang="en-GB" sz="1100">
                          <a:effectLst/>
                        </a:rPr>
                        <a:t>Minimum qualifying score required:</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dirty="0">
                          <a:effectLst/>
                        </a:rPr>
                        <a:t>75%</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189797878"/>
                  </a:ext>
                </a:extLst>
              </a:tr>
            </a:tbl>
          </a:graphicData>
        </a:graphic>
      </p:graphicFrame>
    </p:spTree>
    <p:extLst>
      <p:ext uri="{BB962C8B-B14F-4D97-AF65-F5344CB8AC3E}">
        <p14:creationId xmlns:p14="http://schemas.microsoft.com/office/powerpoint/2010/main" val="20910348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94B55-56C8-E8F3-379A-7E076D1BAA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7B5811-7136-24CA-98D9-6D91F2386E47}"/>
              </a:ext>
            </a:extLst>
          </p:cNvPr>
          <p:cNvSpPr>
            <a:spLocks noGrp="1"/>
          </p:cNvSpPr>
          <p:nvPr>
            <p:ph type="title"/>
          </p:nvPr>
        </p:nvSpPr>
        <p:spPr/>
        <p:txBody>
          <a:bodyPr/>
          <a:lstStyle/>
          <a:p>
            <a:r>
              <a:rPr lang="en-US" dirty="0"/>
              <a:t>Technical Evaluation Methodology</a:t>
            </a:r>
            <a:endParaRPr lang="en-ZA" dirty="0"/>
          </a:p>
        </p:txBody>
      </p:sp>
      <p:sp>
        <p:nvSpPr>
          <p:cNvPr id="4" name="Slide Number Placeholder 3">
            <a:extLst>
              <a:ext uri="{FF2B5EF4-FFF2-40B4-BE49-F238E27FC236}">
                <a16:creationId xmlns:a16="http://schemas.microsoft.com/office/drawing/2014/main" id="{B8C99D94-FD31-2845-1516-CB35FEBFE127}"/>
              </a:ext>
            </a:extLst>
          </p:cNvPr>
          <p:cNvSpPr>
            <a:spLocks noGrp="1"/>
          </p:cNvSpPr>
          <p:nvPr>
            <p:ph type="sldNum" sz="quarter" idx="10"/>
          </p:nvPr>
        </p:nvSpPr>
        <p:spPr/>
        <p:txBody>
          <a:bodyPr/>
          <a:lstStyle/>
          <a:p>
            <a:pPr>
              <a:defRPr/>
            </a:pPr>
            <a:fld id="{C540CCFC-6BA4-4ACE-929C-A4BCE2E55EAC}" type="slidenum">
              <a:rPr lang="en-US" altLang="en-US" smtClean="0"/>
              <a:pPr>
                <a:defRPr/>
              </a:pPr>
              <a:t>12</a:t>
            </a:fld>
            <a:endParaRPr lang="en-US" altLang="en-US"/>
          </a:p>
        </p:txBody>
      </p:sp>
      <p:sp>
        <p:nvSpPr>
          <p:cNvPr id="3" name="Rectangle 2">
            <a:extLst>
              <a:ext uri="{FF2B5EF4-FFF2-40B4-BE49-F238E27FC236}">
                <a16:creationId xmlns:a16="http://schemas.microsoft.com/office/drawing/2014/main" id="{D1BFCB67-3E74-633E-EF75-BC9DD32ABE59}"/>
              </a:ext>
            </a:extLst>
          </p:cNvPr>
          <p:cNvSpPr/>
          <p:nvPr/>
        </p:nvSpPr>
        <p:spPr>
          <a:xfrm>
            <a:off x="105103" y="6015276"/>
            <a:ext cx="10363200" cy="544123"/>
          </a:xfrm>
          <a:prstGeom prst="rect">
            <a:avLst/>
          </a:prstGeom>
        </p:spPr>
        <p:txBody>
          <a:bodyPr wrap="square">
            <a:spAutoFit/>
          </a:bodyPr>
          <a:lstStyle/>
          <a:p>
            <a:pPr marL="1004570" algn="just">
              <a:lnSpc>
                <a:spcPct val="150000"/>
              </a:lnSpc>
              <a:spcBef>
                <a:spcPts val="300"/>
              </a:spcBef>
              <a:spcAft>
                <a:spcPts val="0"/>
              </a:spcAft>
            </a:pPr>
            <a:r>
              <a:rPr lang="en-US" sz="1050" b="1" i="1" dirty="0">
                <a:latin typeface="Tahoma" panose="020B0604030504040204" pitchFamily="34" charset="0"/>
                <a:ea typeface="Times New Roman" panose="02020603050405020304" pitchFamily="18" charset="0"/>
                <a:cs typeface="Times New Roman" panose="02020603050405020304" pitchFamily="18" charset="0"/>
              </a:rPr>
              <a:t>Respondents are to note that Transnet will round off final technical scores to the nearest 2 (two) decimal places for the purposes of determining whether the technical threshold has been met.</a:t>
            </a:r>
            <a:endParaRPr lang="en-ZA" sz="1050" b="1" dirty="0">
              <a:effectLst/>
              <a:latin typeface="Tahoma" panose="020B0604030504040204" pitchFamily="34" charset="0"/>
              <a:ea typeface="Times New Roman" panose="02020603050405020304" pitchFamily="18" charset="0"/>
              <a:cs typeface="Times New Roman" panose="02020603050405020304" pitchFamily="18" charset="0"/>
            </a:endParaRPr>
          </a:p>
        </p:txBody>
      </p:sp>
      <p:sp>
        <p:nvSpPr>
          <p:cNvPr id="7" name="Rectangle 1">
            <a:extLst>
              <a:ext uri="{FF2B5EF4-FFF2-40B4-BE49-F238E27FC236}">
                <a16:creationId xmlns:a16="http://schemas.microsoft.com/office/drawing/2014/main" id="{85E7A9A1-FBE0-543A-B3BC-A1E1605F28FB}"/>
              </a:ext>
            </a:extLst>
          </p:cNvPr>
          <p:cNvSpPr>
            <a:spLocks noChangeArrowheads="1"/>
          </p:cNvSpPr>
          <p:nvPr/>
        </p:nvSpPr>
        <p:spPr bwMode="auto">
          <a:xfrm rot="10800000" flipV="1">
            <a:off x="178676" y="1477966"/>
            <a:ext cx="11556124" cy="323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39580" tIns="152352" rIns="91440" bIns="0" numCol="1" anchor="ctr" anchorCtr="0" compatLnSpc="1">
            <a:prstTxWarp prst="textNoShape">
              <a:avLst/>
            </a:prstTxWarp>
            <a:spAutoFit/>
          </a:bodyPr>
          <a:lstStyle>
            <a:lvl1pPr eaLnBrk="0" fontAlgn="base" hangingPunct="0">
              <a:spcBef>
                <a:spcPct val="0"/>
              </a:spcBef>
              <a:spcAft>
                <a:spcPct val="0"/>
              </a:spcAft>
              <a:tabLst>
                <a:tab pos="292100" algn="l"/>
              </a:tabLst>
              <a:defRPr>
                <a:solidFill>
                  <a:schemeClr val="tx1"/>
                </a:solidFill>
                <a:latin typeface="Arial" panose="020B0604020202020204" pitchFamily="34" charset="0"/>
              </a:defRPr>
            </a:lvl1pPr>
            <a:lvl2pPr eaLnBrk="0" fontAlgn="base" hangingPunct="0">
              <a:spcBef>
                <a:spcPct val="0"/>
              </a:spcBef>
              <a:spcAft>
                <a:spcPct val="0"/>
              </a:spcAft>
              <a:tabLst>
                <a:tab pos="292100" algn="l"/>
              </a:tabLst>
              <a:defRPr>
                <a:solidFill>
                  <a:schemeClr val="tx1"/>
                </a:solidFill>
                <a:latin typeface="Arial" panose="020B0604020202020204" pitchFamily="34" charset="0"/>
              </a:defRPr>
            </a:lvl2pPr>
            <a:lvl3pPr eaLnBrk="0" fontAlgn="base" hangingPunct="0">
              <a:spcBef>
                <a:spcPct val="0"/>
              </a:spcBef>
              <a:spcAft>
                <a:spcPct val="0"/>
              </a:spcAft>
              <a:tabLst>
                <a:tab pos="292100" algn="l"/>
              </a:tabLst>
              <a:defRPr>
                <a:solidFill>
                  <a:schemeClr val="tx1"/>
                </a:solidFill>
                <a:latin typeface="Arial" panose="020B0604020202020204" pitchFamily="34" charset="0"/>
              </a:defRPr>
            </a:lvl3pPr>
            <a:lvl4pPr eaLnBrk="0" fontAlgn="base" hangingPunct="0">
              <a:spcBef>
                <a:spcPct val="0"/>
              </a:spcBef>
              <a:spcAft>
                <a:spcPct val="0"/>
              </a:spcAft>
              <a:tabLst>
                <a:tab pos="292100" algn="l"/>
              </a:tabLst>
              <a:defRPr>
                <a:solidFill>
                  <a:schemeClr val="tx1"/>
                </a:solidFill>
                <a:latin typeface="Arial" panose="020B0604020202020204" pitchFamily="34" charset="0"/>
              </a:defRPr>
            </a:lvl4pPr>
            <a:lvl5pPr eaLnBrk="0" fontAlgn="base" hangingPunct="0">
              <a:spcBef>
                <a:spcPct val="0"/>
              </a:spcBef>
              <a:spcAft>
                <a:spcPct val="0"/>
              </a:spcAft>
              <a:tabLst>
                <a:tab pos="292100" algn="l"/>
              </a:tabLst>
              <a:defRPr>
                <a:solidFill>
                  <a:schemeClr val="tx1"/>
                </a:solidFill>
                <a:latin typeface="Arial" panose="020B0604020202020204" pitchFamily="34" charset="0"/>
              </a:defRPr>
            </a:lvl5pPr>
            <a:lvl6pPr eaLnBrk="0" fontAlgn="base" hangingPunct="0">
              <a:spcBef>
                <a:spcPct val="0"/>
              </a:spcBef>
              <a:spcAft>
                <a:spcPct val="0"/>
              </a:spcAft>
              <a:tabLst>
                <a:tab pos="292100" algn="l"/>
              </a:tabLst>
              <a:defRPr>
                <a:solidFill>
                  <a:schemeClr val="tx1"/>
                </a:solidFill>
                <a:latin typeface="Arial" panose="020B0604020202020204" pitchFamily="34" charset="0"/>
              </a:defRPr>
            </a:lvl6pPr>
            <a:lvl7pPr eaLnBrk="0" fontAlgn="base" hangingPunct="0">
              <a:spcBef>
                <a:spcPct val="0"/>
              </a:spcBef>
              <a:spcAft>
                <a:spcPct val="0"/>
              </a:spcAft>
              <a:tabLst>
                <a:tab pos="292100" algn="l"/>
              </a:tabLst>
              <a:defRPr>
                <a:solidFill>
                  <a:schemeClr val="tx1"/>
                </a:solidFill>
                <a:latin typeface="Arial" panose="020B0604020202020204" pitchFamily="34" charset="0"/>
              </a:defRPr>
            </a:lvl7pPr>
            <a:lvl8pPr eaLnBrk="0" fontAlgn="base" hangingPunct="0">
              <a:spcBef>
                <a:spcPct val="0"/>
              </a:spcBef>
              <a:spcAft>
                <a:spcPct val="0"/>
              </a:spcAft>
              <a:tabLst>
                <a:tab pos="292100" algn="l"/>
              </a:tabLst>
              <a:defRPr>
                <a:solidFill>
                  <a:schemeClr val="tx1"/>
                </a:solidFill>
                <a:latin typeface="Arial" panose="020B0604020202020204" pitchFamily="34" charset="0"/>
              </a:defRPr>
            </a:lvl8pPr>
            <a:lvl9pPr eaLnBrk="0" fontAlgn="base" hangingPunct="0">
              <a:spcBef>
                <a:spcPct val="0"/>
              </a:spcBef>
              <a:spcAft>
                <a:spcPct val="0"/>
              </a:spcAft>
              <a:tabLst>
                <a:tab pos="292100" algn="l"/>
              </a:tabLst>
              <a:defRPr>
                <a:solidFill>
                  <a:schemeClr val="tx1"/>
                </a:solidFill>
                <a:latin typeface="Arial" panose="020B0604020202020204" pitchFamily="34" charset="0"/>
              </a:defRPr>
            </a:lvl9pPr>
          </a:lstStyle>
          <a:p>
            <a:pPr marL="457200" marR="0" lvl="1" indent="0" algn="just" defTabSz="914400" rtl="0" eaLnBrk="0" fontAlgn="base" latinLnBrk="0" hangingPunct="0">
              <a:lnSpc>
                <a:spcPct val="100000"/>
              </a:lnSpc>
              <a:spcBef>
                <a:spcPct val="0"/>
              </a:spcBef>
              <a:spcAft>
                <a:spcPct val="0"/>
              </a:spcAft>
              <a:buClrTx/>
              <a:buSzTx/>
              <a:tabLst>
                <a:tab pos="292100" algn="l"/>
              </a:tabLst>
            </a:pPr>
            <a:endParaRPr kumimoji="0" lang="en-GB" altLang="en-US" sz="11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2E7BA4E6-B2CE-F511-66EE-017F225D35CD}"/>
              </a:ext>
            </a:extLst>
          </p:cNvPr>
          <p:cNvSpPr>
            <a:spLocks noChangeArrowheads="1"/>
          </p:cNvSpPr>
          <p:nvPr/>
        </p:nvSpPr>
        <p:spPr bwMode="auto">
          <a:xfrm>
            <a:off x="618754" y="1322056"/>
            <a:ext cx="1125530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292100" algn="l"/>
              </a:tabLst>
              <a:defRPr>
                <a:solidFill>
                  <a:schemeClr val="tx1"/>
                </a:solidFill>
                <a:latin typeface="Arial" panose="020B0604020202020204" pitchFamily="34" charset="0"/>
              </a:defRPr>
            </a:lvl1pPr>
            <a:lvl2pPr eaLnBrk="0" fontAlgn="base" hangingPunct="0">
              <a:spcBef>
                <a:spcPct val="0"/>
              </a:spcBef>
              <a:spcAft>
                <a:spcPct val="0"/>
              </a:spcAft>
              <a:tabLst>
                <a:tab pos="292100" algn="l"/>
              </a:tabLst>
              <a:defRPr>
                <a:solidFill>
                  <a:schemeClr val="tx1"/>
                </a:solidFill>
                <a:latin typeface="Arial" panose="020B0604020202020204" pitchFamily="34" charset="0"/>
              </a:defRPr>
            </a:lvl2pPr>
            <a:lvl3pPr eaLnBrk="0" fontAlgn="base" hangingPunct="0">
              <a:spcBef>
                <a:spcPct val="0"/>
              </a:spcBef>
              <a:spcAft>
                <a:spcPct val="0"/>
              </a:spcAft>
              <a:tabLst>
                <a:tab pos="292100" algn="l"/>
              </a:tabLst>
              <a:defRPr>
                <a:solidFill>
                  <a:schemeClr val="tx1"/>
                </a:solidFill>
                <a:latin typeface="Arial" panose="020B0604020202020204" pitchFamily="34" charset="0"/>
              </a:defRPr>
            </a:lvl3pPr>
            <a:lvl4pPr eaLnBrk="0" fontAlgn="base" hangingPunct="0">
              <a:spcBef>
                <a:spcPct val="0"/>
              </a:spcBef>
              <a:spcAft>
                <a:spcPct val="0"/>
              </a:spcAft>
              <a:tabLst>
                <a:tab pos="292100" algn="l"/>
              </a:tabLst>
              <a:defRPr>
                <a:solidFill>
                  <a:schemeClr val="tx1"/>
                </a:solidFill>
                <a:latin typeface="Arial" panose="020B0604020202020204" pitchFamily="34" charset="0"/>
              </a:defRPr>
            </a:lvl4pPr>
            <a:lvl5pPr eaLnBrk="0" fontAlgn="base" hangingPunct="0">
              <a:spcBef>
                <a:spcPct val="0"/>
              </a:spcBef>
              <a:spcAft>
                <a:spcPct val="0"/>
              </a:spcAft>
              <a:tabLst>
                <a:tab pos="292100" algn="l"/>
              </a:tabLst>
              <a:defRPr>
                <a:solidFill>
                  <a:schemeClr val="tx1"/>
                </a:solidFill>
                <a:latin typeface="Arial" panose="020B0604020202020204" pitchFamily="34" charset="0"/>
              </a:defRPr>
            </a:lvl5pPr>
            <a:lvl6pPr eaLnBrk="0" fontAlgn="base" hangingPunct="0">
              <a:spcBef>
                <a:spcPct val="0"/>
              </a:spcBef>
              <a:spcAft>
                <a:spcPct val="0"/>
              </a:spcAft>
              <a:tabLst>
                <a:tab pos="292100" algn="l"/>
              </a:tabLst>
              <a:defRPr>
                <a:solidFill>
                  <a:schemeClr val="tx1"/>
                </a:solidFill>
                <a:latin typeface="Arial" panose="020B0604020202020204" pitchFamily="34" charset="0"/>
              </a:defRPr>
            </a:lvl6pPr>
            <a:lvl7pPr eaLnBrk="0" fontAlgn="base" hangingPunct="0">
              <a:spcBef>
                <a:spcPct val="0"/>
              </a:spcBef>
              <a:spcAft>
                <a:spcPct val="0"/>
              </a:spcAft>
              <a:tabLst>
                <a:tab pos="292100" algn="l"/>
              </a:tabLst>
              <a:defRPr>
                <a:solidFill>
                  <a:schemeClr val="tx1"/>
                </a:solidFill>
                <a:latin typeface="Arial" panose="020B0604020202020204" pitchFamily="34" charset="0"/>
              </a:defRPr>
            </a:lvl7pPr>
            <a:lvl8pPr eaLnBrk="0" fontAlgn="base" hangingPunct="0">
              <a:spcBef>
                <a:spcPct val="0"/>
              </a:spcBef>
              <a:spcAft>
                <a:spcPct val="0"/>
              </a:spcAft>
              <a:tabLst>
                <a:tab pos="292100" algn="l"/>
              </a:tabLst>
              <a:defRPr>
                <a:solidFill>
                  <a:schemeClr val="tx1"/>
                </a:solidFill>
                <a:latin typeface="Arial" panose="020B0604020202020204" pitchFamily="34" charset="0"/>
              </a:defRPr>
            </a:lvl8pPr>
            <a:lvl9pPr eaLnBrk="0" fontAlgn="base" hangingPunct="0">
              <a:spcBef>
                <a:spcPct val="0"/>
              </a:spcBef>
              <a:spcAft>
                <a:spcPct val="0"/>
              </a:spcAft>
              <a:tabLst>
                <a:tab pos="292100" algn="l"/>
              </a:tabLst>
              <a:defRPr>
                <a:solidFill>
                  <a:schemeClr val="tx1"/>
                </a:solidFill>
                <a:latin typeface="Arial" panose="020B0604020202020204" pitchFamily="34"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tab pos="292100" algn="l"/>
              </a:tabLst>
            </a:pPr>
            <a:r>
              <a:rPr kumimoji="0" lang="en-US" altLang="en-US" sz="1200" b="1" i="0" u="none" strike="noStrike" cap="none" normalizeH="0" baseline="0" dirty="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The test for the technical expertise and previous experience threshold for Category A Step 2 (Track Bulldozers) will include the following: </a:t>
            </a:r>
            <a:r>
              <a:rPr kumimoji="0" lang="en-GB" altLang="en-US" sz="1200" b="1" i="0" u="none" strike="noStrike" cap="none" normalizeH="0" baseline="0" dirty="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	</a:t>
            </a:r>
          </a:p>
          <a:p>
            <a:pPr marL="0" marR="0" lvl="0" indent="0" algn="just" defTabSz="914400" rtl="0" eaLnBrk="0" fontAlgn="base" latinLnBrk="0" hangingPunct="0">
              <a:lnSpc>
                <a:spcPct val="100000"/>
              </a:lnSpc>
              <a:spcBef>
                <a:spcPct val="0"/>
              </a:spcBef>
              <a:spcAft>
                <a:spcPct val="0"/>
              </a:spcAft>
              <a:buClrTx/>
              <a:buSzTx/>
              <a:buFontTx/>
              <a:buNone/>
              <a:tabLst>
                <a:tab pos="292100" algn="l"/>
              </a:tabLst>
            </a:pPr>
            <a:endParaRPr kumimoji="0" lang="en-ZA" altLang="en-US" sz="800" b="0" i="0" u="none" strike="noStrike" cap="none" normalizeH="0" baseline="0" dirty="0">
              <a:ln>
                <a:noFill/>
              </a:ln>
              <a:solidFill>
                <a:schemeClr val="tx1"/>
              </a:solidFill>
              <a:effectLst/>
            </a:endParaRPr>
          </a:p>
        </p:txBody>
      </p:sp>
      <p:graphicFrame>
        <p:nvGraphicFramePr>
          <p:cNvPr id="10" name="Table 9">
            <a:extLst>
              <a:ext uri="{FF2B5EF4-FFF2-40B4-BE49-F238E27FC236}">
                <a16:creationId xmlns:a16="http://schemas.microsoft.com/office/drawing/2014/main" id="{D0C7CC5E-675A-B3DA-A370-A56136FCE3CE}"/>
              </a:ext>
            </a:extLst>
          </p:cNvPr>
          <p:cNvGraphicFramePr>
            <a:graphicFrameLocks noGrp="1"/>
          </p:cNvGraphicFramePr>
          <p:nvPr>
            <p:extLst>
              <p:ext uri="{D42A27DB-BD31-4B8C-83A1-F6EECF244321}">
                <p14:modId xmlns:p14="http://schemas.microsoft.com/office/powerpoint/2010/main" val="2294611680"/>
              </p:ext>
            </p:extLst>
          </p:nvPr>
        </p:nvGraphicFramePr>
        <p:xfrm>
          <a:off x="813117" y="1722166"/>
          <a:ext cx="9103043" cy="1736218"/>
        </p:xfrm>
        <a:graphic>
          <a:graphicData uri="http://schemas.openxmlformats.org/drawingml/2006/table">
            <a:tbl>
              <a:tblPr firstRow="1" firstCol="1" bandRow="1">
                <a:tableStyleId>{5C22544A-7EE6-4342-B048-85BDC9FD1C3A}</a:tableStyleId>
              </a:tblPr>
              <a:tblGrid>
                <a:gridCol w="7003292">
                  <a:extLst>
                    <a:ext uri="{9D8B030D-6E8A-4147-A177-3AD203B41FA5}">
                      <a16:colId xmlns:a16="http://schemas.microsoft.com/office/drawing/2014/main" val="3383357736"/>
                    </a:ext>
                  </a:extLst>
                </a:gridCol>
                <a:gridCol w="2099751">
                  <a:extLst>
                    <a:ext uri="{9D8B030D-6E8A-4147-A177-3AD203B41FA5}">
                      <a16:colId xmlns:a16="http://schemas.microsoft.com/office/drawing/2014/main" val="405552378"/>
                    </a:ext>
                  </a:extLst>
                </a:gridCol>
              </a:tblGrid>
              <a:tr h="341630">
                <a:tc>
                  <a:txBody>
                    <a:bodyPr/>
                    <a:lstStyle/>
                    <a:p>
                      <a:pPr algn="l">
                        <a:lnSpc>
                          <a:spcPct val="150000"/>
                        </a:lnSpc>
                        <a:spcBef>
                          <a:spcPts val="300"/>
                        </a:spcBef>
                        <a:buNone/>
                      </a:pPr>
                      <a:r>
                        <a:rPr lang="en-GB" sz="1100">
                          <a:effectLst/>
                        </a:rPr>
                        <a:t>Technical Evaluation Criteria: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l">
                        <a:lnSpc>
                          <a:spcPct val="150000"/>
                        </a:lnSpc>
                        <a:spcBef>
                          <a:spcPts val="300"/>
                        </a:spcBef>
                        <a:buNone/>
                      </a:pPr>
                      <a:r>
                        <a:rPr lang="en-GB" sz="1100">
                          <a:effectLst/>
                        </a:rPr>
                        <a:t>Points Weightings</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529870877"/>
                  </a:ext>
                </a:extLst>
              </a:tr>
              <a:tr h="125095">
                <a:tc>
                  <a:txBody>
                    <a:bodyPr/>
                    <a:lstStyle/>
                    <a:p>
                      <a:pPr algn="just">
                        <a:lnSpc>
                          <a:spcPct val="150000"/>
                        </a:lnSpc>
                        <a:spcBef>
                          <a:spcPts val="300"/>
                        </a:spcBef>
                        <a:buNone/>
                      </a:pPr>
                      <a:r>
                        <a:rPr lang="en-GB" sz="1100">
                          <a:effectLst/>
                        </a:rPr>
                        <a:t>Training Capability and Capacity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2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651168946"/>
                  </a:ext>
                </a:extLst>
              </a:tr>
              <a:tr h="167005">
                <a:tc>
                  <a:txBody>
                    <a:bodyPr/>
                    <a:lstStyle/>
                    <a:p>
                      <a:pPr algn="l">
                        <a:lnSpc>
                          <a:spcPct val="150000"/>
                        </a:lnSpc>
                        <a:spcBef>
                          <a:spcPts val="300"/>
                        </a:spcBef>
                        <a:buNone/>
                      </a:pPr>
                      <a:r>
                        <a:rPr lang="en-GB" sz="1100">
                          <a:effectLst/>
                        </a:rPr>
                        <a:t>Company’s previous work experience with similar scope</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15%</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764057581"/>
                  </a:ext>
                </a:extLst>
              </a:tr>
              <a:tr h="240030">
                <a:tc>
                  <a:txBody>
                    <a:bodyPr/>
                    <a:lstStyle/>
                    <a:p>
                      <a:pPr algn="l">
                        <a:lnSpc>
                          <a:spcPct val="150000"/>
                        </a:lnSpc>
                        <a:spcBef>
                          <a:spcPts val="300"/>
                        </a:spcBef>
                        <a:buNone/>
                      </a:pPr>
                      <a:r>
                        <a:rPr lang="en-GB" sz="1100">
                          <a:effectLst/>
                        </a:rPr>
                        <a:t>Capability, knowledge and individual experience of key personnel involved in project.</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3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815470993"/>
                  </a:ext>
                </a:extLst>
              </a:tr>
              <a:tr h="249555">
                <a:tc>
                  <a:txBody>
                    <a:bodyPr/>
                    <a:lstStyle/>
                    <a:p>
                      <a:pPr algn="l">
                        <a:lnSpc>
                          <a:spcPct val="150000"/>
                        </a:lnSpc>
                        <a:spcBef>
                          <a:spcPts val="300"/>
                        </a:spcBef>
                        <a:buNone/>
                      </a:pPr>
                      <a:r>
                        <a:rPr lang="en-GB" sz="1100">
                          <a:effectLst/>
                        </a:rPr>
                        <a:t>Delivery period</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35%</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693879501"/>
                  </a:ext>
                </a:extLst>
              </a:tr>
              <a:tr h="230505">
                <a:tc>
                  <a:txBody>
                    <a:bodyPr/>
                    <a:lstStyle/>
                    <a:p>
                      <a:pPr algn="l">
                        <a:lnSpc>
                          <a:spcPct val="150000"/>
                        </a:lnSpc>
                        <a:spcBef>
                          <a:spcPts val="300"/>
                        </a:spcBef>
                        <a:buNone/>
                      </a:pPr>
                      <a:r>
                        <a:rPr lang="en-GB" sz="1100">
                          <a:effectLst/>
                        </a:rPr>
                        <a:t>Total Weighting:</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10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479232933"/>
                  </a:ext>
                </a:extLst>
              </a:tr>
              <a:tr h="240030">
                <a:tc>
                  <a:txBody>
                    <a:bodyPr/>
                    <a:lstStyle/>
                    <a:p>
                      <a:pPr algn="l">
                        <a:lnSpc>
                          <a:spcPct val="150000"/>
                        </a:lnSpc>
                        <a:spcBef>
                          <a:spcPts val="300"/>
                        </a:spcBef>
                        <a:buNone/>
                      </a:pPr>
                      <a:r>
                        <a:rPr lang="en-GB" sz="1100">
                          <a:effectLst/>
                        </a:rPr>
                        <a:t>Minimum qualifying score required:</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dirty="0">
                          <a:effectLst/>
                        </a:rPr>
                        <a:t>60%</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496538659"/>
                  </a:ext>
                </a:extLst>
              </a:tr>
            </a:tbl>
          </a:graphicData>
        </a:graphic>
      </p:graphicFrame>
      <p:sp>
        <p:nvSpPr>
          <p:cNvPr id="12" name="TextBox 11">
            <a:extLst>
              <a:ext uri="{FF2B5EF4-FFF2-40B4-BE49-F238E27FC236}">
                <a16:creationId xmlns:a16="http://schemas.microsoft.com/office/drawing/2014/main" id="{3871B81E-5B2D-2240-5896-ED70A22B6644}"/>
              </a:ext>
            </a:extLst>
          </p:cNvPr>
          <p:cNvSpPr txBox="1"/>
          <p:nvPr/>
        </p:nvSpPr>
        <p:spPr>
          <a:xfrm>
            <a:off x="528320" y="3419014"/>
            <a:ext cx="9286240" cy="311688"/>
          </a:xfrm>
          <a:prstGeom prst="rect">
            <a:avLst/>
          </a:prstGeom>
          <a:noFill/>
        </p:spPr>
        <p:txBody>
          <a:bodyPr wrap="square">
            <a:spAutoFit/>
          </a:bodyPr>
          <a:lstStyle/>
          <a:p>
            <a:pPr algn="just">
              <a:lnSpc>
                <a:spcPct val="150000"/>
              </a:lnSpc>
              <a:spcBef>
                <a:spcPts val="1200"/>
              </a:spcBef>
              <a:buNone/>
            </a:pPr>
            <a:r>
              <a:rPr lang="en-GB" sz="1100" b="1" kern="1600" dirty="0">
                <a:effectLst/>
                <a:latin typeface="Tahoma" panose="020B0604030504040204" pitchFamily="34" charset="0"/>
                <a:ea typeface="Times New Roman" panose="02020603050405020304" pitchFamily="18" charset="0"/>
                <a:cs typeface="Times New Roman" panose="02020603050405020304" pitchFamily="18" charset="0"/>
              </a:rPr>
              <a:t>The test for the technical and Functional threshold for Category B Step 1 (Excavators and Lowbed) will include the following: </a:t>
            </a:r>
            <a:endParaRPr lang="en-ZA" sz="1100" b="1" dirty="0">
              <a:effectLst/>
              <a:latin typeface="Tahoma" panose="020B0604030504040204" pitchFamily="34" charset="0"/>
              <a:ea typeface="Times New Roman" panose="02020603050405020304" pitchFamily="18" charset="0"/>
              <a:cs typeface="Times New Roman" panose="02020603050405020304" pitchFamily="18" charset="0"/>
            </a:endParaRPr>
          </a:p>
        </p:txBody>
      </p:sp>
      <p:graphicFrame>
        <p:nvGraphicFramePr>
          <p:cNvPr id="13" name="Table 12">
            <a:extLst>
              <a:ext uri="{FF2B5EF4-FFF2-40B4-BE49-F238E27FC236}">
                <a16:creationId xmlns:a16="http://schemas.microsoft.com/office/drawing/2014/main" id="{1DDEF63D-F53E-E9ED-8852-1BCD73C2BAAE}"/>
              </a:ext>
            </a:extLst>
          </p:cNvPr>
          <p:cNvGraphicFramePr>
            <a:graphicFrameLocks noGrp="1"/>
          </p:cNvGraphicFramePr>
          <p:nvPr>
            <p:extLst>
              <p:ext uri="{D42A27DB-BD31-4B8C-83A1-F6EECF244321}">
                <p14:modId xmlns:p14="http://schemas.microsoft.com/office/powerpoint/2010/main" val="4139389286"/>
              </p:ext>
            </p:extLst>
          </p:nvPr>
        </p:nvGraphicFramePr>
        <p:xfrm>
          <a:off x="813117" y="3824319"/>
          <a:ext cx="9103043" cy="1504596"/>
        </p:xfrm>
        <a:graphic>
          <a:graphicData uri="http://schemas.openxmlformats.org/drawingml/2006/table">
            <a:tbl>
              <a:tblPr firstRow="1" firstCol="1" bandRow="1">
                <a:tableStyleId>{5C22544A-7EE6-4342-B048-85BDC9FD1C3A}</a:tableStyleId>
              </a:tblPr>
              <a:tblGrid>
                <a:gridCol w="7003292">
                  <a:extLst>
                    <a:ext uri="{9D8B030D-6E8A-4147-A177-3AD203B41FA5}">
                      <a16:colId xmlns:a16="http://schemas.microsoft.com/office/drawing/2014/main" val="594944786"/>
                    </a:ext>
                  </a:extLst>
                </a:gridCol>
                <a:gridCol w="2099751">
                  <a:extLst>
                    <a:ext uri="{9D8B030D-6E8A-4147-A177-3AD203B41FA5}">
                      <a16:colId xmlns:a16="http://schemas.microsoft.com/office/drawing/2014/main" val="1099950077"/>
                    </a:ext>
                  </a:extLst>
                </a:gridCol>
              </a:tblGrid>
              <a:tr h="435570">
                <a:tc>
                  <a:txBody>
                    <a:bodyPr/>
                    <a:lstStyle/>
                    <a:p>
                      <a:pPr algn="l">
                        <a:lnSpc>
                          <a:spcPct val="150000"/>
                        </a:lnSpc>
                        <a:spcBef>
                          <a:spcPts val="300"/>
                        </a:spcBef>
                        <a:buNone/>
                      </a:pPr>
                      <a:r>
                        <a:rPr lang="en-GB" sz="1100">
                          <a:effectLst/>
                        </a:rPr>
                        <a:t>Technical Evaluation Criteria: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l">
                        <a:lnSpc>
                          <a:spcPct val="150000"/>
                        </a:lnSpc>
                        <a:spcBef>
                          <a:spcPts val="300"/>
                        </a:spcBef>
                        <a:buNone/>
                      </a:pPr>
                      <a:r>
                        <a:rPr lang="en-GB" sz="1100">
                          <a:effectLst/>
                        </a:rPr>
                        <a:t>Points Weightings</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114680022"/>
                  </a:ext>
                </a:extLst>
              </a:tr>
              <a:tr h="251871">
                <a:tc>
                  <a:txBody>
                    <a:bodyPr/>
                    <a:lstStyle/>
                    <a:p>
                      <a:pPr marL="0" lvl="0" indent="0" algn="l">
                        <a:lnSpc>
                          <a:spcPct val="150000"/>
                        </a:lnSpc>
                        <a:spcBef>
                          <a:spcPts val="300"/>
                        </a:spcBef>
                        <a:buFont typeface="Symbol" panose="05050102010706020507" pitchFamily="18" charset="2"/>
                        <a:buNone/>
                      </a:pPr>
                      <a:r>
                        <a:rPr lang="en-GB" sz="1100" dirty="0">
                          <a:effectLst/>
                        </a:rPr>
                        <a:t>Delivery Lead Times</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6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425288844"/>
                  </a:ext>
                </a:extLst>
              </a:tr>
              <a:tr h="122172">
                <a:tc>
                  <a:txBody>
                    <a:bodyPr/>
                    <a:lstStyle/>
                    <a:p>
                      <a:pPr marL="0" lvl="0" indent="0" algn="l">
                        <a:lnSpc>
                          <a:spcPct val="150000"/>
                        </a:lnSpc>
                        <a:spcBef>
                          <a:spcPts val="300"/>
                        </a:spcBef>
                        <a:buFont typeface="Symbol" panose="05050102010706020507" pitchFamily="18" charset="2"/>
                        <a:buNone/>
                      </a:pPr>
                      <a:r>
                        <a:rPr lang="en-GB" sz="1100" dirty="0">
                          <a:effectLst/>
                        </a:rPr>
                        <a:t>Fully Managed Equipment Maintenance plan (planned and unplanned maintenance)</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dirty="0">
                          <a:effectLst/>
                        </a:rPr>
                        <a:t> 40%</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335602828"/>
                  </a:ext>
                </a:extLst>
              </a:tr>
              <a:tr h="293889">
                <a:tc>
                  <a:txBody>
                    <a:bodyPr/>
                    <a:lstStyle/>
                    <a:p>
                      <a:pPr algn="l">
                        <a:lnSpc>
                          <a:spcPct val="150000"/>
                        </a:lnSpc>
                        <a:spcBef>
                          <a:spcPts val="300"/>
                        </a:spcBef>
                        <a:buNone/>
                      </a:pPr>
                      <a:r>
                        <a:rPr lang="en-GB" sz="1100">
                          <a:effectLst/>
                        </a:rPr>
                        <a:t>Total Weighting:</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10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13633177"/>
                  </a:ext>
                </a:extLst>
              </a:tr>
              <a:tr h="306032">
                <a:tc>
                  <a:txBody>
                    <a:bodyPr/>
                    <a:lstStyle/>
                    <a:p>
                      <a:pPr algn="l">
                        <a:lnSpc>
                          <a:spcPct val="150000"/>
                        </a:lnSpc>
                        <a:spcBef>
                          <a:spcPts val="300"/>
                        </a:spcBef>
                        <a:buNone/>
                      </a:pPr>
                      <a:r>
                        <a:rPr lang="en-GB" sz="1100">
                          <a:effectLst/>
                        </a:rPr>
                        <a:t>Minimum qualifying score required:</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dirty="0">
                          <a:effectLst/>
                        </a:rPr>
                        <a:t>75%</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194537744"/>
                  </a:ext>
                </a:extLst>
              </a:tr>
            </a:tbl>
          </a:graphicData>
        </a:graphic>
      </p:graphicFrame>
    </p:spTree>
    <p:extLst>
      <p:ext uri="{BB962C8B-B14F-4D97-AF65-F5344CB8AC3E}">
        <p14:creationId xmlns:p14="http://schemas.microsoft.com/office/powerpoint/2010/main" val="34232709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B5DE4-25B1-B1DD-F3C2-A18D5D2405CE}"/>
              </a:ext>
            </a:extLst>
          </p:cNvPr>
          <p:cNvSpPr>
            <a:spLocks noGrp="1"/>
          </p:cNvSpPr>
          <p:nvPr>
            <p:ph type="title"/>
          </p:nvPr>
        </p:nvSpPr>
        <p:spPr/>
        <p:txBody>
          <a:bodyPr/>
          <a:lstStyle/>
          <a:p>
            <a:r>
              <a:rPr kumimoji="0" lang="en-US"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Technical Evaluation Methodology </a:t>
            </a:r>
            <a:r>
              <a:rPr kumimoji="0" lang="en-ZA" altLang="en-US"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cont.)</a:t>
            </a:r>
            <a:endParaRPr lang="en-ZA" dirty="0"/>
          </a:p>
        </p:txBody>
      </p:sp>
      <p:sp>
        <p:nvSpPr>
          <p:cNvPr id="3" name="Content Placeholder 2">
            <a:extLst>
              <a:ext uri="{FF2B5EF4-FFF2-40B4-BE49-F238E27FC236}">
                <a16:creationId xmlns:a16="http://schemas.microsoft.com/office/drawing/2014/main" id="{C75AE8BB-5937-FE76-34FC-4F93AAD78CF2}"/>
              </a:ext>
            </a:extLst>
          </p:cNvPr>
          <p:cNvSpPr>
            <a:spLocks noGrp="1"/>
          </p:cNvSpPr>
          <p:nvPr>
            <p:ph idx="1"/>
          </p:nvPr>
        </p:nvSpPr>
        <p:spPr>
          <a:xfrm>
            <a:off x="568329" y="1200483"/>
            <a:ext cx="11055343" cy="4163997"/>
          </a:xfrm>
        </p:spPr>
        <p:txBody>
          <a:bodyPr/>
          <a:lstStyle/>
          <a:p>
            <a:r>
              <a:rPr lang="en-US" sz="1200" b="1" dirty="0">
                <a:solidFill>
                  <a:schemeClr val="tx1"/>
                </a:solidFill>
              </a:rPr>
              <a:t>The test for the technical expertise and previous experience threshold for Category B Step 2 (Excavators and Lowbed) will include the following: </a:t>
            </a:r>
          </a:p>
          <a:p>
            <a:endParaRPr lang="en-ZA" sz="1200" b="1" dirty="0">
              <a:solidFill>
                <a:schemeClr val="tx1"/>
              </a:solidFill>
            </a:endParaRPr>
          </a:p>
        </p:txBody>
      </p:sp>
      <p:sp>
        <p:nvSpPr>
          <p:cNvPr id="4" name="Slide Number Placeholder 3">
            <a:extLst>
              <a:ext uri="{FF2B5EF4-FFF2-40B4-BE49-F238E27FC236}">
                <a16:creationId xmlns:a16="http://schemas.microsoft.com/office/drawing/2014/main" id="{37A3C3FC-F130-5B59-5ADD-76D6AF9F4EDD}"/>
              </a:ext>
            </a:extLst>
          </p:cNvPr>
          <p:cNvSpPr>
            <a:spLocks noGrp="1"/>
          </p:cNvSpPr>
          <p:nvPr>
            <p:ph type="sldNum" sz="quarter" idx="10"/>
          </p:nvPr>
        </p:nvSpPr>
        <p:spPr/>
        <p:txBody>
          <a:bodyPr/>
          <a:lstStyle/>
          <a:p>
            <a:pPr>
              <a:defRPr/>
            </a:pPr>
            <a:fld id="{C540CCFC-6BA4-4ACE-929C-A4BCE2E55EAC}" type="slidenum">
              <a:rPr lang="en-US" altLang="en-US" smtClean="0"/>
              <a:pPr>
                <a:defRPr/>
              </a:pPr>
              <a:t>13</a:t>
            </a:fld>
            <a:endParaRPr lang="en-US" altLang="en-US"/>
          </a:p>
        </p:txBody>
      </p:sp>
      <p:graphicFrame>
        <p:nvGraphicFramePr>
          <p:cNvPr id="5" name="Table 4">
            <a:extLst>
              <a:ext uri="{FF2B5EF4-FFF2-40B4-BE49-F238E27FC236}">
                <a16:creationId xmlns:a16="http://schemas.microsoft.com/office/drawing/2014/main" id="{EB8EE480-8312-93A1-D284-EB401AD41340}"/>
              </a:ext>
            </a:extLst>
          </p:cNvPr>
          <p:cNvGraphicFramePr>
            <a:graphicFrameLocks noGrp="1"/>
          </p:cNvGraphicFramePr>
          <p:nvPr>
            <p:extLst>
              <p:ext uri="{D42A27DB-BD31-4B8C-83A1-F6EECF244321}">
                <p14:modId xmlns:p14="http://schemas.microsoft.com/office/powerpoint/2010/main" val="248170096"/>
              </p:ext>
            </p:extLst>
          </p:nvPr>
        </p:nvGraphicFramePr>
        <p:xfrm>
          <a:off x="1163882" y="1991208"/>
          <a:ext cx="9367520" cy="2336952"/>
        </p:xfrm>
        <a:graphic>
          <a:graphicData uri="http://schemas.openxmlformats.org/drawingml/2006/table">
            <a:tbl>
              <a:tblPr firstRow="1" firstCol="1" bandRow="1">
                <a:tableStyleId>{5C22544A-7EE6-4342-B048-85BDC9FD1C3A}</a:tableStyleId>
              </a:tblPr>
              <a:tblGrid>
                <a:gridCol w="7206765">
                  <a:extLst>
                    <a:ext uri="{9D8B030D-6E8A-4147-A177-3AD203B41FA5}">
                      <a16:colId xmlns:a16="http://schemas.microsoft.com/office/drawing/2014/main" val="2799399847"/>
                    </a:ext>
                  </a:extLst>
                </a:gridCol>
                <a:gridCol w="2160755">
                  <a:extLst>
                    <a:ext uri="{9D8B030D-6E8A-4147-A177-3AD203B41FA5}">
                      <a16:colId xmlns:a16="http://schemas.microsoft.com/office/drawing/2014/main" val="493411051"/>
                    </a:ext>
                  </a:extLst>
                </a:gridCol>
              </a:tblGrid>
              <a:tr h="355600">
                <a:tc>
                  <a:txBody>
                    <a:bodyPr/>
                    <a:lstStyle/>
                    <a:p>
                      <a:pPr algn="l">
                        <a:lnSpc>
                          <a:spcPct val="150000"/>
                        </a:lnSpc>
                        <a:spcBef>
                          <a:spcPts val="300"/>
                        </a:spcBef>
                        <a:buNone/>
                      </a:pPr>
                      <a:r>
                        <a:rPr lang="en-GB" sz="1200" dirty="0">
                          <a:effectLst/>
                        </a:rPr>
                        <a:t>Technical Evaluation Criteria: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l">
                        <a:lnSpc>
                          <a:spcPct val="150000"/>
                        </a:lnSpc>
                        <a:spcBef>
                          <a:spcPts val="300"/>
                        </a:spcBef>
                        <a:buNone/>
                      </a:pPr>
                      <a:r>
                        <a:rPr lang="en-GB" sz="1200">
                          <a:effectLst/>
                        </a:rPr>
                        <a:t>Points Weightings</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885951101"/>
                  </a:ext>
                </a:extLst>
              </a:tr>
              <a:tr h="359583">
                <a:tc>
                  <a:txBody>
                    <a:bodyPr/>
                    <a:lstStyle/>
                    <a:p>
                      <a:pPr algn="just">
                        <a:lnSpc>
                          <a:spcPct val="150000"/>
                        </a:lnSpc>
                        <a:spcBef>
                          <a:spcPts val="300"/>
                        </a:spcBef>
                        <a:buNone/>
                      </a:pPr>
                      <a:r>
                        <a:rPr lang="en-GB" sz="1200">
                          <a:effectLst/>
                        </a:rPr>
                        <a:t>Training Capability and Capacity </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200">
                          <a:effectLst/>
                        </a:rPr>
                        <a:t>25%</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699875669"/>
                  </a:ext>
                </a:extLst>
              </a:tr>
              <a:tr h="359583">
                <a:tc>
                  <a:txBody>
                    <a:bodyPr/>
                    <a:lstStyle/>
                    <a:p>
                      <a:pPr algn="l">
                        <a:lnSpc>
                          <a:spcPct val="150000"/>
                        </a:lnSpc>
                        <a:spcBef>
                          <a:spcPts val="300"/>
                        </a:spcBef>
                        <a:buNone/>
                      </a:pPr>
                      <a:r>
                        <a:rPr lang="en-GB" sz="1200">
                          <a:effectLst/>
                        </a:rPr>
                        <a:t>Company’s previous work experience with similar scope</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200">
                          <a:effectLst/>
                        </a:rPr>
                        <a:t>15%</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5500407"/>
                  </a:ext>
                </a:extLst>
              </a:tr>
              <a:tr h="347634">
                <a:tc>
                  <a:txBody>
                    <a:bodyPr/>
                    <a:lstStyle/>
                    <a:p>
                      <a:pPr algn="l">
                        <a:lnSpc>
                          <a:spcPct val="150000"/>
                        </a:lnSpc>
                        <a:spcBef>
                          <a:spcPts val="300"/>
                        </a:spcBef>
                        <a:buNone/>
                      </a:pPr>
                      <a:r>
                        <a:rPr lang="en-GB" sz="1200">
                          <a:effectLst/>
                        </a:rPr>
                        <a:t>Capability, knowledge and individual experience of key personnel involved in project.</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200">
                          <a:effectLst/>
                        </a:rPr>
                        <a:t>25%</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47892988"/>
                  </a:ext>
                </a:extLst>
              </a:tr>
              <a:tr h="357767">
                <a:tc>
                  <a:txBody>
                    <a:bodyPr/>
                    <a:lstStyle/>
                    <a:p>
                      <a:pPr algn="l">
                        <a:lnSpc>
                          <a:spcPct val="150000"/>
                        </a:lnSpc>
                        <a:spcBef>
                          <a:spcPts val="300"/>
                        </a:spcBef>
                        <a:buNone/>
                      </a:pPr>
                      <a:r>
                        <a:rPr lang="en-GB" sz="1200">
                          <a:effectLst/>
                        </a:rPr>
                        <a:t>Equipment Compatibility</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200">
                          <a:effectLst/>
                        </a:rPr>
                        <a:t>35%</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499063994"/>
                  </a:ext>
                </a:extLst>
              </a:tr>
              <a:tr h="269281">
                <a:tc>
                  <a:txBody>
                    <a:bodyPr/>
                    <a:lstStyle/>
                    <a:p>
                      <a:pPr algn="l">
                        <a:lnSpc>
                          <a:spcPct val="150000"/>
                        </a:lnSpc>
                        <a:spcBef>
                          <a:spcPts val="300"/>
                        </a:spcBef>
                        <a:buNone/>
                      </a:pPr>
                      <a:r>
                        <a:rPr lang="en-GB" sz="1200">
                          <a:effectLst/>
                        </a:rPr>
                        <a:t>Total Weighting:</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200">
                          <a:effectLst/>
                        </a:rPr>
                        <a:t>100%</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089958131"/>
                  </a:ext>
                </a:extLst>
              </a:tr>
              <a:tr h="287504">
                <a:tc>
                  <a:txBody>
                    <a:bodyPr/>
                    <a:lstStyle/>
                    <a:p>
                      <a:pPr algn="l">
                        <a:lnSpc>
                          <a:spcPct val="150000"/>
                        </a:lnSpc>
                        <a:spcBef>
                          <a:spcPts val="300"/>
                        </a:spcBef>
                        <a:buNone/>
                      </a:pPr>
                      <a:r>
                        <a:rPr lang="en-GB" sz="1200">
                          <a:effectLst/>
                        </a:rPr>
                        <a:t>Minimum qualifying score required:</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200" dirty="0">
                          <a:effectLst/>
                        </a:rPr>
                        <a:t>60%</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79557486"/>
                  </a:ext>
                </a:extLst>
              </a:tr>
            </a:tbl>
          </a:graphicData>
        </a:graphic>
      </p:graphicFrame>
      <p:sp>
        <p:nvSpPr>
          <p:cNvPr id="7" name="TextBox 6">
            <a:extLst>
              <a:ext uri="{FF2B5EF4-FFF2-40B4-BE49-F238E27FC236}">
                <a16:creationId xmlns:a16="http://schemas.microsoft.com/office/drawing/2014/main" id="{527BF524-920A-2E05-C2FB-B74B6FAB433B}"/>
              </a:ext>
            </a:extLst>
          </p:cNvPr>
          <p:cNvSpPr txBox="1"/>
          <p:nvPr/>
        </p:nvSpPr>
        <p:spPr>
          <a:xfrm>
            <a:off x="1163882" y="5403022"/>
            <a:ext cx="9666678" cy="608693"/>
          </a:xfrm>
          <a:prstGeom prst="rect">
            <a:avLst/>
          </a:prstGeom>
          <a:noFill/>
        </p:spPr>
        <p:txBody>
          <a:bodyPr wrap="square">
            <a:spAutoFit/>
          </a:bodyPr>
          <a:lstStyle/>
          <a:p>
            <a:pPr algn="just">
              <a:lnSpc>
                <a:spcPct val="150000"/>
              </a:lnSpc>
              <a:spcBef>
                <a:spcPts val="600"/>
              </a:spcBef>
              <a:buNone/>
            </a:pPr>
            <a:r>
              <a:rPr lang="en-GB" sz="1200" i="1" dirty="0">
                <a:effectLst/>
                <a:latin typeface="Tahoma" panose="020B0604030504040204" pitchFamily="34" charset="0"/>
                <a:ea typeface="Times New Roman" panose="02020603050405020304" pitchFamily="18" charset="0"/>
                <a:cs typeface="Tahoma" panose="020B0604030504040204" pitchFamily="34" charset="0"/>
              </a:rPr>
              <a:t>Respondents are to note that Transnet will round off final technical scores to the nearest 2 (two) decimal places for the purposes of determining whether the technical threshold has been met.</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510212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521921-02D3-16F7-AFBA-5EF4BC2C0398}"/>
              </a:ext>
            </a:extLst>
          </p:cNvPr>
          <p:cNvSpPr/>
          <p:nvPr/>
        </p:nvSpPr>
        <p:spPr>
          <a:xfrm>
            <a:off x="0" y="0"/>
            <a:ext cx="12192000" cy="6858000"/>
          </a:xfrm>
          <a:prstGeom prst="rect">
            <a:avLst/>
          </a:prstGeom>
          <a:solidFill>
            <a:schemeClr val="bg1">
              <a:lumMod val="95000"/>
              <a:alpha val="36789"/>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5" name="Freeform 4">
            <a:extLst>
              <a:ext uri="{FF2B5EF4-FFF2-40B4-BE49-F238E27FC236}">
                <a16:creationId xmlns:a16="http://schemas.microsoft.com/office/drawing/2014/main" id="{1F54FC13-02AE-90E1-C564-F0EE8DD75D6F}"/>
              </a:ext>
            </a:extLst>
          </p:cNvPr>
          <p:cNvSpPr/>
          <p:nvPr/>
        </p:nvSpPr>
        <p:spPr>
          <a:xfrm>
            <a:off x="-4437" y="0"/>
            <a:ext cx="12196437" cy="6880475"/>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62171"/>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2" name="Freeform 1">
            <a:extLst>
              <a:ext uri="{FF2B5EF4-FFF2-40B4-BE49-F238E27FC236}">
                <a16:creationId xmlns:a16="http://schemas.microsoft.com/office/drawing/2014/main" id="{3BB95173-D454-AF97-C95E-3E044B9B7FE4}"/>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3" name="Rectangle 2">
            <a:extLst>
              <a:ext uri="{FF2B5EF4-FFF2-40B4-BE49-F238E27FC236}">
                <a16:creationId xmlns:a16="http://schemas.microsoft.com/office/drawing/2014/main" id="{E8839E4A-A270-8325-7BE7-18C3F3F11C29}"/>
              </a:ext>
            </a:extLst>
          </p:cNvPr>
          <p:cNvSpPr/>
          <p:nvPr/>
        </p:nvSpPr>
        <p:spPr>
          <a:xfrm>
            <a:off x="11588593" y="6534855"/>
            <a:ext cx="520704" cy="214315"/>
          </a:xfrm>
          <a:prstGeom prst="rect">
            <a:avLst/>
          </a:prstGeom>
        </p:spPr>
        <p:txBody>
          <a:bodyPr vert="horz" lIns="0" tIns="0" rIns="0" bIns="46012" rtlCol="0" anchor="b"/>
          <a:lstStyle/>
          <a:p>
            <a:pPr marL="0" marR="0" lvl="0" indent="0" algn="r" defTabSz="457200" rtl="0" eaLnBrk="1" fontAlgn="auto" latinLnBrk="0" hangingPunct="1">
              <a:lnSpc>
                <a:spcPct val="100000"/>
              </a:lnSpc>
              <a:spcBef>
                <a:spcPts val="0"/>
              </a:spcBef>
              <a:spcAft>
                <a:spcPts val="0"/>
              </a:spcAft>
              <a:buClrTx/>
              <a:buSzTx/>
              <a:buFontTx/>
              <a:buNone/>
              <a:tabLst/>
              <a:defRPr/>
            </a:pPr>
            <a:fld id="{6ED65CF5-D76E-45E1-818D-9A8AC32524F3}" type="slidenum">
              <a:rPr kumimoji="0" lang="en-ZA" sz="900" b="1"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ZA" sz="767" b="1" i="0" u="none" strike="noStrike" kern="1200" cap="none" spc="0" normalizeH="0" baseline="0" noProof="0" dirty="0">
              <a:ln>
                <a:noFill/>
              </a:ln>
              <a:solidFill>
                <a:srgbClr val="FFFFFF"/>
              </a:solidFill>
              <a:effectLst/>
              <a:uLnTx/>
              <a:uFillTx/>
              <a:latin typeface="Tahoma"/>
              <a:ea typeface="+mn-ea"/>
              <a:cs typeface="+mn-cs"/>
            </a:endParaRPr>
          </a:p>
        </p:txBody>
      </p:sp>
      <p:pic>
        <p:nvPicPr>
          <p:cNvPr id="4" name="Picture 3">
            <a:extLst>
              <a:ext uri="{FF2B5EF4-FFF2-40B4-BE49-F238E27FC236}">
                <a16:creationId xmlns:a16="http://schemas.microsoft.com/office/drawing/2014/main" id="{02B1984C-F51E-C80D-FE4C-C4F9255394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11" name="Title 520">
            <a:extLst>
              <a:ext uri="{FF2B5EF4-FFF2-40B4-BE49-F238E27FC236}">
                <a16:creationId xmlns:a16="http://schemas.microsoft.com/office/drawing/2014/main" id="{6AEC1638-28F3-6F55-DF6F-C9CA11247ECE}"/>
              </a:ext>
            </a:extLst>
          </p:cNvPr>
          <p:cNvSpPr>
            <a:spLocks noGrp="1"/>
          </p:cNvSpPr>
          <p:nvPr>
            <p:ph type="title"/>
          </p:nvPr>
        </p:nvSpPr>
        <p:spPr>
          <a:xfrm>
            <a:off x="1554480" y="1520018"/>
            <a:ext cx="9351575" cy="2400657"/>
          </a:xfrm>
        </p:spPr>
        <p:txBody>
          <a:bodyPr/>
          <a:lstStyle/>
          <a:p>
            <a:pPr algn="l">
              <a:lnSpc>
                <a:spcPts val="6000"/>
              </a:lnSpc>
              <a:tabLst>
                <a:tab pos="4787900" algn="l"/>
              </a:tabLst>
            </a:pPr>
            <a:r>
              <a:rPr lang="en-US" dirty="0">
                <a:solidFill>
                  <a:schemeClr val="bg1"/>
                </a:solidFill>
              </a:rPr>
              <a:t>Technical: Briefing Session</a:t>
            </a:r>
            <a:br>
              <a:rPr lang="en-US" dirty="0">
                <a:solidFill>
                  <a:schemeClr val="bg1"/>
                </a:solidFill>
              </a:rPr>
            </a:br>
            <a:r>
              <a:rPr lang="en-US" dirty="0">
                <a:solidFill>
                  <a:schemeClr val="bg1"/>
                </a:solidFill>
              </a:rPr>
              <a:t>RECOVERY (TRACK BULLDOZERS</a:t>
            </a:r>
          </a:p>
        </p:txBody>
      </p:sp>
      <p:sp>
        <p:nvSpPr>
          <p:cNvPr id="12" name="Text Placeholder 521">
            <a:extLst>
              <a:ext uri="{FF2B5EF4-FFF2-40B4-BE49-F238E27FC236}">
                <a16:creationId xmlns:a16="http://schemas.microsoft.com/office/drawing/2014/main" id="{3B5E12DC-64D2-45C3-F3B8-46595D8598CD}"/>
              </a:ext>
            </a:extLst>
          </p:cNvPr>
          <p:cNvSpPr>
            <a:spLocks noGrp="1"/>
          </p:cNvSpPr>
          <p:nvPr>
            <p:ph type="body" sz="quarter" idx="13"/>
          </p:nvPr>
        </p:nvSpPr>
        <p:spPr>
          <a:xfrm>
            <a:off x="10047711" y="5957455"/>
            <a:ext cx="1716688" cy="468572"/>
          </a:xfrm>
        </p:spPr>
        <p:txBody>
          <a:bodyPr/>
          <a:lstStyle/>
          <a:p>
            <a:pPr marL="0" marR="0" lvl="0" indent="0" defTabSz="457200" rtl="0" eaLnBrk="1" fontAlgn="auto" latinLnBrk="0" hangingPunct="1">
              <a:lnSpc>
                <a:spcPct val="100000"/>
              </a:lnSpc>
              <a:spcBef>
                <a:spcPts val="0"/>
              </a:spcBef>
              <a:spcAft>
                <a:spcPts val="0"/>
              </a:spcAft>
              <a:buClrTx/>
              <a:buSzTx/>
              <a:buFontTx/>
              <a:buNone/>
              <a:tabLst/>
              <a:defRPr/>
            </a:pPr>
            <a:r>
              <a:rPr lang="en-US" dirty="0">
                <a:solidFill>
                  <a:srgbClr val="FFFFFF"/>
                </a:solidFill>
              </a:rPr>
              <a:t>2</a:t>
            </a:r>
            <a:r>
              <a:rPr kumimoji="0" lang="en-US" sz="1800" u="none" strike="noStrike" kern="1200" cap="none" spc="0" normalizeH="0" baseline="0" noProof="0" dirty="0">
                <a:ln>
                  <a:noFill/>
                </a:ln>
                <a:solidFill>
                  <a:srgbClr val="FFFFFF"/>
                </a:solidFill>
                <a:effectLst/>
                <a:uLnTx/>
                <a:uFillTx/>
              </a:rPr>
              <a:t>1 January 2025</a:t>
            </a:r>
          </a:p>
        </p:txBody>
      </p:sp>
    </p:spTree>
    <p:extLst>
      <p:ext uri="{BB962C8B-B14F-4D97-AF65-F5344CB8AC3E}">
        <p14:creationId xmlns:p14="http://schemas.microsoft.com/office/powerpoint/2010/main" val="910211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41892" y="1106617"/>
            <a:ext cx="10288175" cy="5012462"/>
          </a:xfrm>
          <a:prstGeom prst="rect">
            <a:avLst/>
          </a:prstGeom>
          <a:ln>
            <a:solidFill>
              <a:srgbClr val="0098AF"/>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dirty="0">
              <a:ln>
                <a:noFill/>
              </a:ln>
              <a:solidFill>
                <a:srgbClr val="000000"/>
              </a:solidFill>
              <a:effectLst/>
              <a:uLnTx/>
              <a:uFillTx/>
              <a:latin typeface="Tahoma" panose="020B0604030504040204" pitchFamily="34" charset="0"/>
              <a:ea typeface="+mn-ea"/>
              <a:cs typeface="+mn-cs"/>
            </a:endParaRPr>
          </a:p>
          <a:p>
            <a:pPr marL="217742" marR="0" lvl="0" indent="-217742"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71512"/>
                </a:solidFill>
                <a:effectLst/>
                <a:uLnTx/>
                <a:uFillTx/>
                <a:latin typeface="Tahoma"/>
                <a:ea typeface="+mn-ea"/>
                <a:cs typeface="+mn-cs"/>
              </a:rPr>
              <a:t>Transnet Freight Rail (TFR) is a division of Transnet, South Africa's state-owned freight transport and logistics company. Its main role is to manage and operate the freight rail services in South Africa. TFR is divided into Coal, Iron Ore, MMC, Manganese, ABL/CAB and SAC business units (BU’s). The 6 BU’s are responsible for transporting a variety of goods across the country, ranging from minerals, coal, and agricultural products, among others. All the 6 TFR BU’s are responsible for moving specified tonnages yearly, taking the 2022/2023 FY target was 202mtpa and only achieved 149 Mtpa. In the 2023/2024 FY, TFR target was 194mtpa and only 151mtpa was achieved.</a:t>
            </a:r>
          </a:p>
          <a:p>
            <a:pPr marR="0" lvl="0" algn="l" defTabSz="4572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171512"/>
              </a:solidFill>
              <a:effectLst/>
              <a:uLnTx/>
              <a:uFillTx/>
              <a:latin typeface="Tahoma"/>
              <a:ea typeface="+mn-ea"/>
              <a:cs typeface="+mn-cs"/>
            </a:endParaRPr>
          </a:p>
          <a:p>
            <a:pPr marL="217742" marR="0" lvl="0" indent="-217742"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71512"/>
                </a:solidFill>
                <a:effectLst/>
                <a:uLnTx/>
                <a:uFillTx/>
                <a:latin typeface="Tahoma"/>
                <a:ea typeface="+mn-ea"/>
                <a:cs typeface="+mn-cs"/>
              </a:rPr>
              <a:t>TFR did not meet the specified target due to various factors including derailment, cable theft, network, locomotive failure, among other operational disruptions. For this project, the focus will be on improving Transnet Engineering (TE) response time during derailment recovery. In TFR, derailment refers to the situation where a train goes off its rail tracks. This can happen due to a variety of factors, such as track defects, equipment failure, or human error, and it often leads to significant disruptions and potential hazards which leads to loss of tonnages due to downtime experienced. When derailment occurs, rail operations on the affected section need to be stopped until the incident is investigated, cleared and track restored to operational standard. On the clearance, TFR is depended on TE to deploy the breakdown (recovery) equipment(s) to the site and clear the rolling stock on the derailment section, which then allows Rail Network Construction (RNC) to restore the track and open the lin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endParaRPr>
          </a:p>
        </p:txBody>
      </p:sp>
      <p:sp>
        <p:nvSpPr>
          <p:cNvPr id="6" name="Rectangle 5"/>
          <p:cNvSpPr/>
          <p:nvPr/>
        </p:nvSpPr>
        <p:spPr>
          <a:xfrm>
            <a:off x="741892" y="420437"/>
            <a:ext cx="3265638" cy="37382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29" b="1"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mn-cs"/>
              </a:rPr>
              <a:t>Background of the Project</a:t>
            </a:r>
            <a:endParaRPr kumimoji="0" lang="en-ZA" sz="1372" b="0" i="0" u="none" strike="noStrike" kern="1200" cap="none" spc="0" normalizeH="0" baseline="0" noProof="0" dirty="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1681983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17670-1917-89D3-4135-C391C41982C5}"/>
              </a:ext>
            </a:extLst>
          </p:cNvPr>
          <p:cNvSpPr>
            <a:spLocks noGrp="1"/>
          </p:cNvSpPr>
          <p:nvPr>
            <p:ph type="ctrTitle"/>
          </p:nvPr>
        </p:nvSpPr>
        <p:spPr>
          <a:xfrm>
            <a:off x="375920" y="982347"/>
            <a:ext cx="10363200" cy="1470025"/>
          </a:xfrm>
        </p:spPr>
        <p:txBody>
          <a:bodyPr/>
          <a:lstStyle/>
          <a:p>
            <a:r>
              <a:rPr lang="en-US" sz="1200" dirty="0">
                <a:latin typeface="+mj-lt"/>
              </a:rPr>
              <a:t>The scope of the project is to supply and deliver already </a:t>
            </a:r>
            <a:r>
              <a:rPr lang="en-US" sz="1200" dirty="0" err="1">
                <a:latin typeface="+mj-lt"/>
              </a:rPr>
              <a:t>customised</a:t>
            </a:r>
            <a:r>
              <a:rPr lang="en-US" sz="1200" dirty="0">
                <a:latin typeface="+mj-lt"/>
              </a:rPr>
              <a:t> recovery track bulldozers and the off the shelve excavators and lowbed trailers as per the specification in Annexure A with 7 000hours/7 years fully managed maintenance plan to minimize disruption to operation and ensure prompt recovery during derailment.</a:t>
            </a:r>
            <a:endParaRPr lang="en-ZA" sz="1200" dirty="0">
              <a:latin typeface="+mj-lt"/>
            </a:endParaRPr>
          </a:p>
        </p:txBody>
      </p:sp>
      <p:sp>
        <p:nvSpPr>
          <p:cNvPr id="5" name="TextBox 4">
            <a:extLst>
              <a:ext uri="{FF2B5EF4-FFF2-40B4-BE49-F238E27FC236}">
                <a16:creationId xmlns:a16="http://schemas.microsoft.com/office/drawing/2014/main" id="{401B5D36-049C-42B5-DE3E-F555546BD4B0}"/>
              </a:ext>
            </a:extLst>
          </p:cNvPr>
          <p:cNvSpPr txBox="1"/>
          <p:nvPr/>
        </p:nvSpPr>
        <p:spPr>
          <a:xfrm>
            <a:off x="2712720" y="287774"/>
            <a:ext cx="6096000" cy="369332"/>
          </a:xfrm>
          <a:prstGeom prst="rect">
            <a:avLst/>
          </a:prstGeom>
          <a:noFill/>
        </p:spPr>
        <p:txBody>
          <a:bodyPr wrap="square">
            <a:spAutoFit/>
          </a:bodyPr>
          <a:lstStyle/>
          <a:p>
            <a:r>
              <a:rPr lang="en-ZA" b="1" dirty="0">
                <a:solidFill>
                  <a:schemeClr val="accent2"/>
                </a:solidFill>
              </a:rPr>
              <a:t>SCOPE OF REQUIREMENTS</a:t>
            </a:r>
          </a:p>
        </p:txBody>
      </p:sp>
      <p:graphicFrame>
        <p:nvGraphicFramePr>
          <p:cNvPr id="7" name="Table 6">
            <a:extLst>
              <a:ext uri="{FF2B5EF4-FFF2-40B4-BE49-F238E27FC236}">
                <a16:creationId xmlns:a16="http://schemas.microsoft.com/office/drawing/2014/main" id="{7069C7E5-67A0-0E53-65D7-8697315FAB88}"/>
              </a:ext>
            </a:extLst>
          </p:cNvPr>
          <p:cNvGraphicFramePr>
            <a:graphicFrameLocks noGrp="1"/>
          </p:cNvGraphicFramePr>
          <p:nvPr>
            <p:extLst>
              <p:ext uri="{D42A27DB-BD31-4B8C-83A1-F6EECF244321}">
                <p14:modId xmlns:p14="http://schemas.microsoft.com/office/powerpoint/2010/main" val="455398868"/>
              </p:ext>
            </p:extLst>
          </p:nvPr>
        </p:nvGraphicFramePr>
        <p:xfrm>
          <a:off x="995680" y="2039614"/>
          <a:ext cx="9641840" cy="1912625"/>
        </p:xfrm>
        <a:graphic>
          <a:graphicData uri="http://schemas.openxmlformats.org/drawingml/2006/table">
            <a:tbl>
              <a:tblPr>
                <a:tableStyleId>{5C22544A-7EE6-4342-B048-85BDC9FD1C3A}</a:tableStyleId>
              </a:tblPr>
              <a:tblGrid>
                <a:gridCol w="3998292">
                  <a:extLst>
                    <a:ext uri="{9D8B030D-6E8A-4147-A177-3AD203B41FA5}">
                      <a16:colId xmlns:a16="http://schemas.microsoft.com/office/drawing/2014/main" val="1809257146"/>
                    </a:ext>
                  </a:extLst>
                </a:gridCol>
                <a:gridCol w="1536820">
                  <a:extLst>
                    <a:ext uri="{9D8B030D-6E8A-4147-A177-3AD203B41FA5}">
                      <a16:colId xmlns:a16="http://schemas.microsoft.com/office/drawing/2014/main" val="2827182073"/>
                    </a:ext>
                  </a:extLst>
                </a:gridCol>
                <a:gridCol w="4106728">
                  <a:extLst>
                    <a:ext uri="{9D8B030D-6E8A-4147-A177-3AD203B41FA5}">
                      <a16:colId xmlns:a16="http://schemas.microsoft.com/office/drawing/2014/main" val="698139278"/>
                    </a:ext>
                  </a:extLst>
                </a:gridCol>
              </a:tblGrid>
              <a:tr h="468039">
                <a:tc>
                  <a:txBody>
                    <a:bodyPr/>
                    <a:lstStyle/>
                    <a:p>
                      <a:pPr algn="l">
                        <a:lnSpc>
                          <a:spcPct val="150000"/>
                        </a:lnSpc>
                        <a:spcBef>
                          <a:spcPts val="300"/>
                        </a:spcBef>
                        <a:buNone/>
                      </a:pPr>
                      <a:r>
                        <a:rPr lang="en-ZA" sz="1200">
                          <a:effectLst/>
                        </a:rPr>
                        <a:t>Equipment </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50000"/>
                        </a:lnSpc>
                        <a:spcBef>
                          <a:spcPts val="300"/>
                        </a:spcBef>
                        <a:buNone/>
                      </a:pPr>
                      <a:r>
                        <a:rPr lang="en-ZA" sz="1200">
                          <a:effectLst/>
                        </a:rPr>
                        <a:t>Quantity </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50000"/>
                        </a:lnSpc>
                        <a:spcBef>
                          <a:spcPts val="300"/>
                        </a:spcBef>
                        <a:buNone/>
                      </a:pPr>
                      <a:r>
                        <a:rPr lang="en-ZA" sz="1200">
                          <a:effectLst/>
                        </a:rPr>
                        <a:t>Key Deliverables </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433308926"/>
                  </a:ext>
                </a:extLst>
              </a:tr>
              <a:tr h="508508">
                <a:tc>
                  <a:txBody>
                    <a:bodyPr/>
                    <a:lstStyle/>
                    <a:p>
                      <a:pPr algn="l">
                        <a:lnSpc>
                          <a:spcPct val="150000"/>
                        </a:lnSpc>
                        <a:spcBef>
                          <a:spcPts val="300"/>
                        </a:spcBef>
                        <a:buNone/>
                      </a:pPr>
                      <a:r>
                        <a:rPr lang="en-ZA" sz="1200">
                          <a:effectLst/>
                        </a:rPr>
                        <a:t>Customised Recovery Track Bulldozer </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ZA" sz="1200">
                          <a:effectLst/>
                        </a:rPr>
                        <a:t>8</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50000"/>
                        </a:lnSpc>
                        <a:spcBef>
                          <a:spcPts val="300"/>
                        </a:spcBef>
                        <a:buNone/>
                      </a:pPr>
                      <a:r>
                        <a:rPr lang="en-ZA" sz="1200">
                          <a:effectLst/>
                        </a:rPr>
                        <a:t>Refer to the specifications attached to this document. </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40401133"/>
                  </a:ext>
                </a:extLst>
              </a:tr>
              <a:tr h="468039">
                <a:tc>
                  <a:txBody>
                    <a:bodyPr/>
                    <a:lstStyle/>
                    <a:p>
                      <a:pPr algn="l">
                        <a:lnSpc>
                          <a:spcPct val="150000"/>
                        </a:lnSpc>
                        <a:spcBef>
                          <a:spcPts val="300"/>
                        </a:spcBef>
                        <a:buNone/>
                      </a:pPr>
                      <a:r>
                        <a:rPr lang="en-ZA" sz="1200">
                          <a:effectLst/>
                        </a:rPr>
                        <a:t>Recovery Excavators (20 ton) </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ZA" sz="1200">
                          <a:effectLst/>
                        </a:rPr>
                        <a:t>6</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50000"/>
                        </a:lnSpc>
                        <a:spcBef>
                          <a:spcPts val="300"/>
                        </a:spcBef>
                        <a:buNone/>
                      </a:pPr>
                      <a:r>
                        <a:rPr lang="en-ZA" sz="1200">
                          <a:effectLst/>
                        </a:rPr>
                        <a:t>Refer to the specifications attached to this document. </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703392094"/>
                  </a:ext>
                </a:extLst>
              </a:tr>
              <a:tr h="468039">
                <a:tc>
                  <a:txBody>
                    <a:bodyPr/>
                    <a:lstStyle/>
                    <a:p>
                      <a:pPr algn="l">
                        <a:lnSpc>
                          <a:spcPct val="150000"/>
                        </a:lnSpc>
                        <a:spcBef>
                          <a:spcPts val="300"/>
                        </a:spcBef>
                        <a:buNone/>
                      </a:pPr>
                      <a:r>
                        <a:rPr lang="en-ZA" sz="1200">
                          <a:effectLst/>
                        </a:rPr>
                        <a:t>Lowbed Trailers (80 ton) </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ZA" sz="1200">
                          <a:effectLst/>
                        </a:rPr>
                        <a:t>3</a:t>
                      </a:r>
                      <a:endParaRPr lang="en-ZA" sz="12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50000"/>
                        </a:lnSpc>
                        <a:spcBef>
                          <a:spcPts val="300"/>
                        </a:spcBef>
                        <a:buNone/>
                      </a:pPr>
                      <a:r>
                        <a:rPr lang="en-ZA" sz="1200" dirty="0">
                          <a:effectLst/>
                        </a:rPr>
                        <a:t>Refer to the specifications attached to this document.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7505829"/>
                  </a:ext>
                </a:extLst>
              </a:tr>
            </a:tbl>
          </a:graphicData>
        </a:graphic>
      </p:graphicFrame>
    </p:spTree>
    <p:extLst>
      <p:ext uri="{BB962C8B-B14F-4D97-AF65-F5344CB8AC3E}">
        <p14:creationId xmlns:p14="http://schemas.microsoft.com/office/powerpoint/2010/main" val="1828244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7634762-6AA0-040F-0B2E-ED5553F29A2F}"/>
              </a:ext>
            </a:extLst>
          </p:cNvPr>
          <p:cNvSpPr txBox="1"/>
          <p:nvPr/>
        </p:nvSpPr>
        <p:spPr>
          <a:xfrm>
            <a:off x="2712720" y="287774"/>
            <a:ext cx="6096000" cy="369332"/>
          </a:xfrm>
          <a:prstGeom prst="rect">
            <a:avLst/>
          </a:prstGeom>
          <a:noFill/>
        </p:spPr>
        <p:txBody>
          <a:bodyPr wrap="square">
            <a:spAutoFit/>
          </a:bodyPr>
          <a:lstStyle/>
          <a:p>
            <a:r>
              <a:rPr lang="en-ZA" b="1" dirty="0">
                <a:solidFill>
                  <a:schemeClr val="accent2"/>
                </a:solidFill>
              </a:rPr>
              <a:t>SCOPE OF REQUIREMENTS</a:t>
            </a:r>
          </a:p>
        </p:txBody>
      </p:sp>
      <p:graphicFrame>
        <p:nvGraphicFramePr>
          <p:cNvPr id="8" name="Diagram 7">
            <a:extLst>
              <a:ext uri="{FF2B5EF4-FFF2-40B4-BE49-F238E27FC236}">
                <a16:creationId xmlns:a16="http://schemas.microsoft.com/office/drawing/2014/main" id="{2200FA7C-EA15-9CAB-2F73-6BD792DC3E85}"/>
              </a:ext>
            </a:extLst>
          </p:cNvPr>
          <p:cNvGraphicFramePr/>
          <p:nvPr>
            <p:extLst>
              <p:ext uri="{D42A27DB-BD31-4B8C-83A1-F6EECF244321}">
                <p14:modId xmlns:p14="http://schemas.microsoft.com/office/powerpoint/2010/main" val="1435267006"/>
              </p:ext>
            </p:extLst>
          </p:nvPr>
        </p:nvGraphicFramePr>
        <p:xfrm>
          <a:off x="701040" y="1219200"/>
          <a:ext cx="9662160" cy="11626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Table 6">
            <a:extLst>
              <a:ext uri="{FF2B5EF4-FFF2-40B4-BE49-F238E27FC236}">
                <a16:creationId xmlns:a16="http://schemas.microsoft.com/office/drawing/2014/main" id="{114F7823-B4FC-87AF-205E-52A4F2E1ED75}"/>
              </a:ext>
            </a:extLst>
          </p:cNvPr>
          <p:cNvGraphicFramePr>
            <a:graphicFrameLocks noGrp="1"/>
          </p:cNvGraphicFramePr>
          <p:nvPr>
            <p:extLst>
              <p:ext uri="{D42A27DB-BD31-4B8C-83A1-F6EECF244321}">
                <p14:modId xmlns:p14="http://schemas.microsoft.com/office/powerpoint/2010/main" val="1198485777"/>
              </p:ext>
            </p:extLst>
          </p:nvPr>
        </p:nvGraphicFramePr>
        <p:xfrm>
          <a:off x="701040" y="2460733"/>
          <a:ext cx="9418319" cy="4305556"/>
        </p:xfrm>
        <a:graphic>
          <a:graphicData uri="http://schemas.openxmlformats.org/drawingml/2006/table">
            <a:tbl>
              <a:tblPr>
                <a:tableStyleId>{5C22544A-7EE6-4342-B048-85BDC9FD1C3A}</a:tableStyleId>
              </a:tblPr>
              <a:tblGrid>
                <a:gridCol w="5216913">
                  <a:extLst>
                    <a:ext uri="{9D8B030D-6E8A-4147-A177-3AD203B41FA5}">
                      <a16:colId xmlns:a16="http://schemas.microsoft.com/office/drawing/2014/main" val="3777955692"/>
                    </a:ext>
                  </a:extLst>
                </a:gridCol>
                <a:gridCol w="1799071">
                  <a:extLst>
                    <a:ext uri="{9D8B030D-6E8A-4147-A177-3AD203B41FA5}">
                      <a16:colId xmlns:a16="http://schemas.microsoft.com/office/drawing/2014/main" val="76555500"/>
                    </a:ext>
                  </a:extLst>
                </a:gridCol>
                <a:gridCol w="2402335">
                  <a:extLst>
                    <a:ext uri="{9D8B030D-6E8A-4147-A177-3AD203B41FA5}">
                      <a16:colId xmlns:a16="http://schemas.microsoft.com/office/drawing/2014/main" val="2285369389"/>
                    </a:ext>
                  </a:extLst>
                </a:gridCol>
              </a:tblGrid>
              <a:tr h="267335">
                <a:tc>
                  <a:txBody>
                    <a:bodyPr/>
                    <a:lstStyle/>
                    <a:p>
                      <a:pPr algn="l">
                        <a:lnSpc>
                          <a:spcPct val="150000"/>
                        </a:lnSpc>
                        <a:spcBef>
                          <a:spcPts val="300"/>
                        </a:spcBef>
                        <a:buNone/>
                      </a:pPr>
                      <a:r>
                        <a:rPr lang="en-ZA" sz="1100">
                          <a:effectLst/>
                        </a:rPr>
                        <a:t>High Level Project Deliverables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tc>
                  <a:txBody>
                    <a:bodyPr/>
                    <a:lstStyle/>
                    <a:p>
                      <a:pPr algn="l">
                        <a:lnSpc>
                          <a:spcPct val="150000"/>
                        </a:lnSpc>
                        <a:spcBef>
                          <a:spcPts val="300"/>
                        </a:spcBef>
                        <a:buNone/>
                      </a:pPr>
                      <a:r>
                        <a:rPr lang="en-ZA" sz="1100">
                          <a:effectLst/>
                        </a:rPr>
                        <a:t>Duration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tc>
                  <a:txBody>
                    <a:bodyPr/>
                    <a:lstStyle/>
                    <a:p>
                      <a:pPr algn="l">
                        <a:lnSpc>
                          <a:spcPct val="150000"/>
                        </a:lnSpc>
                        <a:spcBef>
                          <a:spcPts val="300"/>
                        </a:spcBef>
                        <a:buNone/>
                      </a:pPr>
                      <a:r>
                        <a:rPr lang="en-ZA" sz="1100">
                          <a:effectLst/>
                        </a:rPr>
                        <a:t>Year </a:t>
                      </a:r>
                    </a:p>
                    <a:p>
                      <a:pPr algn="l">
                        <a:lnSpc>
                          <a:spcPct val="150000"/>
                        </a:lnSpc>
                        <a:spcBef>
                          <a:spcPts val="300"/>
                        </a:spcBef>
                        <a:buNone/>
                      </a:pPr>
                      <a:r>
                        <a:rPr lang="en-ZA" sz="1100">
                          <a:effectLst/>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extLst>
                  <a:ext uri="{0D108BD9-81ED-4DB2-BD59-A6C34878D82A}">
                    <a16:rowId xmlns:a16="http://schemas.microsoft.com/office/drawing/2014/main" val="335008160"/>
                  </a:ext>
                </a:extLst>
              </a:tr>
              <a:tr h="775130">
                <a:tc>
                  <a:txBody>
                    <a:bodyPr/>
                    <a:lstStyle/>
                    <a:p>
                      <a:pPr algn="l">
                        <a:lnSpc>
                          <a:spcPct val="150000"/>
                        </a:lnSpc>
                        <a:spcBef>
                          <a:spcPts val="300"/>
                        </a:spcBef>
                        <a:buNone/>
                      </a:pPr>
                      <a:r>
                        <a:rPr lang="en-ZA" sz="1100">
                          <a:effectLst/>
                        </a:rPr>
                        <a:t>1. Procurement of excavators and lowbed trailers </a:t>
                      </a:r>
                    </a:p>
                    <a:p>
                      <a:pPr marL="342900" lvl="0" indent="-342900" algn="l">
                        <a:lnSpc>
                          <a:spcPct val="150000"/>
                        </a:lnSpc>
                        <a:spcBef>
                          <a:spcPts val="300"/>
                        </a:spcBef>
                        <a:buFont typeface="+mj-lt"/>
                        <a:buAutoNum type="arabicPeriod"/>
                      </a:pPr>
                      <a:r>
                        <a:rPr lang="en-ZA" sz="1100">
                          <a:effectLst/>
                        </a:rPr>
                        <a:t>Manufacturing excavators and lowbed trailers </a:t>
                      </a:r>
                    </a:p>
                    <a:p>
                      <a:pPr marL="342900" lvl="0" indent="-342900" algn="l">
                        <a:lnSpc>
                          <a:spcPct val="150000"/>
                        </a:lnSpc>
                        <a:spcBef>
                          <a:spcPts val="300"/>
                        </a:spcBef>
                        <a:buFont typeface="+mj-lt"/>
                        <a:buAutoNum type="arabicPeriod"/>
                      </a:pPr>
                      <a:r>
                        <a:rPr lang="en-ZA" sz="1100">
                          <a:effectLst/>
                        </a:rPr>
                        <a:t>Delivery, Pretesting and commissioning of all 6 excavators and 3 lowbed trailers. </a:t>
                      </a:r>
                    </a:p>
                    <a:p>
                      <a:pPr algn="l">
                        <a:lnSpc>
                          <a:spcPct val="150000"/>
                        </a:lnSpc>
                        <a:spcBef>
                          <a:spcPts val="300"/>
                        </a:spcBef>
                        <a:buNone/>
                      </a:pPr>
                      <a:r>
                        <a:rPr lang="en-ZA" sz="1100">
                          <a:effectLst/>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tc>
                  <a:txBody>
                    <a:bodyPr/>
                    <a:lstStyle/>
                    <a:p>
                      <a:pPr algn="l">
                        <a:lnSpc>
                          <a:spcPct val="150000"/>
                        </a:lnSpc>
                        <a:spcBef>
                          <a:spcPts val="300"/>
                        </a:spcBef>
                        <a:buNone/>
                      </a:pPr>
                      <a:r>
                        <a:rPr lang="en-ZA" sz="1100">
                          <a:effectLst/>
                        </a:rPr>
                        <a:t>4 months </a:t>
                      </a:r>
                    </a:p>
                    <a:p>
                      <a:pPr algn="l">
                        <a:lnSpc>
                          <a:spcPct val="150000"/>
                        </a:lnSpc>
                        <a:spcBef>
                          <a:spcPts val="300"/>
                        </a:spcBef>
                        <a:buNone/>
                      </a:pPr>
                      <a:r>
                        <a:rPr lang="en-ZA" sz="1100">
                          <a:effectLst/>
                        </a:rPr>
                        <a:t>2 months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tc>
                  <a:txBody>
                    <a:bodyPr/>
                    <a:lstStyle/>
                    <a:p>
                      <a:pPr algn="l">
                        <a:lnSpc>
                          <a:spcPct val="150000"/>
                        </a:lnSpc>
                        <a:spcBef>
                          <a:spcPts val="300"/>
                        </a:spcBef>
                        <a:buNone/>
                      </a:pPr>
                      <a:r>
                        <a:rPr lang="en-ZA" sz="1100">
                          <a:effectLst/>
                        </a:rPr>
                        <a:t>Year 1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extLst>
                  <a:ext uri="{0D108BD9-81ED-4DB2-BD59-A6C34878D82A}">
                    <a16:rowId xmlns:a16="http://schemas.microsoft.com/office/drawing/2014/main" val="2565731007"/>
                  </a:ext>
                </a:extLst>
              </a:tr>
              <a:tr h="838581">
                <a:tc>
                  <a:txBody>
                    <a:bodyPr/>
                    <a:lstStyle/>
                    <a:p>
                      <a:pPr algn="l">
                        <a:lnSpc>
                          <a:spcPct val="150000"/>
                        </a:lnSpc>
                        <a:spcBef>
                          <a:spcPts val="300"/>
                        </a:spcBef>
                        <a:buNone/>
                      </a:pPr>
                      <a:r>
                        <a:rPr lang="en-ZA" sz="1100">
                          <a:effectLst/>
                        </a:rPr>
                        <a:t>2. Procurement of track bulldozers </a:t>
                      </a:r>
                    </a:p>
                    <a:p>
                      <a:pPr algn="l">
                        <a:lnSpc>
                          <a:spcPct val="150000"/>
                        </a:lnSpc>
                        <a:spcBef>
                          <a:spcPts val="300"/>
                        </a:spcBef>
                        <a:buNone/>
                      </a:pPr>
                      <a:r>
                        <a:rPr lang="en-ZA" sz="1100">
                          <a:effectLst/>
                        </a:rPr>
                        <a:t>Design reviews and design freeze </a:t>
                      </a:r>
                    </a:p>
                    <a:p>
                      <a:pPr algn="l">
                        <a:lnSpc>
                          <a:spcPct val="150000"/>
                        </a:lnSpc>
                        <a:spcBef>
                          <a:spcPts val="300"/>
                        </a:spcBef>
                        <a:buNone/>
                      </a:pPr>
                      <a:r>
                        <a:rPr lang="en-ZA" sz="1100">
                          <a:effectLst/>
                        </a:rPr>
                        <a:t>Manufacturing and development of the first track bulldozer </a:t>
                      </a:r>
                    </a:p>
                    <a:p>
                      <a:pPr algn="l">
                        <a:lnSpc>
                          <a:spcPct val="150000"/>
                        </a:lnSpc>
                        <a:spcBef>
                          <a:spcPts val="300"/>
                        </a:spcBef>
                        <a:buNone/>
                      </a:pPr>
                      <a:r>
                        <a:rPr lang="en-ZA" sz="1100">
                          <a:effectLst/>
                        </a:rPr>
                        <a:t>Delivery and pretesting of the first track bulldozer. </a:t>
                      </a:r>
                    </a:p>
                    <a:p>
                      <a:pPr algn="l">
                        <a:lnSpc>
                          <a:spcPct val="150000"/>
                        </a:lnSpc>
                        <a:spcBef>
                          <a:spcPts val="300"/>
                        </a:spcBef>
                        <a:buNone/>
                      </a:pPr>
                      <a:r>
                        <a:rPr lang="en-ZA" sz="1100">
                          <a:effectLst/>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tc>
                  <a:txBody>
                    <a:bodyPr/>
                    <a:lstStyle/>
                    <a:p>
                      <a:pPr algn="l">
                        <a:lnSpc>
                          <a:spcPct val="150000"/>
                        </a:lnSpc>
                        <a:spcBef>
                          <a:spcPts val="300"/>
                        </a:spcBef>
                        <a:buNone/>
                      </a:pPr>
                      <a:r>
                        <a:rPr lang="en-ZA" sz="1100">
                          <a:effectLst/>
                        </a:rPr>
                        <a:t>2 months </a:t>
                      </a:r>
                    </a:p>
                    <a:p>
                      <a:pPr algn="l">
                        <a:lnSpc>
                          <a:spcPct val="150000"/>
                        </a:lnSpc>
                        <a:spcBef>
                          <a:spcPts val="300"/>
                        </a:spcBef>
                        <a:buNone/>
                      </a:pPr>
                      <a:r>
                        <a:rPr lang="en-ZA" sz="1100">
                          <a:effectLst/>
                        </a:rPr>
                        <a:t>5 months </a:t>
                      </a:r>
                    </a:p>
                    <a:p>
                      <a:pPr algn="l">
                        <a:lnSpc>
                          <a:spcPct val="150000"/>
                        </a:lnSpc>
                        <a:spcBef>
                          <a:spcPts val="300"/>
                        </a:spcBef>
                        <a:buNone/>
                      </a:pPr>
                      <a:r>
                        <a:rPr lang="en-ZA" sz="1100">
                          <a:effectLst/>
                        </a:rPr>
                        <a:t>3 Months </a:t>
                      </a:r>
                    </a:p>
                    <a:p>
                      <a:pPr algn="l">
                        <a:lnSpc>
                          <a:spcPct val="150000"/>
                        </a:lnSpc>
                        <a:spcBef>
                          <a:spcPts val="300"/>
                        </a:spcBef>
                        <a:buNone/>
                      </a:pPr>
                      <a:r>
                        <a:rPr lang="en-ZA" sz="1100">
                          <a:effectLst/>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tc>
                  <a:txBody>
                    <a:bodyPr/>
                    <a:lstStyle/>
                    <a:p>
                      <a:pPr algn="l">
                        <a:lnSpc>
                          <a:spcPct val="150000"/>
                        </a:lnSpc>
                        <a:spcBef>
                          <a:spcPts val="300"/>
                        </a:spcBef>
                        <a:buNone/>
                      </a:pPr>
                      <a:r>
                        <a:rPr lang="en-ZA" sz="1100">
                          <a:effectLst/>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extLst>
                  <a:ext uri="{0D108BD9-81ED-4DB2-BD59-A6C34878D82A}">
                    <a16:rowId xmlns:a16="http://schemas.microsoft.com/office/drawing/2014/main" val="1856602961"/>
                  </a:ext>
                </a:extLst>
              </a:tr>
              <a:tr h="854983">
                <a:tc>
                  <a:txBody>
                    <a:bodyPr/>
                    <a:lstStyle/>
                    <a:p>
                      <a:pPr algn="l">
                        <a:lnSpc>
                          <a:spcPct val="150000"/>
                        </a:lnSpc>
                        <a:spcBef>
                          <a:spcPts val="300"/>
                        </a:spcBef>
                        <a:buNone/>
                      </a:pPr>
                      <a:r>
                        <a:rPr lang="en-ZA" sz="1100">
                          <a:effectLst/>
                        </a:rPr>
                        <a:t>Manufacturing all track bulldozers </a:t>
                      </a:r>
                    </a:p>
                    <a:p>
                      <a:pPr marL="342900" lvl="0" indent="-342900" algn="l">
                        <a:lnSpc>
                          <a:spcPct val="150000"/>
                        </a:lnSpc>
                        <a:spcBef>
                          <a:spcPts val="300"/>
                        </a:spcBef>
                        <a:buFont typeface="+mj-lt"/>
                        <a:buAutoNum type="arabicPeriod"/>
                      </a:pPr>
                      <a:r>
                        <a:rPr lang="en-ZA" sz="1100">
                          <a:effectLst/>
                        </a:rPr>
                        <a:t>Pretesting and commissioning </a:t>
                      </a:r>
                    </a:p>
                    <a:p>
                      <a:pPr marL="342900" lvl="0" indent="-342900" algn="l">
                        <a:lnSpc>
                          <a:spcPct val="150000"/>
                        </a:lnSpc>
                        <a:spcBef>
                          <a:spcPts val="300"/>
                        </a:spcBef>
                        <a:buFont typeface="+mj-lt"/>
                        <a:buAutoNum type="arabicPeriod"/>
                      </a:pPr>
                      <a:r>
                        <a:rPr lang="en-ZA" sz="1100">
                          <a:effectLst/>
                        </a:rPr>
                        <a:t>Handover of all track bulldozers </a:t>
                      </a:r>
                    </a:p>
                    <a:p>
                      <a:pPr algn="l">
                        <a:lnSpc>
                          <a:spcPct val="150000"/>
                        </a:lnSpc>
                        <a:spcBef>
                          <a:spcPts val="300"/>
                        </a:spcBef>
                        <a:buNone/>
                      </a:pPr>
                      <a:r>
                        <a:rPr lang="en-ZA" sz="1100">
                          <a:effectLst/>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tc>
                  <a:txBody>
                    <a:bodyPr/>
                    <a:lstStyle/>
                    <a:p>
                      <a:pPr algn="l">
                        <a:lnSpc>
                          <a:spcPct val="150000"/>
                        </a:lnSpc>
                        <a:spcBef>
                          <a:spcPts val="300"/>
                        </a:spcBef>
                        <a:buNone/>
                      </a:pPr>
                      <a:r>
                        <a:rPr lang="en-ZA" sz="1100">
                          <a:effectLst/>
                        </a:rPr>
                        <a:t>7 months </a:t>
                      </a:r>
                    </a:p>
                    <a:p>
                      <a:pPr algn="l">
                        <a:lnSpc>
                          <a:spcPct val="150000"/>
                        </a:lnSpc>
                        <a:spcBef>
                          <a:spcPts val="300"/>
                        </a:spcBef>
                        <a:buNone/>
                      </a:pPr>
                      <a:r>
                        <a:rPr lang="en-ZA" sz="1100">
                          <a:effectLst/>
                        </a:rPr>
                        <a:t>3 Months </a:t>
                      </a:r>
                    </a:p>
                    <a:p>
                      <a:pPr algn="l">
                        <a:lnSpc>
                          <a:spcPct val="150000"/>
                        </a:lnSpc>
                        <a:spcBef>
                          <a:spcPts val="300"/>
                        </a:spcBef>
                        <a:buNone/>
                      </a:pPr>
                      <a:r>
                        <a:rPr lang="en-ZA" sz="1100">
                          <a:effectLst/>
                        </a:rPr>
                        <a:t>2 Months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tc>
                  <a:txBody>
                    <a:bodyPr/>
                    <a:lstStyle/>
                    <a:p>
                      <a:pPr algn="l">
                        <a:lnSpc>
                          <a:spcPct val="150000"/>
                        </a:lnSpc>
                        <a:spcBef>
                          <a:spcPts val="300"/>
                        </a:spcBef>
                        <a:buNone/>
                      </a:pPr>
                      <a:r>
                        <a:rPr lang="en-ZA" sz="1100" dirty="0">
                          <a:effectLst/>
                        </a:rPr>
                        <a:t>Year 2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4482" marR="64482" marT="0" marB="0"/>
                </a:tc>
                <a:extLst>
                  <a:ext uri="{0D108BD9-81ED-4DB2-BD59-A6C34878D82A}">
                    <a16:rowId xmlns:a16="http://schemas.microsoft.com/office/drawing/2014/main" val="1156308921"/>
                  </a:ext>
                </a:extLst>
              </a:tr>
            </a:tbl>
          </a:graphicData>
        </a:graphic>
      </p:graphicFrame>
    </p:spTree>
    <p:extLst>
      <p:ext uri="{BB962C8B-B14F-4D97-AF65-F5344CB8AC3E}">
        <p14:creationId xmlns:p14="http://schemas.microsoft.com/office/powerpoint/2010/main" val="6941730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9D1AB9-3713-EF16-6036-17A52E922332}"/>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EB329AF1-9951-A52D-F0F5-D696BF8877A1}"/>
              </a:ext>
            </a:extLst>
          </p:cNvPr>
          <p:cNvSpPr/>
          <p:nvPr/>
        </p:nvSpPr>
        <p:spPr>
          <a:xfrm>
            <a:off x="1412452" y="426255"/>
            <a:ext cx="3358612" cy="37382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29" b="1"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mn-cs"/>
              </a:rPr>
              <a:t>Recovery Track Bulldozers </a:t>
            </a:r>
            <a:endParaRPr kumimoji="0" lang="en-ZA" sz="1372" b="0" i="0" u="none" strike="noStrike" kern="1200" cap="none" spc="0" normalizeH="0" baseline="0" noProof="0" dirty="0">
              <a:ln>
                <a:noFill/>
              </a:ln>
              <a:solidFill>
                <a:srgbClr val="000000"/>
              </a:solidFill>
              <a:effectLst/>
              <a:uLnTx/>
              <a:uFillTx/>
              <a:latin typeface="Tahoma"/>
              <a:ea typeface="+mn-ea"/>
              <a:cs typeface="+mn-cs"/>
            </a:endParaRPr>
          </a:p>
        </p:txBody>
      </p:sp>
      <p:graphicFrame>
        <p:nvGraphicFramePr>
          <p:cNvPr id="7" name="Diagram 6">
            <a:extLst>
              <a:ext uri="{FF2B5EF4-FFF2-40B4-BE49-F238E27FC236}">
                <a16:creationId xmlns:a16="http://schemas.microsoft.com/office/drawing/2014/main" id="{961E44E7-30C2-D487-708B-D6AC25C0690B}"/>
              </a:ext>
            </a:extLst>
          </p:cNvPr>
          <p:cNvGraphicFramePr/>
          <p:nvPr>
            <p:extLst>
              <p:ext uri="{D42A27DB-BD31-4B8C-83A1-F6EECF244321}">
                <p14:modId xmlns:p14="http://schemas.microsoft.com/office/powerpoint/2010/main" val="1200070793"/>
              </p:ext>
            </p:extLst>
          </p:nvPr>
        </p:nvGraphicFramePr>
        <p:xfrm>
          <a:off x="457200" y="1699007"/>
          <a:ext cx="10332720" cy="30761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13847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A339E-360F-B017-754B-02D31D4FDB26}"/>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4EAE973B-B115-5B3D-B62C-85D43B6A7A74}"/>
              </a:ext>
            </a:extLst>
          </p:cNvPr>
          <p:cNvSpPr/>
          <p:nvPr/>
        </p:nvSpPr>
        <p:spPr>
          <a:xfrm>
            <a:off x="0" y="0"/>
            <a:ext cx="12192000" cy="6858000"/>
          </a:xfrm>
          <a:prstGeom prst="rect">
            <a:avLst/>
          </a:prstGeom>
          <a:solidFill>
            <a:schemeClr val="bg1">
              <a:lumMod val="95000"/>
              <a:alpha val="36789"/>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5" name="Freeform 4">
            <a:extLst>
              <a:ext uri="{FF2B5EF4-FFF2-40B4-BE49-F238E27FC236}">
                <a16:creationId xmlns:a16="http://schemas.microsoft.com/office/drawing/2014/main" id="{5EE40996-AAF7-4059-E1F6-9CEB74099B43}"/>
              </a:ext>
            </a:extLst>
          </p:cNvPr>
          <p:cNvSpPr/>
          <p:nvPr/>
        </p:nvSpPr>
        <p:spPr>
          <a:xfrm>
            <a:off x="-4437" y="0"/>
            <a:ext cx="12196437" cy="6880475"/>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62171"/>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2" name="Freeform 1">
            <a:extLst>
              <a:ext uri="{FF2B5EF4-FFF2-40B4-BE49-F238E27FC236}">
                <a16:creationId xmlns:a16="http://schemas.microsoft.com/office/drawing/2014/main" id="{AA1236B7-2084-9CD7-3A41-F48E72BEBAD9}"/>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3" name="Rectangle 2">
            <a:extLst>
              <a:ext uri="{FF2B5EF4-FFF2-40B4-BE49-F238E27FC236}">
                <a16:creationId xmlns:a16="http://schemas.microsoft.com/office/drawing/2014/main" id="{E20BBDEE-C4BC-D4FE-48B6-10C5FF1E332D}"/>
              </a:ext>
            </a:extLst>
          </p:cNvPr>
          <p:cNvSpPr/>
          <p:nvPr/>
        </p:nvSpPr>
        <p:spPr>
          <a:xfrm>
            <a:off x="11588593" y="6534855"/>
            <a:ext cx="520704" cy="214315"/>
          </a:xfrm>
          <a:prstGeom prst="rect">
            <a:avLst/>
          </a:prstGeom>
        </p:spPr>
        <p:txBody>
          <a:bodyPr vert="horz" lIns="0" tIns="0" rIns="0" bIns="46012" rtlCol="0" anchor="b"/>
          <a:lstStyle/>
          <a:p>
            <a:pPr marL="0" marR="0" lvl="0" indent="0" algn="r" defTabSz="457200" rtl="0" eaLnBrk="1" fontAlgn="auto" latinLnBrk="0" hangingPunct="1">
              <a:lnSpc>
                <a:spcPct val="100000"/>
              </a:lnSpc>
              <a:spcBef>
                <a:spcPts val="0"/>
              </a:spcBef>
              <a:spcAft>
                <a:spcPts val="0"/>
              </a:spcAft>
              <a:buClrTx/>
              <a:buSzTx/>
              <a:buFontTx/>
              <a:buNone/>
              <a:tabLst/>
              <a:defRPr/>
            </a:pPr>
            <a:fld id="{6ED65CF5-D76E-45E1-818D-9A8AC32524F3}" type="slidenum">
              <a:rPr kumimoji="0" lang="en-ZA" sz="900" b="1"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ZA" sz="767" b="1" i="0" u="none" strike="noStrike" kern="1200" cap="none" spc="0" normalizeH="0" baseline="0" noProof="0" dirty="0">
              <a:ln>
                <a:noFill/>
              </a:ln>
              <a:solidFill>
                <a:srgbClr val="FFFFFF"/>
              </a:solidFill>
              <a:effectLst/>
              <a:uLnTx/>
              <a:uFillTx/>
              <a:latin typeface="Tahoma"/>
              <a:ea typeface="+mn-ea"/>
              <a:cs typeface="+mn-cs"/>
            </a:endParaRPr>
          </a:p>
        </p:txBody>
      </p:sp>
      <p:pic>
        <p:nvPicPr>
          <p:cNvPr id="4" name="Picture 3">
            <a:extLst>
              <a:ext uri="{FF2B5EF4-FFF2-40B4-BE49-F238E27FC236}">
                <a16:creationId xmlns:a16="http://schemas.microsoft.com/office/drawing/2014/main" id="{C85CEA5E-6933-FA8D-2191-35A60E1033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11" name="Title 520">
            <a:extLst>
              <a:ext uri="{FF2B5EF4-FFF2-40B4-BE49-F238E27FC236}">
                <a16:creationId xmlns:a16="http://schemas.microsoft.com/office/drawing/2014/main" id="{CA91CDE9-46B6-8FC9-3E49-3D1089BF3FE4}"/>
              </a:ext>
            </a:extLst>
          </p:cNvPr>
          <p:cNvSpPr>
            <a:spLocks noGrp="1"/>
          </p:cNvSpPr>
          <p:nvPr>
            <p:ph type="title"/>
          </p:nvPr>
        </p:nvSpPr>
        <p:spPr>
          <a:xfrm>
            <a:off x="1249680" y="1520016"/>
            <a:ext cx="9966960" cy="2400657"/>
          </a:xfrm>
        </p:spPr>
        <p:txBody>
          <a:bodyPr/>
          <a:lstStyle/>
          <a:p>
            <a:pPr algn="l">
              <a:lnSpc>
                <a:spcPts val="6000"/>
              </a:lnSpc>
              <a:tabLst>
                <a:tab pos="4787900" algn="l"/>
              </a:tabLst>
            </a:pPr>
            <a:r>
              <a:rPr lang="en-US" dirty="0">
                <a:solidFill>
                  <a:schemeClr val="bg1"/>
                </a:solidFill>
              </a:rPr>
              <a:t>Recovery Excavators and </a:t>
            </a:r>
            <a:br>
              <a:rPr lang="en-US" dirty="0">
                <a:solidFill>
                  <a:schemeClr val="bg1"/>
                </a:solidFill>
              </a:rPr>
            </a:br>
            <a:br>
              <a:rPr lang="en-US" dirty="0">
                <a:solidFill>
                  <a:schemeClr val="bg1"/>
                </a:solidFill>
              </a:rPr>
            </a:br>
            <a:r>
              <a:rPr lang="en-US" dirty="0">
                <a:solidFill>
                  <a:schemeClr val="bg1"/>
                </a:solidFill>
              </a:rPr>
              <a:t>Lowbed Trailers</a:t>
            </a:r>
          </a:p>
        </p:txBody>
      </p:sp>
    </p:spTree>
    <p:extLst>
      <p:ext uri="{BB962C8B-B14F-4D97-AF65-F5344CB8AC3E}">
        <p14:creationId xmlns:p14="http://schemas.microsoft.com/office/powerpoint/2010/main" val="10104177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51" name="Object 50"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9" name="Title 1"/>
          <p:cNvSpPr>
            <a:spLocks noGrp="1"/>
          </p:cNvSpPr>
          <p:nvPr>
            <p:ph type="title"/>
          </p:nvPr>
        </p:nvSpPr>
        <p:spPr>
          <a:xfrm>
            <a:off x="1772246" y="871696"/>
            <a:ext cx="2507348" cy="747480"/>
          </a:xfrm>
        </p:spPr>
        <p:txBody>
          <a:bodyPr/>
          <a:lstStyle/>
          <a:p>
            <a:r>
              <a:rPr lang="en-US" sz="2000" spc="3" dirty="0">
                <a:solidFill>
                  <a:schemeClr val="bg1">
                    <a:lumMod val="50000"/>
                  </a:schemeClr>
                </a:solidFill>
              </a:rPr>
              <a:t>Table of Contents</a:t>
            </a:r>
            <a:endParaRPr lang="en-ZA" sz="2000" dirty="0">
              <a:solidFill>
                <a:schemeClr val="tx1"/>
              </a:solidFill>
            </a:endParaRPr>
          </a:p>
        </p:txBody>
      </p:sp>
      <p:sp>
        <p:nvSpPr>
          <p:cNvPr id="43" name="자유형: 도형 52">
            <a:extLst>
              <a:ext uri="{FF2B5EF4-FFF2-40B4-BE49-F238E27FC236}">
                <a16:creationId xmlns:a16="http://schemas.microsoft.com/office/drawing/2014/main" id="{9AA6925C-10FC-48B4-B01D-E10DA77734DF}"/>
              </a:ext>
            </a:extLst>
          </p:cNvPr>
          <p:cNvSpPr/>
          <p:nvPr/>
        </p:nvSpPr>
        <p:spPr>
          <a:xfrm>
            <a:off x="1" y="4065413"/>
            <a:ext cx="12192000" cy="2807392"/>
          </a:xfrm>
          <a:custGeom>
            <a:avLst/>
            <a:gdLst>
              <a:gd name="connsiteX0" fmla="*/ 160109 w 3195788"/>
              <a:gd name="connsiteY0" fmla="*/ 0 h 1160647"/>
              <a:gd name="connsiteX1" fmla="*/ 162135 w 3195788"/>
              <a:gd name="connsiteY1" fmla="*/ 246443 h 1160647"/>
              <a:gd name="connsiteX2" fmla="*/ 200642 w 3195788"/>
              <a:gd name="connsiteY2" fmla="*/ 326429 h 1160647"/>
              <a:gd name="connsiteX3" fmla="*/ 202669 w 3195788"/>
              <a:gd name="connsiteY3" fmla="*/ 326429 h 1160647"/>
              <a:gd name="connsiteX4" fmla="*/ 216856 w 3195788"/>
              <a:gd name="connsiteY4" fmla="*/ 326429 h 1160647"/>
              <a:gd name="connsiteX5" fmla="*/ 216856 w 3195788"/>
              <a:gd name="connsiteY5" fmla="*/ 350208 h 1160647"/>
              <a:gd name="connsiteX6" fmla="*/ 217363 w 3195788"/>
              <a:gd name="connsiteY6" fmla="*/ 351019 h 1160647"/>
              <a:gd name="connsiteX7" fmla="*/ 220909 w 3195788"/>
              <a:gd name="connsiteY7" fmla="*/ 356694 h 1160647"/>
              <a:gd name="connsiteX8" fmla="*/ 220909 w 3195788"/>
              <a:gd name="connsiteY8" fmla="*/ 471268 h 1160647"/>
              <a:gd name="connsiteX9" fmla="*/ 223189 w 3195788"/>
              <a:gd name="connsiteY9" fmla="*/ 471268 h 1160647"/>
              <a:gd name="connsiteX10" fmla="*/ 239150 w 3195788"/>
              <a:gd name="connsiteY10" fmla="*/ 471268 h 1160647"/>
              <a:gd name="connsiteX11" fmla="*/ 239150 w 3195788"/>
              <a:gd name="connsiteY11" fmla="*/ 611783 h 1160647"/>
              <a:gd name="connsiteX12" fmla="*/ 240670 w 3195788"/>
              <a:gd name="connsiteY12" fmla="*/ 611513 h 1160647"/>
              <a:gd name="connsiteX13" fmla="*/ 251310 w 3195788"/>
              <a:gd name="connsiteY13" fmla="*/ 609622 h 1160647"/>
              <a:gd name="connsiteX14" fmla="*/ 249283 w 3195788"/>
              <a:gd name="connsiteY14" fmla="*/ 698254 h 1160647"/>
              <a:gd name="connsiteX15" fmla="*/ 250803 w 3195788"/>
              <a:gd name="connsiteY15" fmla="*/ 698525 h 1160647"/>
              <a:gd name="connsiteX16" fmla="*/ 261443 w 3195788"/>
              <a:gd name="connsiteY16" fmla="*/ 700416 h 1160647"/>
              <a:gd name="connsiteX17" fmla="*/ 261696 w 3195788"/>
              <a:gd name="connsiteY17" fmla="*/ 701227 h 1160647"/>
              <a:gd name="connsiteX18" fmla="*/ 263470 w 3195788"/>
              <a:gd name="connsiteY18" fmla="*/ 706902 h 1160647"/>
              <a:gd name="connsiteX19" fmla="*/ 264230 w 3195788"/>
              <a:gd name="connsiteY19" fmla="*/ 704470 h 1160647"/>
              <a:gd name="connsiteX20" fmla="*/ 269550 w 3195788"/>
              <a:gd name="connsiteY20" fmla="*/ 687446 h 1160647"/>
              <a:gd name="connsiteX21" fmla="*/ 271323 w 3195788"/>
              <a:gd name="connsiteY21" fmla="*/ 687446 h 1160647"/>
              <a:gd name="connsiteX22" fmla="*/ 283737 w 3195788"/>
              <a:gd name="connsiteY22" fmla="*/ 687446 h 1160647"/>
              <a:gd name="connsiteX23" fmla="*/ 283737 w 3195788"/>
              <a:gd name="connsiteY23" fmla="*/ 719872 h 1160647"/>
              <a:gd name="connsiteX24" fmla="*/ 284750 w 3195788"/>
              <a:gd name="connsiteY24" fmla="*/ 720413 h 1160647"/>
              <a:gd name="connsiteX25" fmla="*/ 291844 w 3195788"/>
              <a:gd name="connsiteY25" fmla="*/ 724196 h 1160647"/>
              <a:gd name="connsiteX26" fmla="*/ 291844 w 3195788"/>
              <a:gd name="connsiteY26" fmla="*/ 725547 h 1160647"/>
              <a:gd name="connsiteX27" fmla="*/ 291844 w 3195788"/>
              <a:gd name="connsiteY27" fmla="*/ 735005 h 1160647"/>
              <a:gd name="connsiteX28" fmla="*/ 336431 w 3195788"/>
              <a:gd name="connsiteY28" fmla="*/ 735005 h 1160647"/>
              <a:gd name="connsiteX29" fmla="*/ 336431 w 3195788"/>
              <a:gd name="connsiteY29" fmla="*/ 736086 h 1160647"/>
              <a:gd name="connsiteX30" fmla="*/ 336431 w 3195788"/>
              <a:gd name="connsiteY30" fmla="*/ 743652 h 1160647"/>
              <a:gd name="connsiteX31" fmla="*/ 338457 w 3195788"/>
              <a:gd name="connsiteY31" fmla="*/ 743652 h 1160647"/>
              <a:gd name="connsiteX32" fmla="*/ 352644 w 3195788"/>
              <a:gd name="connsiteY32" fmla="*/ 743652 h 1160647"/>
              <a:gd name="connsiteX33" fmla="*/ 352644 w 3195788"/>
              <a:gd name="connsiteY33" fmla="*/ 713387 h 1160647"/>
              <a:gd name="connsiteX34" fmla="*/ 397231 w 3195788"/>
              <a:gd name="connsiteY34" fmla="*/ 713387 h 1160647"/>
              <a:gd name="connsiteX35" fmla="*/ 397231 w 3195788"/>
              <a:gd name="connsiteY35" fmla="*/ 712036 h 1160647"/>
              <a:gd name="connsiteX36" fmla="*/ 397231 w 3195788"/>
              <a:gd name="connsiteY36" fmla="*/ 702578 h 1160647"/>
              <a:gd name="connsiteX37" fmla="*/ 398245 w 3195788"/>
              <a:gd name="connsiteY37" fmla="*/ 702578 h 1160647"/>
              <a:gd name="connsiteX38" fmla="*/ 405338 w 3195788"/>
              <a:gd name="connsiteY38" fmla="*/ 702578 h 1160647"/>
              <a:gd name="connsiteX39" fmla="*/ 405338 w 3195788"/>
              <a:gd name="connsiteY39" fmla="*/ 700687 h 1160647"/>
              <a:gd name="connsiteX40" fmla="*/ 405338 w 3195788"/>
              <a:gd name="connsiteY40" fmla="*/ 687446 h 1160647"/>
              <a:gd name="connsiteX41" fmla="*/ 406098 w 3195788"/>
              <a:gd name="connsiteY41" fmla="*/ 687446 h 1160647"/>
              <a:gd name="connsiteX42" fmla="*/ 411418 w 3195788"/>
              <a:gd name="connsiteY42" fmla="*/ 687446 h 1160647"/>
              <a:gd name="connsiteX43" fmla="*/ 411418 w 3195788"/>
              <a:gd name="connsiteY43" fmla="*/ 686365 h 1160647"/>
              <a:gd name="connsiteX44" fmla="*/ 411418 w 3195788"/>
              <a:gd name="connsiteY44" fmla="*/ 678798 h 1160647"/>
              <a:gd name="connsiteX45" fmla="*/ 413445 w 3195788"/>
              <a:gd name="connsiteY45" fmla="*/ 678798 h 1160647"/>
              <a:gd name="connsiteX46" fmla="*/ 427632 w 3195788"/>
              <a:gd name="connsiteY46" fmla="*/ 678798 h 1160647"/>
              <a:gd name="connsiteX47" fmla="*/ 427632 w 3195788"/>
              <a:gd name="connsiteY47" fmla="*/ 679879 h 1160647"/>
              <a:gd name="connsiteX48" fmla="*/ 427632 w 3195788"/>
              <a:gd name="connsiteY48" fmla="*/ 687446 h 1160647"/>
              <a:gd name="connsiteX49" fmla="*/ 449925 w 3195788"/>
              <a:gd name="connsiteY49" fmla="*/ 687446 h 1160647"/>
              <a:gd name="connsiteX50" fmla="*/ 449925 w 3195788"/>
              <a:gd name="connsiteY50" fmla="*/ 685554 h 1160647"/>
              <a:gd name="connsiteX51" fmla="*/ 449925 w 3195788"/>
              <a:gd name="connsiteY51" fmla="*/ 672313 h 1160647"/>
              <a:gd name="connsiteX52" fmla="*/ 451699 w 3195788"/>
              <a:gd name="connsiteY52" fmla="*/ 672313 h 1160647"/>
              <a:gd name="connsiteX53" fmla="*/ 464112 w 3195788"/>
              <a:gd name="connsiteY53" fmla="*/ 672313 h 1160647"/>
              <a:gd name="connsiteX54" fmla="*/ 464112 w 3195788"/>
              <a:gd name="connsiteY54" fmla="*/ 696093 h 1160647"/>
              <a:gd name="connsiteX55" fmla="*/ 465126 w 3195788"/>
              <a:gd name="connsiteY55" fmla="*/ 696093 h 1160647"/>
              <a:gd name="connsiteX56" fmla="*/ 472219 w 3195788"/>
              <a:gd name="connsiteY56" fmla="*/ 696093 h 1160647"/>
              <a:gd name="connsiteX57" fmla="*/ 472219 w 3195788"/>
              <a:gd name="connsiteY57" fmla="*/ 695012 h 1160647"/>
              <a:gd name="connsiteX58" fmla="*/ 472219 w 3195788"/>
              <a:gd name="connsiteY58" fmla="*/ 687446 h 1160647"/>
              <a:gd name="connsiteX59" fmla="*/ 473992 w 3195788"/>
              <a:gd name="connsiteY59" fmla="*/ 687446 h 1160647"/>
              <a:gd name="connsiteX60" fmla="*/ 486406 w 3195788"/>
              <a:gd name="connsiteY60" fmla="*/ 687446 h 1160647"/>
              <a:gd name="connsiteX61" fmla="*/ 486406 w 3195788"/>
              <a:gd name="connsiteY61" fmla="*/ 713387 h 1160647"/>
              <a:gd name="connsiteX62" fmla="*/ 488433 w 3195788"/>
              <a:gd name="connsiteY62" fmla="*/ 713387 h 1160647"/>
              <a:gd name="connsiteX63" fmla="*/ 502619 w 3195788"/>
              <a:gd name="connsiteY63" fmla="*/ 713387 h 1160647"/>
              <a:gd name="connsiteX64" fmla="*/ 502619 w 3195788"/>
              <a:gd name="connsiteY64" fmla="*/ 715008 h 1160647"/>
              <a:gd name="connsiteX65" fmla="*/ 502619 w 3195788"/>
              <a:gd name="connsiteY65" fmla="*/ 726358 h 1160647"/>
              <a:gd name="connsiteX66" fmla="*/ 503379 w 3195788"/>
              <a:gd name="connsiteY66" fmla="*/ 726358 h 1160647"/>
              <a:gd name="connsiteX67" fmla="*/ 508700 w 3195788"/>
              <a:gd name="connsiteY67" fmla="*/ 726358 h 1160647"/>
              <a:gd name="connsiteX68" fmla="*/ 508700 w 3195788"/>
              <a:gd name="connsiteY68" fmla="*/ 725547 h 1160647"/>
              <a:gd name="connsiteX69" fmla="*/ 508700 w 3195788"/>
              <a:gd name="connsiteY69" fmla="*/ 719872 h 1160647"/>
              <a:gd name="connsiteX70" fmla="*/ 539100 w 3195788"/>
              <a:gd name="connsiteY70" fmla="*/ 719872 h 1160647"/>
              <a:gd name="connsiteX71" fmla="*/ 539100 w 3195788"/>
              <a:gd name="connsiteY71" fmla="*/ 743652 h 1160647"/>
              <a:gd name="connsiteX72" fmla="*/ 540113 w 3195788"/>
              <a:gd name="connsiteY72" fmla="*/ 743652 h 1160647"/>
              <a:gd name="connsiteX73" fmla="*/ 547207 w 3195788"/>
              <a:gd name="connsiteY73" fmla="*/ 743652 h 1160647"/>
              <a:gd name="connsiteX74" fmla="*/ 547207 w 3195788"/>
              <a:gd name="connsiteY74" fmla="*/ 744733 h 1160647"/>
              <a:gd name="connsiteX75" fmla="*/ 547207 w 3195788"/>
              <a:gd name="connsiteY75" fmla="*/ 752299 h 1160647"/>
              <a:gd name="connsiteX76" fmla="*/ 547967 w 3195788"/>
              <a:gd name="connsiteY76" fmla="*/ 752299 h 1160647"/>
              <a:gd name="connsiteX77" fmla="*/ 553287 w 3195788"/>
              <a:gd name="connsiteY77" fmla="*/ 752299 h 1160647"/>
              <a:gd name="connsiteX78" fmla="*/ 553287 w 3195788"/>
              <a:gd name="connsiteY78" fmla="*/ 750137 h 1160647"/>
              <a:gd name="connsiteX79" fmla="*/ 553287 w 3195788"/>
              <a:gd name="connsiteY79" fmla="*/ 735005 h 1160647"/>
              <a:gd name="connsiteX80" fmla="*/ 554300 w 3195788"/>
              <a:gd name="connsiteY80" fmla="*/ 735005 h 1160647"/>
              <a:gd name="connsiteX81" fmla="*/ 561394 w 3195788"/>
              <a:gd name="connsiteY81" fmla="*/ 735005 h 1160647"/>
              <a:gd name="connsiteX82" fmla="*/ 561394 w 3195788"/>
              <a:gd name="connsiteY82" fmla="*/ 736086 h 1160647"/>
              <a:gd name="connsiteX83" fmla="*/ 561394 w 3195788"/>
              <a:gd name="connsiteY83" fmla="*/ 743652 h 1160647"/>
              <a:gd name="connsiteX84" fmla="*/ 566714 w 3195788"/>
              <a:gd name="connsiteY84" fmla="*/ 741659 h 1160647"/>
              <a:gd name="connsiteX85" fmla="*/ 567474 w 3195788"/>
              <a:gd name="connsiteY85" fmla="*/ 740679 h 1160647"/>
              <a:gd name="connsiteX86" fmla="*/ 567474 w 3195788"/>
              <a:gd name="connsiteY86" fmla="*/ 735005 h 1160647"/>
              <a:gd name="connsiteX87" fmla="*/ 605981 w 3195788"/>
              <a:gd name="connsiteY87" fmla="*/ 735005 h 1160647"/>
              <a:gd name="connsiteX88" fmla="*/ 605981 w 3195788"/>
              <a:gd name="connsiteY88" fmla="*/ 758784 h 1160647"/>
              <a:gd name="connsiteX89" fmla="*/ 608007 w 3195788"/>
              <a:gd name="connsiteY89" fmla="*/ 758784 h 1160647"/>
              <a:gd name="connsiteX90" fmla="*/ 622194 w 3195788"/>
              <a:gd name="connsiteY90" fmla="*/ 758784 h 1160647"/>
              <a:gd name="connsiteX91" fmla="*/ 622194 w 3195788"/>
              <a:gd name="connsiteY91" fmla="*/ 759865 h 1160647"/>
              <a:gd name="connsiteX92" fmla="*/ 622194 w 3195788"/>
              <a:gd name="connsiteY92" fmla="*/ 767431 h 1160647"/>
              <a:gd name="connsiteX93" fmla="*/ 623968 w 3195788"/>
              <a:gd name="connsiteY93" fmla="*/ 767431 h 1160647"/>
              <a:gd name="connsiteX94" fmla="*/ 636381 w 3195788"/>
              <a:gd name="connsiteY94" fmla="*/ 767431 h 1160647"/>
              <a:gd name="connsiteX95" fmla="*/ 636381 w 3195788"/>
              <a:gd name="connsiteY95" fmla="*/ 743652 h 1160647"/>
              <a:gd name="connsiteX96" fmla="*/ 637394 w 3195788"/>
              <a:gd name="connsiteY96" fmla="*/ 743652 h 1160647"/>
              <a:gd name="connsiteX97" fmla="*/ 644488 w 3195788"/>
              <a:gd name="connsiteY97" fmla="*/ 743652 h 1160647"/>
              <a:gd name="connsiteX98" fmla="*/ 644488 w 3195788"/>
              <a:gd name="connsiteY98" fmla="*/ 711225 h 1160647"/>
              <a:gd name="connsiteX99" fmla="*/ 645501 w 3195788"/>
              <a:gd name="connsiteY99" fmla="*/ 711225 h 1160647"/>
              <a:gd name="connsiteX100" fmla="*/ 652595 w 3195788"/>
              <a:gd name="connsiteY100" fmla="*/ 711225 h 1160647"/>
              <a:gd name="connsiteX101" fmla="*/ 652595 w 3195788"/>
              <a:gd name="connsiteY101" fmla="*/ 709334 h 1160647"/>
              <a:gd name="connsiteX102" fmla="*/ 652595 w 3195788"/>
              <a:gd name="connsiteY102" fmla="*/ 696093 h 1160647"/>
              <a:gd name="connsiteX103" fmla="*/ 651328 w 3195788"/>
              <a:gd name="connsiteY103" fmla="*/ 694471 h 1160647"/>
              <a:gd name="connsiteX104" fmla="*/ 656648 w 3195788"/>
              <a:gd name="connsiteY104" fmla="*/ 683122 h 1160647"/>
              <a:gd name="connsiteX105" fmla="*/ 664755 w 3195788"/>
              <a:gd name="connsiteY105" fmla="*/ 711225 h 1160647"/>
              <a:gd name="connsiteX106" fmla="*/ 665515 w 3195788"/>
              <a:gd name="connsiteY106" fmla="*/ 711225 h 1160647"/>
              <a:gd name="connsiteX107" fmla="*/ 670835 w 3195788"/>
              <a:gd name="connsiteY107" fmla="*/ 711225 h 1160647"/>
              <a:gd name="connsiteX108" fmla="*/ 670835 w 3195788"/>
              <a:gd name="connsiteY108" fmla="*/ 605298 h 1160647"/>
              <a:gd name="connsiteX109" fmla="*/ 672355 w 3195788"/>
              <a:gd name="connsiteY109" fmla="*/ 605298 h 1160647"/>
              <a:gd name="connsiteX110" fmla="*/ 682995 w 3195788"/>
              <a:gd name="connsiteY110" fmla="*/ 605298 h 1160647"/>
              <a:gd name="connsiteX111" fmla="*/ 682995 w 3195788"/>
              <a:gd name="connsiteY111" fmla="*/ 557739 h 1160647"/>
              <a:gd name="connsiteX112" fmla="*/ 709342 w 3195788"/>
              <a:gd name="connsiteY112" fmla="*/ 557739 h 1160647"/>
              <a:gd name="connsiteX113" fmla="*/ 709342 w 3195788"/>
              <a:gd name="connsiteY113" fmla="*/ 536121 h 1160647"/>
              <a:gd name="connsiteX114" fmla="*/ 743796 w 3195788"/>
              <a:gd name="connsiteY114" fmla="*/ 536121 h 1160647"/>
              <a:gd name="connsiteX115" fmla="*/ 743796 w 3195788"/>
              <a:gd name="connsiteY115" fmla="*/ 538553 h 1160647"/>
              <a:gd name="connsiteX116" fmla="*/ 743796 w 3195788"/>
              <a:gd name="connsiteY116" fmla="*/ 555577 h 1160647"/>
              <a:gd name="connsiteX117" fmla="*/ 746076 w 3195788"/>
              <a:gd name="connsiteY117" fmla="*/ 555577 h 1160647"/>
              <a:gd name="connsiteX118" fmla="*/ 762036 w 3195788"/>
              <a:gd name="connsiteY118" fmla="*/ 555577 h 1160647"/>
              <a:gd name="connsiteX119" fmla="*/ 762036 w 3195788"/>
              <a:gd name="connsiteY119" fmla="*/ 603136 h 1160647"/>
              <a:gd name="connsiteX120" fmla="*/ 763049 w 3195788"/>
              <a:gd name="connsiteY120" fmla="*/ 603136 h 1160647"/>
              <a:gd name="connsiteX121" fmla="*/ 770143 w 3195788"/>
              <a:gd name="connsiteY121" fmla="*/ 603136 h 1160647"/>
              <a:gd name="connsiteX122" fmla="*/ 784330 w 3195788"/>
              <a:gd name="connsiteY122" fmla="*/ 607460 h 1160647"/>
              <a:gd name="connsiteX123" fmla="*/ 784330 w 3195788"/>
              <a:gd name="connsiteY123" fmla="*/ 646372 h 1160647"/>
              <a:gd name="connsiteX124" fmla="*/ 785343 w 3195788"/>
              <a:gd name="connsiteY124" fmla="*/ 646372 h 1160647"/>
              <a:gd name="connsiteX125" fmla="*/ 792436 w 3195788"/>
              <a:gd name="connsiteY125" fmla="*/ 646372 h 1160647"/>
              <a:gd name="connsiteX126" fmla="*/ 792436 w 3195788"/>
              <a:gd name="connsiteY126" fmla="*/ 647993 h 1160647"/>
              <a:gd name="connsiteX127" fmla="*/ 792436 w 3195788"/>
              <a:gd name="connsiteY127" fmla="*/ 659342 h 1160647"/>
              <a:gd name="connsiteX128" fmla="*/ 794463 w 3195788"/>
              <a:gd name="connsiteY128" fmla="*/ 659342 h 1160647"/>
              <a:gd name="connsiteX129" fmla="*/ 808650 w 3195788"/>
              <a:gd name="connsiteY129" fmla="*/ 659342 h 1160647"/>
              <a:gd name="connsiteX130" fmla="*/ 814730 w 3195788"/>
              <a:gd name="connsiteY130" fmla="*/ 665828 h 1160647"/>
              <a:gd name="connsiteX131" fmla="*/ 814730 w 3195788"/>
              <a:gd name="connsiteY131" fmla="*/ 687446 h 1160647"/>
              <a:gd name="connsiteX132" fmla="*/ 817010 w 3195788"/>
              <a:gd name="connsiteY132" fmla="*/ 687446 h 1160647"/>
              <a:gd name="connsiteX133" fmla="*/ 832970 w 3195788"/>
              <a:gd name="connsiteY133" fmla="*/ 687446 h 1160647"/>
              <a:gd name="connsiteX134" fmla="*/ 832970 w 3195788"/>
              <a:gd name="connsiteY134" fmla="*/ 688526 h 1160647"/>
              <a:gd name="connsiteX135" fmla="*/ 832970 w 3195788"/>
              <a:gd name="connsiteY135" fmla="*/ 696093 h 1160647"/>
              <a:gd name="connsiteX136" fmla="*/ 834237 w 3195788"/>
              <a:gd name="connsiteY136" fmla="*/ 696093 h 1160647"/>
              <a:gd name="connsiteX137" fmla="*/ 843104 w 3195788"/>
              <a:gd name="connsiteY137" fmla="*/ 696093 h 1160647"/>
              <a:gd name="connsiteX138" fmla="*/ 843104 w 3195788"/>
              <a:gd name="connsiteY138" fmla="*/ 698254 h 1160647"/>
              <a:gd name="connsiteX139" fmla="*/ 843104 w 3195788"/>
              <a:gd name="connsiteY139" fmla="*/ 713387 h 1160647"/>
              <a:gd name="connsiteX140" fmla="*/ 847157 w 3195788"/>
              <a:gd name="connsiteY140" fmla="*/ 711495 h 1160647"/>
              <a:gd name="connsiteX141" fmla="*/ 847157 w 3195788"/>
              <a:gd name="connsiteY141" fmla="*/ 698254 h 1160647"/>
              <a:gd name="connsiteX142" fmla="*/ 848170 w 3195788"/>
              <a:gd name="connsiteY142" fmla="*/ 698254 h 1160647"/>
              <a:gd name="connsiteX143" fmla="*/ 855264 w 3195788"/>
              <a:gd name="connsiteY143" fmla="*/ 698254 h 1160647"/>
              <a:gd name="connsiteX144" fmla="*/ 855264 w 3195788"/>
              <a:gd name="connsiteY144" fmla="*/ 699876 h 1160647"/>
              <a:gd name="connsiteX145" fmla="*/ 855264 w 3195788"/>
              <a:gd name="connsiteY145" fmla="*/ 711225 h 1160647"/>
              <a:gd name="connsiteX146" fmla="*/ 856024 w 3195788"/>
              <a:gd name="connsiteY146" fmla="*/ 711225 h 1160647"/>
              <a:gd name="connsiteX147" fmla="*/ 861344 w 3195788"/>
              <a:gd name="connsiteY147" fmla="*/ 711225 h 1160647"/>
              <a:gd name="connsiteX148" fmla="*/ 909984 w 3195788"/>
              <a:gd name="connsiteY148" fmla="*/ 706902 h 1160647"/>
              <a:gd name="connsiteX149" fmla="*/ 909984 w 3195788"/>
              <a:gd name="connsiteY149" fmla="*/ 708253 h 1160647"/>
              <a:gd name="connsiteX150" fmla="*/ 909984 w 3195788"/>
              <a:gd name="connsiteY150" fmla="*/ 717710 h 1160647"/>
              <a:gd name="connsiteX151" fmla="*/ 910744 w 3195788"/>
              <a:gd name="connsiteY151" fmla="*/ 717710 h 1160647"/>
              <a:gd name="connsiteX152" fmla="*/ 916065 w 3195788"/>
              <a:gd name="connsiteY152" fmla="*/ 717710 h 1160647"/>
              <a:gd name="connsiteX153" fmla="*/ 916065 w 3195788"/>
              <a:gd name="connsiteY153" fmla="*/ 719872 h 1160647"/>
              <a:gd name="connsiteX154" fmla="*/ 916065 w 3195788"/>
              <a:gd name="connsiteY154" fmla="*/ 735005 h 1160647"/>
              <a:gd name="connsiteX155" fmla="*/ 918091 w 3195788"/>
              <a:gd name="connsiteY155" fmla="*/ 733654 h 1160647"/>
              <a:gd name="connsiteX156" fmla="*/ 932278 w 3195788"/>
              <a:gd name="connsiteY156" fmla="*/ 724196 h 1160647"/>
              <a:gd name="connsiteX157" fmla="*/ 938358 w 3195788"/>
              <a:gd name="connsiteY157" fmla="*/ 683122 h 1160647"/>
              <a:gd name="connsiteX158" fmla="*/ 939118 w 3195788"/>
              <a:gd name="connsiteY158" fmla="*/ 682852 h 1160647"/>
              <a:gd name="connsiteX159" fmla="*/ 944438 w 3195788"/>
              <a:gd name="connsiteY159" fmla="*/ 680960 h 1160647"/>
              <a:gd name="connsiteX160" fmla="*/ 946465 w 3195788"/>
              <a:gd name="connsiteY160" fmla="*/ 611783 h 1160647"/>
              <a:gd name="connsiteX161" fmla="*/ 948492 w 3195788"/>
              <a:gd name="connsiteY161" fmla="*/ 680960 h 1160647"/>
              <a:gd name="connsiteX162" fmla="*/ 949252 w 3195788"/>
              <a:gd name="connsiteY162" fmla="*/ 681230 h 1160647"/>
              <a:gd name="connsiteX163" fmla="*/ 954572 w 3195788"/>
              <a:gd name="connsiteY163" fmla="*/ 683122 h 1160647"/>
              <a:gd name="connsiteX164" fmla="*/ 954572 w 3195788"/>
              <a:gd name="connsiteY164" fmla="*/ 596651 h 1160647"/>
              <a:gd name="connsiteX165" fmla="*/ 958625 w 3195788"/>
              <a:gd name="connsiteY165" fmla="*/ 564224 h 1160647"/>
              <a:gd name="connsiteX166" fmla="*/ 997132 w 3195788"/>
              <a:gd name="connsiteY166" fmla="*/ 564224 h 1160647"/>
              <a:gd name="connsiteX167" fmla="*/ 997132 w 3195788"/>
              <a:gd name="connsiteY167" fmla="*/ 596651 h 1160647"/>
              <a:gd name="connsiteX168" fmla="*/ 997892 w 3195788"/>
              <a:gd name="connsiteY168" fmla="*/ 596651 h 1160647"/>
              <a:gd name="connsiteX169" fmla="*/ 1003212 w 3195788"/>
              <a:gd name="connsiteY169" fmla="*/ 596651 h 1160647"/>
              <a:gd name="connsiteX170" fmla="*/ 1003212 w 3195788"/>
              <a:gd name="connsiteY170" fmla="*/ 514503 h 1160647"/>
              <a:gd name="connsiteX171" fmla="*/ 1004986 w 3195788"/>
              <a:gd name="connsiteY171" fmla="*/ 514503 h 1160647"/>
              <a:gd name="connsiteX172" fmla="*/ 1017399 w 3195788"/>
              <a:gd name="connsiteY172" fmla="*/ 514503 h 1160647"/>
              <a:gd name="connsiteX173" fmla="*/ 1017399 w 3195788"/>
              <a:gd name="connsiteY173" fmla="*/ 512612 h 1160647"/>
              <a:gd name="connsiteX174" fmla="*/ 1017399 w 3195788"/>
              <a:gd name="connsiteY174" fmla="*/ 499371 h 1160647"/>
              <a:gd name="connsiteX175" fmla="*/ 1039693 w 3195788"/>
              <a:gd name="connsiteY175" fmla="*/ 499371 h 1160647"/>
              <a:gd name="connsiteX176" fmla="*/ 1039693 w 3195788"/>
              <a:gd name="connsiteY176" fmla="*/ 498290 h 1160647"/>
              <a:gd name="connsiteX177" fmla="*/ 1039693 w 3195788"/>
              <a:gd name="connsiteY177" fmla="*/ 490724 h 1160647"/>
              <a:gd name="connsiteX178" fmla="*/ 1041466 w 3195788"/>
              <a:gd name="connsiteY178" fmla="*/ 490724 h 1160647"/>
              <a:gd name="connsiteX179" fmla="*/ 1053880 w 3195788"/>
              <a:gd name="connsiteY179" fmla="*/ 490724 h 1160647"/>
              <a:gd name="connsiteX180" fmla="*/ 1053880 w 3195788"/>
              <a:gd name="connsiteY180" fmla="*/ 491805 h 1160647"/>
              <a:gd name="connsiteX181" fmla="*/ 1053880 w 3195788"/>
              <a:gd name="connsiteY181" fmla="*/ 499371 h 1160647"/>
              <a:gd name="connsiteX182" fmla="*/ 1054640 w 3195788"/>
              <a:gd name="connsiteY182" fmla="*/ 499371 h 1160647"/>
              <a:gd name="connsiteX183" fmla="*/ 1059960 w 3195788"/>
              <a:gd name="connsiteY183" fmla="*/ 499371 h 1160647"/>
              <a:gd name="connsiteX184" fmla="*/ 1070093 w 3195788"/>
              <a:gd name="connsiteY184" fmla="*/ 495047 h 1160647"/>
              <a:gd name="connsiteX185" fmla="*/ 1074146 w 3195788"/>
              <a:gd name="connsiteY185" fmla="*/ 498290 h 1160647"/>
              <a:gd name="connsiteX186" fmla="*/ 1074146 w 3195788"/>
              <a:gd name="connsiteY186" fmla="*/ 490724 h 1160647"/>
              <a:gd name="connsiteX187" fmla="*/ 1076426 w 3195788"/>
              <a:gd name="connsiteY187" fmla="*/ 490724 h 1160647"/>
              <a:gd name="connsiteX188" fmla="*/ 1092387 w 3195788"/>
              <a:gd name="connsiteY188" fmla="*/ 490724 h 1160647"/>
              <a:gd name="connsiteX189" fmla="*/ 1092387 w 3195788"/>
              <a:gd name="connsiteY189" fmla="*/ 491805 h 1160647"/>
              <a:gd name="connsiteX190" fmla="*/ 1092387 w 3195788"/>
              <a:gd name="connsiteY190" fmla="*/ 499371 h 1160647"/>
              <a:gd name="connsiteX191" fmla="*/ 1122787 w 3195788"/>
              <a:gd name="connsiteY191" fmla="*/ 499371 h 1160647"/>
              <a:gd name="connsiteX192" fmla="*/ 1122787 w 3195788"/>
              <a:gd name="connsiteY192" fmla="*/ 500992 h 1160647"/>
              <a:gd name="connsiteX193" fmla="*/ 1122787 w 3195788"/>
              <a:gd name="connsiteY193" fmla="*/ 512342 h 1160647"/>
              <a:gd name="connsiteX194" fmla="*/ 1149134 w 3195788"/>
              <a:gd name="connsiteY194" fmla="*/ 512342 h 1160647"/>
              <a:gd name="connsiteX195" fmla="*/ 1149134 w 3195788"/>
              <a:gd name="connsiteY195" fmla="*/ 542606 h 1160647"/>
              <a:gd name="connsiteX196" fmla="*/ 1149894 w 3195788"/>
              <a:gd name="connsiteY196" fmla="*/ 542606 h 1160647"/>
              <a:gd name="connsiteX197" fmla="*/ 1155214 w 3195788"/>
              <a:gd name="connsiteY197" fmla="*/ 542606 h 1160647"/>
              <a:gd name="connsiteX198" fmla="*/ 1155214 w 3195788"/>
              <a:gd name="connsiteY198" fmla="*/ 543687 h 1160647"/>
              <a:gd name="connsiteX199" fmla="*/ 1155214 w 3195788"/>
              <a:gd name="connsiteY199" fmla="*/ 551254 h 1160647"/>
              <a:gd name="connsiteX200" fmla="*/ 1159268 w 3195788"/>
              <a:gd name="connsiteY200" fmla="*/ 581518 h 1160647"/>
              <a:gd name="connsiteX201" fmla="*/ 1160028 w 3195788"/>
              <a:gd name="connsiteY201" fmla="*/ 581518 h 1160647"/>
              <a:gd name="connsiteX202" fmla="*/ 1165348 w 3195788"/>
              <a:gd name="connsiteY202" fmla="*/ 581518 h 1160647"/>
              <a:gd name="connsiteX203" fmla="*/ 1165348 w 3195788"/>
              <a:gd name="connsiteY203" fmla="*/ 582329 h 1160647"/>
              <a:gd name="connsiteX204" fmla="*/ 1165348 w 3195788"/>
              <a:gd name="connsiteY204" fmla="*/ 588004 h 1160647"/>
              <a:gd name="connsiteX205" fmla="*/ 1166361 w 3195788"/>
              <a:gd name="connsiteY205" fmla="*/ 588004 h 1160647"/>
              <a:gd name="connsiteX206" fmla="*/ 1173454 w 3195788"/>
              <a:gd name="connsiteY206" fmla="*/ 588004 h 1160647"/>
              <a:gd name="connsiteX207" fmla="*/ 1173454 w 3195788"/>
              <a:gd name="connsiteY207" fmla="*/ 618269 h 1160647"/>
              <a:gd name="connsiteX208" fmla="*/ 1175481 w 3195788"/>
              <a:gd name="connsiteY208" fmla="*/ 618269 h 1160647"/>
              <a:gd name="connsiteX209" fmla="*/ 1189668 w 3195788"/>
              <a:gd name="connsiteY209" fmla="*/ 618269 h 1160647"/>
              <a:gd name="connsiteX210" fmla="*/ 1189668 w 3195788"/>
              <a:gd name="connsiteY210" fmla="*/ 642048 h 1160647"/>
              <a:gd name="connsiteX211" fmla="*/ 1191695 w 3195788"/>
              <a:gd name="connsiteY211" fmla="*/ 643669 h 1160647"/>
              <a:gd name="connsiteX212" fmla="*/ 1191695 w 3195788"/>
              <a:gd name="connsiteY212" fmla="*/ 655019 h 1160647"/>
              <a:gd name="connsiteX213" fmla="*/ 1192455 w 3195788"/>
              <a:gd name="connsiteY213" fmla="*/ 655019 h 1160647"/>
              <a:gd name="connsiteX214" fmla="*/ 1197775 w 3195788"/>
              <a:gd name="connsiteY214" fmla="*/ 655019 h 1160647"/>
              <a:gd name="connsiteX215" fmla="*/ 1197775 w 3195788"/>
              <a:gd name="connsiteY215" fmla="*/ 678798 h 1160647"/>
              <a:gd name="connsiteX216" fmla="*/ 1199041 w 3195788"/>
              <a:gd name="connsiteY216" fmla="*/ 678798 h 1160647"/>
              <a:gd name="connsiteX217" fmla="*/ 1207908 w 3195788"/>
              <a:gd name="connsiteY217" fmla="*/ 678798 h 1160647"/>
              <a:gd name="connsiteX218" fmla="*/ 1209935 w 3195788"/>
              <a:gd name="connsiteY218" fmla="*/ 682852 h 1160647"/>
              <a:gd name="connsiteX219" fmla="*/ 1209935 w 3195788"/>
              <a:gd name="connsiteY219" fmla="*/ 696093 h 1160647"/>
              <a:gd name="connsiteX220" fmla="*/ 1211455 w 3195788"/>
              <a:gd name="connsiteY220" fmla="*/ 694201 h 1160647"/>
              <a:gd name="connsiteX221" fmla="*/ 1222095 w 3195788"/>
              <a:gd name="connsiteY221" fmla="*/ 680960 h 1160647"/>
              <a:gd name="connsiteX222" fmla="*/ 1250469 w 3195788"/>
              <a:gd name="connsiteY222" fmla="*/ 680960 h 1160647"/>
              <a:gd name="connsiteX223" fmla="*/ 1250469 w 3195788"/>
              <a:gd name="connsiteY223" fmla="*/ 767431 h 1160647"/>
              <a:gd name="connsiteX224" fmla="*/ 1251229 w 3195788"/>
              <a:gd name="connsiteY224" fmla="*/ 767431 h 1160647"/>
              <a:gd name="connsiteX225" fmla="*/ 1256549 w 3195788"/>
              <a:gd name="connsiteY225" fmla="*/ 767431 h 1160647"/>
              <a:gd name="connsiteX226" fmla="*/ 1257309 w 3195788"/>
              <a:gd name="connsiteY226" fmla="*/ 766080 h 1160647"/>
              <a:gd name="connsiteX227" fmla="*/ 1262629 w 3195788"/>
              <a:gd name="connsiteY227" fmla="*/ 756622 h 1160647"/>
              <a:gd name="connsiteX228" fmla="*/ 1262629 w 3195788"/>
              <a:gd name="connsiteY228" fmla="*/ 758514 h 1160647"/>
              <a:gd name="connsiteX229" fmla="*/ 1262629 w 3195788"/>
              <a:gd name="connsiteY229" fmla="*/ 771755 h 1160647"/>
              <a:gd name="connsiteX230" fmla="*/ 1266682 w 3195788"/>
              <a:gd name="connsiteY230" fmla="*/ 726358 h 1160647"/>
              <a:gd name="connsiteX231" fmla="*/ 1267442 w 3195788"/>
              <a:gd name="connsiteY231" fmla="*/ 726358 h 1160647"/>
              <a:gd name="connsiteX232" fmla="*/ 1272762 w 3195788"/>
              <a:gd name="connsiteY232" fmla="*/ 726358 h 1160647"/>
              <a:gd name="connsiteX233" fmla="*/ 1272762 w 3195788"/>
              <a:gd name="connsiteY233" fmla="*/ 661504 h 1160647"/>
              <a:gd name="connsiteX234" fmla="*/ 1273776 w 3195788"/>
              <a:gd name="connsiteY234" fmla="*/ 661504 h 1160647"/>
              <a:gd name="connsiteX235" fmla="*/ 1280869 w 3195788"/>
              <a:gd name="connsiteY235" fmla="*/ 661504 h 1160647"/>
              <a:gd name="connsiteX236" fmla="*/ 1293029 w 3195788"/>
              <a:gd name="connsiteY236" fmla="*/ 618269 h 1160647"/>
              <a:gd name="connsiteX237" fmla="*/ 1294296 w 3195788"/>
              <a:gd name="connsiteY237" fmla="*/ 618269 h 1160647"/>
              <a:gd name="connsiteX238" fmla="*/ 1303163 w 3195788"/>
              <a:gd name="connsiteY238" fmla="*/ 618269 h 1160647"/>
              <a:gd name="connsiteX239" fmla="*/ 1313296 w 3195788"/>
              <a:gd name="connsiteY239" fmla="*/ 661504 h 1160647"/>
              <a:gd name="connsiteX240" fmla="*/ 1314309 w 3195788"/>
              <a:gd name="connsiteY240" fmla="*/ 661504 h 1160647"/>
              <a:gd name="connsiteX241" fmla="*/ 1321403 w 3195788"/>
              <a:gd name="connsiteY241" fmla="*/ 661504 h 1160647"/>
              <a:gd name="connsiteX242" fmla="*/ 1321403 w 3195788"/>
              <a:gd name="connsiteY242" fmla="*/ 700416 h 1160647"/>
              <a:gd name="connsiteX243" fmla="*/ 1323176 w 3195788"/>
              <a:gd name="connsiteY243" fmla="*/ 700416 h 1160647"/>
              <a:gd name="connsiteX244" fmla="*/ 1335590 w 3195788"/>
              <a:gd name="connsiteY244" fmla="*/ 700416 h 1160647"/>
              <a:gd name="connsiteX245" fmla="*/ 1335590 w 3195788"/>
              <a:gd name="connsiteY245" fmla="*/ 702578 h 1160647"/>
              <a:gd name="connsiteX246" fmla="*/ 1335590 w 3195788"/>
              <a:gd name="connsiteY246" fmla="*/ 717710 h 1160647"/>
              <a:gd name="connsiteX247" fmla="*/ 1339643 w 3195788"/>
              <a:gd name="connsiteY247" fmla="*/ 715549 h 1160647"/>
              <a:gd name="connsiteX248" fmla="*/ 1339643 w 3195788"/>
              <a:gd name="connsiteY248" fmla="*/ 700416 h 1160647"/>
              <a:gd name="connsiteX249" fmla="*/ 1341163 w 3195788"/>
              <a:gd name="connsiteY249" fmla="*/ 700416 h 1160647"/>
              <a:gd name="connsiteX250" fmla="*/ 1351803 w 3195788"/>
              <a:gd name="connsiteY250" fmla="*/ 700416 h 1160647"/>
              <a:gd name="connsiteX251" fmla="*/ 1351803 w 3195788"/>
              <a:gd name="connsiteY251" fmla="*/ 702037 h 1160647"/>
              <a:gd name="connsiteX252" fmla="*/ 1351803 w 3195788"/>
              <a:gd name="connsiteY252" fmla="*/ 713387 h 1160647"/>
              <a:gd name="connsiteX253" fmla="*/ 1382204 w 3195788"/>
              <a:gd name="connsiteY253" fmla="*/ 713387 h 1160647"/>
              <a:gd name="connsiteX254" fmla="*/ 1382204 w 3195788"/>
              <a:gd name="connsiteY254" fmla="*/ 676637 h 1160647"/>
              <a:gd name="connsiteX255" fmla="*/ 1383470 w 3195788"/>
              <a:gd name="connsiteY255" fmla="*/ 676637 h 1160647"/>
              <a:gd name="connsiteX256" fmla="*/ 1392337 w 3195788"/>
              <a:gd name="connsiteY256" fmla="*/ 676637 h 1160647"/>
              <a:gd name="connsiteX257" fmla="*/ 1392337 w 3195788"/>
              <a:gd name="connsiteY257" fmla="*/ 698254 h 1160647"/>
              <a:gd name="connsiteX258" fmla="*/ 1394364 w 3195788"/>
              <a:gd name="connsiteY258" fmla="*/ 665828 h 1160647"/>
              <a:gd name="connsiteX259" fmla="*/ 1416657 w 3195788"/>
              <a:gd name="connsiteY259" fmla="*/ 665828 h 1160647"/>
              <a:gd name="connsiteX260" fmla="*/ 1416657 w 3195788"/>
              <a:gd name="connsiteY260" fmla="*/ 664206 h 1160647"/>
              <a:gd name="connsiteX261" fmla="*/ 1416657 w 3195788"/>
              <a:gd name="connsiteY261" fmla="*/ 652857 h 1160647"/>
              <a:gd name="connsiteX262" fmla="*/ 1417417 w 3195788"/>
              <a:gd name="connsiteY262" fmla="*/ 652857 h 1160647"/>
              <a:gd name="connsiteX263" fmla="*/ 1422737 w 3195788"/>
              <a:gd name="connsiteY263" fmla="*/ 652857 h 1160647"/>
              <a:gd name="connsiteX264" fmla="*/ 1422737 w 3195788"/>
              <a:gd name="connsiteY264" fmla="*/ 650966 h 1160647"/>
              <a:gd name="connsiteX265" fmla="*/ 1422737 w 3195788"/>
              <a:gd name="connsiteY265" fmla="*/ 637725 h 1160647"/>
              <a:gd name="connsiteX266" fmla="*/ 1426791 w 3195788"/>
              <a:gd name="connsiteY266" fmla="*/ 644210 h 1160647"/>
              <a:gd name="connsiteX267" fmla="*/ 1429071 w 3195788"/>
              <a:gd name="connsiteY267" fmla="*/ 644210 h 1160647"/>
              <a:gd name="connsiteX268" fmla="*/ 1445031 w 3195788"/>
              <a:gd name="connsiteY268" fmla="*/ 644210 h 1160647"/>
              <a:gd name="connsiteX269" fmla="*/ 1445031 w 3195788"/>
              <a:gd name="connsiteY269" fmla="*/ 643399 h 1160647"/>
              <a:gd name="connsiteX270" fmla="*/ 1445031 w 3195788"/>
              <a:gd name="connsiteY270" fmla="*/ 637725 h 1160647"/>
              <a:gd name="connsiteX271" fmla="*/ 1445791 w 3195788"/>
              <a:gd name="connsiteY271" fmla="*/ 637725 h 1160647"/>
              <a:gd name="connsiteX272" fmla="*/ 1451111 w 3195788"/>
              <a:gd name="connsiteY272" fmla="*/ 637725 h 1160647"/>
              <a:gd name="connsiteX273" fmla="*/ 1451111 w 3195788"/>
              <a:gd name="connsiteY273" fmla="*/ 639076 h 1160647"/>
              <a:gd name="connsiteX274" fmla="*/ 1451111 w 3195788"/>
              <a:gd name="connsiteY274" fmla="*/ 648534 h 1160647"/>
              <a:gd name="connsiteX275" fmla="*/ 1489618 w 3195788"/>
              <a:gd name="connsiteY275" fmla="*/ 648534 h 1160647"/>
              <a:gd name="connsiteX276" fmla="*/ 1489618 w 3195788"/>
              <a:gd name="connsiteY276" fmla="*/ 786887 h 1160647"/>
              <a:gd name="connsiteX277" fmla="*/ 1491138 w 3195788"/>
              <a:gd name="connsiteY277" fmla="*/ 786887 h 1160647"/>
              <a:gd name="connsiteX278" fmla="*/ 1501778 w 3195788"/>
              <a:gd name="connsiteY278" fmla="*/ 786887 h 1160647"/>
              <a:gd name="connsiteX279" fmla="*/ 1501778 w 3195788"/>
              <a:gd name="connsiteY279" fmla="*/ 773917 h 1160647"/>
              <a:gd name="connsiteX280" fmla="*/ 1505832 w 3195788"/>
              <a:gd name="connsiteY280" fmla="*/ 773917 h 1160647"/>
              <a:gd name="connsiteX281" fmla="*/ 1505832 w 3195788"/>
              <a:gd name="connsiteY281" fmla="*/ 786887 h 1160647"/>
              <a:gd name="connsiteX282" fmla="*/ 1536232 w 3195788"/>
              <a:gd name="connsiteY282" fmla="*/ 786887 h 1160647"/>
              <a:gd name="connsiteX283" fmla="*/ 1536232 w 3195788"/>
              <a:gd name="connsiteY283" fmla="*/ 756622 h 1160647"/>
              <a:gd name="connsiteX284" fmla="*/ 1548392 w 3195788"/>
              <a:gd name="connsiteY284" fmla="*/ 756622 h 1160647"/>
              <a:gd name="connsiteX285" fmla="*/ 1560552 w 3195788"/>
              <a:gd name="connsiteY285" fmla="*/ 754461 h 1160647"/>
              <a:gd name="connsiteX286" fmla="*/ 1564606 w 3195788"/>
              <a:gd name="connsiteY286" fmla="*/ 756622 h 1160647"/>
              <a:gd name="connsiteX287" fmla="*/ 1574739 w 3195788"/>
              <a:gd name="connsiteY287" fmla="*/ 756622 h 1160647"/>
              <a:gd name="connsiteX288" fmla="*/ 1574739 w 3195788"/>
              <a:gd name="connsiteY288" fmla="*/ 786887 h 1160647"/>
              <a:gd name="connsiteX289" fmla="*/ 1582846 w 3195788"/>
              <a:gd name="connsiteY289" fmla="*/ 786887 h 1160647"/>
              <a:gd name="connsiteX290" fmla="*/ 1582846 w 3195788"/>
              <a:gd name="connsiteY290" fmla="*/ 804182 h 1160647"/>
              <a:gd name="connsiteX291" fmla="*/ 1592182 w 3195788"/>
              <a:gd name="connsiteY291" fmla="*/ 805087 h 1160647"/>
              <a:gd name="connsiteX292" fmla="*/ 1605140 w 3195788"/>
              <a:gd name="connsiteY292" fmla="*/ 805087 h 1160647"/>
              <a:gd name="connsiteX293" fmla="*/ 1605140 w 3195788"/>
              <a:gd name="connsiteY293" fmla="*/ 789049 h 1160647"/>
              <a:gd name="connsiteX294" fmla="*/ 1673096 w 3195788"/>
              <a:gd name="connsiteY294" fmla="*/ 789049 h 1160647"/>
              <a:gd name="connsiteX295" fmla="*/ 1673096 w 3195788"/>
              <a:gd name="connsiteY295" fmla="*/ 703796 h 1160647"/>
              <a:gd name="connsiteX296" fmla="*/ 1745104 w 3195788"/>
              <a:gd name="connsiteY296" fmla="*/ 703796 h 1160647"/>
              <a:gd name="connsiteX297" fmla="*/ 1745104 w 3195788"/>
              <a:gd name="connsiteY297" fmla="*/ 782564 h 1160647"/>
              <a:gd name="connsiteX298" fmla="*/ 1747008 w 3195788"/>
              <a:gd name="connsiteY298" fmla="*/ 782564 h 1160647"/>
              <a:gd name="connsiteX299" fmla="*/ 1748250 w 3195788"/>
              <a:gd name="connsiteY299" fmla="*/ 805087 h 1160647"/>
              <a:gd name="connsiteX300" fmla="*/ 1757926 w 3195788"/>
              <a:gd name="connsiteY300" fmla="*/ 805087 h 1160647"/>
              <a:gd name="connsiteX301" fmla="*/ 1759168 w 3195788"/>
              <a:gd name="connsiteY301" fmla="*/ 782564 h 1160647"/>
              <a:gd name="connsiteX302" fmla="*/ 1765248 w 3195788"/>
              <a:gd name="connsiteY302" fmla="*/ 782564 h 1160647"/>
              <a:gd name="connsiteX303" fmla="*/ 1766490 w 3195788"/>
              <a:gd name="connsiteY303" fmla="*/ 805087 h 1160647"/>
              <a:gd name="connsiteX304" fmla="*/ 1817112 w 3195788"/>
              <a:gd name="connsiteY304" fmla="*/ 805087 h 1160647"/>
              <a:gd name="connsiteX305" fmla="*/ 1817112 w 3195788"/>
              <a:gd name="connsiteY305" fmla="*/ 642059 h 1160647"/>
              <a:gd name="connsiteX306" fmla="*/ 2014439 w 3195788"/>
              <a:gd name="connsiteY306" fmla="*/ 642059 h 1160647"/>
              <a:gd name="connsiteX307" fmla="*/ 2014439 w 3195788"/>
              <a:gd name="connsiteY307" fmla="*/ 805087 h 1160647"/>
              <a:gd name="connsiteX308" fmla="*/ 2033136 w 3195788"/>
              <a:gd name="connsiteY308" fmla="*/ 805087 h 1160647"/>
              <a:gd name="connsiteX309" fmla="*/ 2033136 w 3195788"/>
              <a:gd name="connsiteY309" fmla="*/ 722394 h 1160647"/>
              <a:gd name="connsiteX310" fmla="*/ 2128256 w 3195788"/>
              <a:gd name="connsiteY310" fmla="*/ 722394 h 1160647"/>
              <a:gd name="connsiteX311" fmla="*/ 2140186 w 3195788"/>
              <a:gd name="connsiteY311" fmla="*/ 404253 h 1160647"/>
              <a:gd name="connsiteX312" fmla="*/ 2128026 w 3195788"/>
              <a:gd name="connsiteY312" fmla="*/ 382635 h 1160647"/>
              <a:gd name="connsiteX313" fmla="*/ 2121946 w 3195788"/>
              <a:gd name="connsiteY313" fmla="*/ 378311 h 1160647"/>
              <a:gd name="connsiteX314" fmla="*/ 2130053 w 3195788"/>
              <a:gd name="connsiteY314" fmla="*/ 354532 h 1160647"/>
              <a:gd name="connsiteX315" fmla="*/ 2130053 w 3195788"/>
              <a:gd name="connsiteY315" fmla="*/ 337238 h 1160647"/>
              <a:gd name="connsiteX316" fmla="*/ 2144240 w 3195788"/>
              <a:gd name="connsiteY316" fmla="*/ 337238 h 1160647"/>
              <a:gd name="connsiteX317" fmla="*/ 2144240 w 3195788"/>
              <a:gd name="connsiteY317" fmla="*/ 315620 h 1160647"/>
              <a:gd name="connsiteX318" fmla="*/ 2146266 w 3195788"/>
              <a:gd name="connsiteY318" fmla="*/ 311296 h 1160647"/>
              <a:gd name="connsiteX319" fmla="*/ 2146266 w 3195788"/>
              <a:gd name="connsiteY319" fmla="*/ 233472 h 1160647"/>
              <a:gd name="connsiteX320" fmla="*/ 2144240 w 3195788"/>
              <a:gd name="connsiteY320" fmla="*/ 226987 h 1160647"/>
              <a:gd name="connsiteX321" fmla="*/ 2150320 w 3195788"/>
              <a:gd name="connsiteY321" fmla="*/ 220501 h 1160647"/>
              <a:gd name="connsiteX322" fmla="*/ 2150320 w 3195788"/>
              <a:gd name="connsiteY322" fmla="*/ 162133 h 1160647"/>
              <a:gd name="connsiteX323" fmla="*/ 2152346 w 3195788"/>
              <a:gd name="connsiteY323" fmla="*/ 157810 h 1160647"/>
              <a:gd name="connsiteX324" fmla="*/ 2152346 w 3195788"/>
              <a:gd name="connsiteY324" fmla="*/ 101604 h 1160647"/>
              <a:gd name="connsiteX325" fmla="*/ 2154373 w 3195788"/>
              <a:gd name="connsiteY325" fmla="*/ 82148 h 1160647"/>
              <a:gd name="connsiteX326" fmla="*/ 2158427 w 3195788"/>
              <a:gd name="connsiteY326" fmla="*/ 99442 h 1160647"/>
              <a:gd name="connsiteX327" fmla="*/ 2160453 w 3195788"/>
              <a:gd name="connsiteY327" fmla="*/ 157810 h 1160647"/>
              <a:gd name="connsiteX328" fmla="*/ 2162480 w 3195788"/>
              <a:gd name="connsiteY328" fmla="*/ 220501 h 1160647"/>
              <a:gd name="connsiteX329" fmla="*/ 2168560 w 3195788"/>
              <a:gd name="connsiteY329" fmla="*/ 226987 h 1160647"/>
              <a:gd name="connsiteX330" fmla="*/ 2166533 w 3195788"/>
              <a:gd name="connsiteY330" fmla="*/ 233472 h 1160647"/>
              <a:gd name="connsiteX331" fmla="*/ 2166533 w 3195788"/>
              <a:gd name="connsiteY331" fmla="*/ 311296 h 1160647"/>
              <a:gd name="connsiteX332" fmla="*/ 2168560 w 3195788"/>
              <a:gd name="connsiteY332" fmla="*/ 315620 h 1160647"/>
              <a:gd name="connsiteX333" fmla="*/ 2168560 w 3195788"/>
              <a:gd name="connsiteY333" fmla="*/ 337238 h 1160647"/>
              <a:gd name="connsiteX334" fmla="*/ 2182747 w 3195788"/>
              <a:gd name="connsiteY334" fmla="*/ 337238 h 1160647"/>
              <a:gd name="connsiteX335" fmla="*/ 2182747 w 3195788"/>
              <a:gd name="connsiteY335" fmla="*/ 354532 h 1160647"/>
              <a:gd name="connsiteX336" fmla="*/ 2190854 w 3195788"/>
              <a:gd name="connsiteY336" fmla="*/ 378311 h 1160647"/>
              <a:gd name="connsiteX337" fmla="*/ 2184774 w 3195788"/>
              <a:gd name="connsiteY337" fmla="*/ 382635 h 1160647"/>
              <a:gd name="connsiteX338" fmla="*/ 2172613 w 3195788"/>
              <a:gd name="connsiteY338" fmla="*/ 404253 h 1160647"/>
              <a:gd name="connsiteX339" fmla="*/ 2180720 w 3195788"/>
              <a:gd name="connsiteY339" fmla="*/ 657181 h 1160647"/>
              <a:gd name="connsiteX340" fmla="*/ 2245574 w 3195788"/>
              <a:gd name="connsiteY340" fmla="*/ 657181 h 1160647"/>
              <a:gd name="connsiteX341" fmla="*/ 2245574 w 3195788"/>
              <a:gd name="connsiteY341" fmla="*/ 732843 h 1160647"/>
              <a:gd name="connsiteX342" fmla="*/ 2253681 w 3195788"/>
              <a:gd name="connsiteY342" fmla="*/ 732843 h 1160647"/>
              <a:gd name="connsiteX343" fmla="*/ 2255708 w 3195788"/>
              <a:gd name="connsiteY343" fmla="*/ 726358 h 1160647"/>
              <a:gd name="connsiteX344" fmla="*/ 2261788 w 3195788"/>
              <a:gd name="connsiteY344" fmla="*/ 726358 h 1160647"/>
              <a:gd name="connsiteX345" fmla="*/ 2263815 w 3195788"/>
              <a:gd name="connsiteY345" fmla="*/ 735005 h 1160647"/>
              <a:gd name="connsiteX346" fmla="*/ 2275975 w 3195788"/>
              <a:gd name="connsiteY346" fmla="*/ 735005 h 1160647"/>
              <a:gd name="connsiteX347" fmla="*/ 2275975 w 3195788"/>
              <a:gd name="connsiteY347" fmla="*/ 728519 h 1160647"/>
              <a:gd name="connsiteX348" fmla="*/ 2298268 w 3195788"/>
              <a:gd name="connsiteY348" fmla="*/ 728519 h 1160647"/>
              <a:gd name="connsiteX349" fmla="*/ 2298268 w 3195788"/>
              <a:gd name="connsiteY349" fmla="*/ 735005 h 1160647"/>
              <a:gd name="connsiteX350" fmla="*/ 2318535 w 3195788"/>
              <a:gd name="connsiteY350" fmla="*/ 735005 h 1160647"/>
              <a:gd name="connsiteX351" fmla="*/ 2318535 w 3195788"/>
              <a:gd name="connsiteY351" fmla="*/ 780402 h 1160647"/>
              <a:gd name="connsiteX352" fmla="*/ 2332722 w 3195788"/>
              <a:gd name="connsiteY352" fmla="*/ 780402 h 1160647"/>
              <a:gd name="connsiteX353" fmla="*/ 2332722 w 3195788"/>
              <a:gd name="connsiteY353" fmla="*/ 767431 h 1160647"/>
              <a:gd name="connsiteX354" fmla="*/ 2348936 w 3195788"/>
              <a:gd name="connsiteY354" fmla="*/ 767431 h 1160647"/>
              <a:gd name="connsiteX355" fmla="*/ 2348936 w 3195788"/>
              <a:gd name="connsiteY355" fmla="*/ 588004 h 1160647"/>
              <a:gd name="connsiteX356" fmla="*/ 2355016 w 3195788"/>
              <a:gd name="connsiteY356" fmla="*/ 581518 h 1160647"/>
              <a:gd name="connsiteX357" fmla="*/ 2427977 w 3195788"/>
              <a:gd name="connsiteY357" fmla="*/ 581518 h 1160647"/>
              <a:gd name="connsiteX358" fmla="*/ 2427977 w 3195788"/>
              <a:gd name="connsiteY358" fmla="*/ 590166 h 1160647"/>
              <a:gd name="connsiteX359" fmla="*/ 2438110 w 3195788"/>
              <a:gd name="connsiteY359" fmla="*/ 590166 h 1160647"/>
              <a:gd name="connsiteX360" fmla="*/ 2438110 w 3195788"/>
              <a:gd name="connsiteY360" fmla="*/ 704740 h 1160647"/>
              <a:gd name="connsiteX361" fmla="*/ 2460404 w 3195788"/>
              <a:gd name="connsiteY361" fmla="*/ 704740 h 1160647"/>
              <a:gd name="connsiteX362" fmla="*/ 2460404 w 3195788"/>
              <a:gd name="connsiteY362" fmla="*/ 637725 h 1160647"/>
              <a:gd name="connsiteX363" fmla="*/ 2486751 w 3195788"/>
              <a:gd name="connsiteY363" fmla="*/ 637725 h 1160647"/>
              <a:gd name="connsiteX364" fmla="*/ 2490804 w 3195788"/>
              <a:gd name="connsiteY364" fmla="*/ 633401 h 1160647"/>
              <a:gd name="connsiteX365" fmla="*/ 2498911 w 3195788"/>
              <a:gd name="connsiteY365" fmla="*/ 633401 h 1160647"/>
              <a:gd name="connsiteX366" fmla="*/ 2502964 w 3195788"/>
              <a:gd name="connsiteY366" fmla="*/ 637725 h 1160647"/>
              <a:gd name="connsiteX367" fmla="*/ 2525258 w 3195788"/>
              <a:gd name="connsiteY367" fmla="*/ 637725 h 1160647"/>
              <a:gd name="connsiteX368" fmla="*/ 2525258 w 3195788"/>
              <a:gd name="connsiteY368" fmla="*/ 520989 h 1160647"/>
              <a:gd name="connsiteX369" fmla="*/ 2582005 w 3195788"/>
              <a:gd name="connsiteY369" fmla="*/ 510180 h 1160647"/>
              <a:gd name="connsiteX370" fmla="*/ 2582005 w 3195788"/>
              <a:gd name="connsiteY370" fmla="*/ 511261 h 1160647"/>
              <a:gd name="connsiteX371" fmla="*/ 2582005 w 3195788"/>
              <a:gd name="connsiteY371" fmla="*/ 518827 h 1160647"/>
              <a:gd name="connsiteX372" fmla="*/ 2608352 w 3195788"/>
              <a:gd name="connsiteY372" fmla="*/ 518827 h 1160647"/>
              <a:gd name="connsiteX373" fmla="*/ 2608352 w 3195788"/>
              <a:gd name="connsiteY373" fmla="*/ 773917 h 1160647"/>
              <a:gd name="connsiteX374" fmla="*/ 2630646 w 3195788"/>
              <a:gd name="connsiteY374" fmla="*/ 773917 h 1160647"/>
              <a:gd name="connsiteX375" fmla="*/ 2630646 w 3195788"/>
              <a:gd name="connsiteY375" fmla="*/ 769593 h 1160647"/>
              <a:gd name="connsiteX376" fmla="*/ 2642806 w 3195788"/>
              <a:gd name="connsiteY376" fmla="*/ 769593 h 1160647"/>
              <a:gd name="connsiteX377" fmla="*/ 2642806 w 3195788"/>
              <a:gd name="connsiteY377" fmla="*/ 773917 h 1160647"/>
              <a:gd name="connsiteX378" fmla="*/ 2667126 w 3195788"/>
              <a:gd name="connsiteY378" fmla="*/ 773917 h 1160647"/>
              <a:gd name="connsiteX379" fmla="*/ 2667126 w 3195788"/>
              <a:gd name="connsiteY379" fmla="*/ 760946 h 1160647"/>
              <a:gd name="connsiteX380" fmla="*/ 2695500 w 3195788"/>
              <a:gd name="connsiteY380" fmla="*/ 760946 h 1160647"/>
              <a:gd name="connsiteX381" fmla="*/ 2707660 w 3195788"/>
              <a:gd name="connsiteY381" fmla="*/ 756622 h 1160647"/>
              <a:gd name="connsiteX382" fmla="*/ 2727927 w 3195788"/>
              <a:gd name="connsiteY382" fmla="*/ 760946 h 1160647"/>
              <a:gd name="connsiteX383" fmla="*/ 2727927 w 3195788"/>
              <a:gd name="connsiteY383" fmla="*/ 743652 h 1160647"/>
              <a:gd name="connsiteX384" fmla="*/ 2736034 w 3195788"/>
              <a:gd name="connsiteY384" fmla="*/ 743652 h 1160647"/>
              <a:gd name="connsiteX385" fmla="*/ 2736034 w 3195788"/>
              <a:gd name="connsiteY385" fmla="*/ 730681 h 1160647"/>
              <a:gd name="connsiteX386" fmla="*/ 2792781 w 3195788"/>
              <a:gd name="connsiteY386" fmla="*/ 730681 h 1160647"/>
              <a:gd name="connsiteX387" fmla="*/ 2792781 w 3195788"/>
              <a:gd name="connsiteY387" fmla="*/ 700416 h 1160647"/>
              <a:gd name="connsiteX388" fmla="*/ 2811021 w 3195788"/>
              <a:gd name="connsiteY388" fmla="*/ 700416 h 1160647"/>
              <a:gd name="connsiteX389" fmla="*/ 2811021 w 3195788"/>
              <a:gd name="connsiteY389" fmla="*/ 693931 h 1160647"/>
              <a:gd name="connsiteX390" fmla="*/ 2823181 w 3195788"/>
              <a:gd name="connsiteY390" fmla="*/ 693931 h 1160647"/>
              <a:gd name="connsiteX391" fmla="*/ 2823181 w 3195788"/>
              <a:gd name="connsiteY391" fmla="*/ 700416 h 1160647"/>
              <a:gd name="connsiteX392" fmla="*/ 2839395 w 3195788"/>
              <a:gd name="connsiteY392" fmla="*/ 700416 h 1160647"/>
              <a:gd name="connsiteX393" fmla="*/ 2839395 w 3195788"/>
              <a:gd name="connsiteY393" fmla="*/ 750137 h 1160647"/>
              <a:gd name="connsiteX394" fmla="*/ 2871822 w 3195788"/>
              <a:gd name="connsiteY394" fmla="*/ 750137 h 1160647"/>
              <a:gd name="connsiteX395" fmla="*/ 2871822 w 3195788"/>
              <a:gd name="connsiteY395" fmla="*/ 724196 h 1160647"/>
              <a:gd name="connsiteX396" fmla="*/ 2910329 w 3195788"/>
              <a:gd name="connsiteY396" fmla="*/ 724196 h 1160647"/>
              <a:gd name="connsiteX397" fmla="*/ 2910329 w 3195788"/>
              <a:gd name="connsiteY397" fmla="*/ 693931 h 1160647"/>
              <a:gd name="connsiteX398" fmla="*/ 2958970 w 3195788"/>
              <a:gd name="connsiteY398" fmla="*/ 693931 h 1160647"/>
              <a:gd name="connsiteX399" fmla="*/ 2958970 w 3195788"/>
              <a:gd name="connsiteY399" fmla="*/ 805087 h 1160647"/>
              <a:gd name="connsiteX400" fmla="*/ 2958970 w 3195788"/>
              <a:gd name="connsiteY400" fmla="*/ 818866 h 1160647"/>
              <a:gd name="connsiteX401" fmla="*/ 2968113 w 3195788"/>
              <a:gd name="connsiteY401" fmla="*/ 818866 h 1160647"/>
              <a:gd name="connsiteX402" fmla="*/ 2968113 w 3195788"/>
              <a:gd name="connsiteY402" fmla="*/ 762555 h 1160647"/>
              <a:gd name="connsiteX403" fmla="*/ 2971450 w 3195788"/>
              <a:gd name="connsiteY403" fmla="*/ 756622 h 1160647"/>
              <a:gd name="connsiteX404" fmla="*/ 2971450 w 3195788"/>
              <a:gd name="connsiteY404" fmla="*/ 758514 h 1160647"/>
              <a:gd name="connsiteX405" fmla="*/ 2971450 w 3195788"/>
              <a:gd name="connsiteY405" fmla="*/ 771755 h 1160647"/>
              <a:gd name="connsiteX406" fmla="*/ 2975503 w 3195788"/>
              <a:gd name="connsiteY406" fmla="*/ 726358 h 1160647"/>
              <a:gd name="connsiteX407" fmla="*/ 2976263 w 3195788"/>
              <a:gd name="connsiteY407" fmla="*/ 726358 h 1160647"/>
              <a:gd name="connsiteX408" fmla="*/ 2981583 w 3195788"/>
              <a:gd name="connsiteY408" fmla="*/ 726358 h 1160647"/>
              <a:gd name="connsiteX409" fmla="*/ 2981583 w 3195788"/>
              <a:gd name="connsiteY409" fmla="*/ 661504 h 1160647"/>
              <a:gd name="connsiteX410" fmla="*/ 2982597 w 3195788"/>
              <a:gd name="connsiteY410" fmla="*/ 661504 h 1160647"/>
              <a:gd name="connsiteX411" fmla="*/ 2989690 w 3195788"/>
              <a:gd name="connsiteY411" fmla="*/ 661504 h 1160647"/>
              <a:gd name="connsiteX412" fmla="*/ 3001850 w 3195788"/>
              <a:gd name="connsiteY412" fmla="*/ 618269 h 1160647"/>
              <a:gd name="connsiteX413" fmla="*/ 3003117 w 3195788"/>
              <a:gd name="connsiteY413" fmla="*/ 618269 h 1160647"/>
              <a:gd name="connsiteX414" fmla="*/ 3011984 w 3195788"/>
              <a:gd name="connsiteY414" fmla="*/ 618269 h 1160647"/>
              <a:gd name="connsiteX415" fmla="*/ 3022117 w 3195788"/>
              <a:gd name="connsiteY415" fmla="*/ 661504 h 1160647"/>
              <a:gd name="connsiteX416" fmla="*/ 3023130 w 3195788"/>
              <a:gd name="connsiteY416" fmla="*/ 661504 h 1160647"/>
              <a:gd name="connsiteX417" fmla="*/ 3030224 w 3195788"/>
              <a:gd name="connsiteY417" fmla="*/ 661504 h 1160647"/>
              <a:gd name="connsiteX418" fmla="*/ 3030224 w 3195788"/>
              <a:gd name="connsiteY418" fmla="*/ 700416 h 1160647"/>
              <a:gd name="connsiteX419" fmla="*/ 3031997 w 3195788"/>
              <a:gd name="connsiteY419" fmla="*/ 700416 h 1160647"/>
              <a:gd name="connsiteX420" fmla="*/ 3044411 w 3195788"/>
              <a:gd name="connsiteY420" fmla="*/ 700416 h 1160647"/>
              <a:gd name="connsiteX421" fmla="*/ 3044411 w 3195788"/>
              <a:gd name="connsiteY421" fmla="*/ 702578 h 1160647"/>
              <a:gd name="connsiteX422" fmla="*/ 3044411 w 3195788"/>
              <a:gd name="connsiteY422" fmla="*/ 717710 h 1160647"/>
              <a:gd name="connsiteX423" fmla="*/ 3048464 w 3195788"/>
              <a:gd name="connsiteY423" fmla="*/ 715549 h 1160647"/>
              <a:gd name="connsiteX424" fmla="*/ 3048464 w 3195788"/>
              <a:gd name="connsiteY424" fmla="*/ 700416 h 1160647"/>
              <a:gd name="connsiteX425" fmla="*/ 3049984 w 3195788"/>
              <a:gd name="connsiteY425" fmla="*/ 700416 h 1160647"/>
              <a:gd name="connsiteX426" fmla="*/ 3060624 w 3195788"/>
              <a:gd name="connsiteY426" fmla="*/ 700416 h 1160647"/>
              <a:gd name="connsiteX427" fmla="*/ 3060624 w 3195788"/>
              <a:gd name="connsiteY427" fmla="*/ 702037 h 1160647"/>
              <a:gd name="connsiteX428" fmla="*/ 3060624 w 3195788"/>
              <a:gd name="connsiteY428" fmla="*/ 713387 h 1160647"/>
              <a:gd name="connsiteX429" fmla="*/ 3091025 w 3195788"/>
              <a:gd name="connsiteY429" fmla="*/ 713387 h 1160647"/>
              <a:gd name="connsiteX430" fmla="*/ 3091025 w 3195788"/>
              <a:gd name="connsiteY430" fmla="*/ 676637 h 1160647"/>
              <a:gd name="connsiteX431" fmla="*/ 3092291 w 3195788"/>
              <a:gd name="connsiteY431" fmla="*/ 676637 h 1160647"/>
              <a:gd name="connsiteX432" fmla="*/ 3101158 w 3195788"/>
              <a:gd name="connsiteY432" fmla="*/ 676637 h 1160647"/>
              <a:gd name="connsiteX433" fmla="*/ 3101158 w 3195788"/>
              <a:gd name="connsiteY433" fmla="*/ 698254 h 1160647"/>
              <a:gd name="connsiteX434" fmla="*/ 3103185 w 3195788"/>
              <a:gd name="connsiteY434" fmla="*/ 665828 h 1160647"/>
              <a:gd name="connsiteX435" fmla="*/ 3125478 w 3195788"/>
              <a:gd name="connsiteY435" fmla="*/ 665828 h 1160647"/>
              <a:gd name="connsiteX436" fmla="*/ 3125478 w 3195788"/>
              <a:gd name="connsiteY436" fmla="*/ 664206 h 1160647"/>
              <a:gd name="connsiteX437" fmla="*/ 3125478 w 3195788"/>
              <a:gd name="connsiteY437" fmla="*/ 652857 h 1160647"/>
              <a:gd name="connsiteX438" fmla="*/ 3126238 w 3195788"/>
              <a:gd name="connsiteY438" fmla="*/ 652857 h 1160647"/>
              <a:gd name="connsiteX439" fmla="*/ 3131558 w 3195788"/>
              <a:gd name="connsiteY439" fmla="*/ 652857 h 1160647"/>
              <a:gd name="connsiteX440" fmla="*/ 3131558 w 3195788"/>
              <a:gd name="connsiteY440" fmla="*/ 650966 h 1160647"/>
              <a:gd name="connsiteX441" fmla="*/ 3131558 w 3195788"/>
              <a:gd name="connsiteY441" fmla="*/ 637725 h 1160647"/>
              <a:gd name="connsiteX442" fmla="*/ 3135612 w 3195788"/>
              <a:gd name="connsiteY442" fmla="*/ 644210 h 1160647"/>
              <a:gd name="connsiteX443" fmla="*/ 3137892 w 3195788"/>
              <a:gd name="connsiteY443" fmla="*/ 644210 h 1160647"/>
              <a:gd name="connsiteX444" fmla="*/ 3153852 w 3195788"/>
              <a:gd name="connsiteY444" fmla="*/ 644210 h 1160647"/>
              <a:gd name="connsiteX445" fmla="*/ 3153852 w 3195788"/>
              <a:gd name="connsiteY445" fmla="*/ 643399 h 1160647"/>
              <a:gd name="connsiteX446" fmla="*/ 3153852 w 3195788"/>
              <a:gd name="connsiteY446" fmla="*/ 637725 h 1160647"/>
              <a:gd name="connsiteX447" fmla="*/ 3154612 w 3195788"/>
              <a:gd name="connsiteY447" fmla="*/ 637725 h 1160647"/>
              <a:gd name="connsiteX448" fmla="*/ 3159932 w 3195788"/>
              <a:gd name="connsiteY448" fmla="*/ 637725 h 1160647"/>
              <a:gd name="connsiteX449" fmla="*/ 3159932 w 3195788"/>
              <a:gd name="connsiteY449" fmla="*/ 639076 h 1160647"/>
              <a:gd name="connsiteX450" fmla="*/ 3159932 w 3195788"/>
              <a:gd name="connsiteY450" fmla="*/ 648534 h 1160647"/>
              <a:gd name="connsiteX451" fmla="*/ 3195788 w 3195788"/>
              <a:gd name="connsiteY451" fmla="*/ 648534 h 1160647"/>
              <a:gd name="connsiteX452" fmla="*/ 3195788 w 3195788"/>
              <a:gd name="connsiteY452" fmla="*/ 1159457 h 1160647"/>
              <a:gd name="connsiteX453" fmla="*/ 3031533 w 3195788"/>
              <a:gd name="connsiteY453" fmla="*/ 1159331 h 1160647"/>
              <a:gd name="connsiteX454" fmla="*/ 3031520 w 3195788"/>
              <a:gd name="connsiteY454" fmla="*/ 1160647 h 1160647"/>
              <a:gd name="connsiteX455" fmla="*/ 2054 w 3195788"/>
              <a:gd name="connsiteY455" fmla="*/ 1158314 h 1160647"/>
              <a:gd name="connsiteX456" fmla="*/ 0 w 3195788"/>
              <a:gd name="connsiteY456" fmla="*/ 724196 h 1160647"/>
              <a:gd name="connsiteX457" fmla="*/ 20267 w 3195788"/>
              <a:gd name="connsiteY457" fmla="*/ 724196 h 1160647"/>
              <a:gd name="connsiteX458" fmla="*/ 20774 w 3195788"/>
              <a:gd name="connsiteY458" fmla="*/ 723115 h 1160647"/>
              <a:gd name="connsiteX459" fmla="*/ 24320 w 3195788"/>
              <a:gd name="connsiteY459" fmla="*/ 715549 h 1160647"/>
              <a:gd name="connsiteX460" fmla="*/ 26094 w 3195788"/>
              <a:gd name="connsiteY460" fmla="*/ 715819 h 1160647"/>
              <a:gd name="connsiteX461" fmla="*/ 38507 w 3195788"/>
              <a:gd name="connsiteY461" fmla="*/ 717710 h 1160647"/>
              <a:gd name="connsiteX462" fmla="*/ 39014 w 3195788"/>
              <a:gd name="connsiteY462" fmla="*/ 719062 h 1160647"/>
              <a:gd name="connsiteX463" fmla="*/ 42560 w 3195788"/>
              <a:gd name="connsiteY463" fmla="*/ 728519 h 1160647"/>
              <a:gd name="connsiteX464" fmla="*/ 68907 w 3195788"/>
              <a:gd name="connsiteY464" fmla="*/ 730681 h 1160647"/>
              <a:gd name="connsiteX465" fmla="*/ 68907 w 3195788"/>
              <a:gd name="connsiteY465" fmla="*/ 607460 h 1160647"/>
              <a:gd name="connsiteX466" fmla="*/ 70934 w 3195788"/>
              <a:gd name="connsiteY466" fmla="*/ 607460 h 1160647"/>
              <a:gd name="connsiteX467" fmla="*/ 85121 w 3195788"/>
              <a:gd name="connsiteY467" fmla="*/ 607460 h 1160647"/>
              <a:gd name="connsiteX468" fmla="*/ 85121 w 3195788"/>
              <a:gd name="connsiteY468" fmla="*/ 471268 h 1160647"/>
              <a:gd name="connsiteX469" fmla="*/ 86894 w 3195788"/>
              <a:gd name="connsiteY469" fmla="*/ 471268 h 1160647"/>
              <a:gd name="connsiteX470" fmla="*/ 99308 w 3195788"/>
              <a:gd name="connsiteY470" fmla="*/ 471268 h 1160647"/>
              <a:gd name="connsiteX471" fmla="*/ 99308 w 3195788"/>
              <a:gd name="connsiteY471" fmla="*/ 356694 h 1160647"/>
              <a:gd name="connsiteX472" fmla="*/ 103361 w 3195788"/>
              <a:gd name="connsiteY472" fmla="*/ 328590 h 1160647"/>
              <a:gd name="connsiteX473" fmla="*/ 105388 w 3195788"/>
              <a:gd name="connsiteY473" fmla="*/ 328590 h 1160647"/>
              <a:gd name="connsiteX474" fmla="*/ 119575 w 3195788"/>
              <a:gd name="connsiteY474" fmla="*/ 328590 h 1160647"/>
              <a:gd name="connsiteX475" fmla="*/ 156055 w 3195788"/>
              <a:gd name="connsiteY475" fmla="*/ 246443 h 1160647"/>
              <a:gd name="connsiteX476" fmla="*/ 160109 w 3195788"/>
              <a:gd name="connsiteY476" fmla="*/ 0 h 11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Lst>
            <a:rect l="l" t="t" r="r" b="b"/>
            <a:pathLst>
              <a:path w="3195788" h="1160647">
                <a:moveTo>
                  <a:pt x="160109" y="0"/>
                </a:moveTo>
                <a:cubicBezTo>
                  <a:pt x="160109" y="18"/>
                  <a:pt x="160125" y="2040"/>
                  <a:pt x="162135" y="246443"/>
                </a:cubicBezTo>
                <a:cubicBezTo>
                  <a:pt x="162147" y="246467"/>
                  <a:pt x="162792" y="247808"/>
                  <a:pt x="200642" y="326429"/>
                </a:cubicBezTo>
                <a:lnTo>
                  <a:pt x="202669" y="326429"/>
                </a:lnTo>
                <a:lnTo>
                  <a:pt x="216856" y="326429"/>
                </a:lnTo>
                <a:lnTo>
                  <a:pt x="216856" y="350208"/>
                </a:lnTo>
                <a:cubicBezTo>
                  <a:pt x="216858" y="350214"/>
                  <a:pt x="216896" y="350272"/>
                  <a:pt x="217363" y="351019"/>
                </a:cubicBezTo>
                <a:lnTo>
                  <a:pt x="220909" y="356694"/>
                </a:lnTo>
                <a:lnTo>
                  <a:pt x="220909" y="471268"/>
                </a:lnTo>
                <a:lnTo>
                  <a:pt x="223189" y="471268"/>
                </a:lnTo>
                <a:lnTo>
                  <a:pt x="239150" y="471268"/>
                </a:lnTo>
                <a:lnTo>
                  <a:pt x="239150" y="611783"/>
                </a:lnTo>
                <a:cubicBezTo>
                  <a:pt x="239160" y="611782"/>
                  <a:pt x="239272" y="611761"/>
                  <a:pt x="240670" y="611513"/>
                </a:cubicBezTo>
                <a:lnTo>
                  <a:pt x="251310" y="609622"/>
                </a:lnTo>
                <a:cubicBezTo>
                  <a:pt x="251310" y="609644"/>
                  <a:pt x="251280" y="610978"/>
                  <a:pt x="249283" y="698254"/>
                </a:cubicBezTo>
                <a:cubicBezTo>
                  <a:pt x="249293" y="698256"/>
                  <a:pt x="249404" y="698276"/>
                  <a:pt x="250803" y="698525"/>
                </a:cubicBezTo>
                <a:lnTo>
                  <a:pt x="261443" y="700416"/>
                </a:lnTo>
                <a:cubicBezTo>
                  <a:pt x="261445" y="700423"/>
                  <a:pt x="261465" y="700487"/>
                  <a:pt x="261696" y="701227"/>
                </a:cubicBezTo>
                <a:lnTo>
                  <a:pt x="263470" y="706902"/>
                </a:lnTo>
                <a:cubicBezTo>
                  <a:pt x="263472" y="706893"/>
                  <a:pt x="263517" y="706750"/>
                  <a:pt x="264230" y="704470"/>
                </a:cubicBezTo>
                <a:lnTo>
                  <a:pt x="269550" y="687446"/>
                </a:lnTo>
                <a:lnTo>
                  <a:pt x="271323" y="687446"/>
                </a:lnTo>
                <a:lnTo>
                  <a:pt x="283737" y="687446"/>
                </a:lnTo>
                <a:lnTo>
                  <a:pt x="283737" y="719872"/>
                </a:lnTo>
                <a:cubicBezTo>
                  <a:pt x="283743" y="719877"/>
                  <a:pt x="283820" y="719917"/>
                  <a:pt x="284750" y="720413"/>
                </a:cubicBezTo>
                <a:lnTo>
                  <a:pt x="291844" y="724196"/>
                </a:lnTo>
                <a:lnTo>
                  <a:pt x="291844" y="725547"/>
                </a:lnTo>
                <a:lnTo>
                  <a:pt x="291844" y="735005"/>
                </a:lnTo>
                <a:lnTo>
                  <a:pt x="336431" y="735005"/>
                </a:lnTo>
                <a:lnTo>
                  <a:pt x="336431" y="736086"/>
                </a:lnTo>
                <a:lnTo>
                  <a:pt x="336431" y="743652"/>
                </a:lnTo>
                <a:lnTo>
                  <a:pt x="338457" y="743652"/>
                </a:lnTo>
                <a:lnTo>
                  <a:pt x="352644" y="743652"/>
                </a:lnTo>
                <a:lnTo>
                  <a:pt x="352644" y="713387"/>
                </a:lnTo>
                <a:lnTo>
                  <a:pt x="397231" y="713387"/>
                </a:lnTo>
                <a:lnTo>
                  <a:pt x="397231" y="712036"/>
                </a:lnTo>
                <a:lnTo>
                  <a:pt x="397231" y="702578"/>
                </a:lnTo>
                <a:lnTo>
                  <a:pt x="398245" y="702578"/>
                </a:lnTo>
                <a:lnTo>
                  <a:pt x="405338" y="702578"/>
                </a:lnTo>
                <a:lnTo>
                  <a:pt x="405338" y="700687"/>
                </a:lnTo>
                <a:lnTo>
                  <a:pt x="405338" y="687446"/>
                </a:lnTo>
                <a:lnTo>
                  <a:pt x="406098" y="687446"/>
                </a:lnTo>
                <a:lnTo>
                  <a:pt x="411418" y="687446"/>
                </a:lnTo>
                <a:lnTo>
                  <a:pt x="411418" y="686365"/>
                </a:lnTo>
                <a:lnTo>
                  <a:pt x="411418" y="678798"/>
                </a:lnTo>
                <a:lnTo>
                  <a:pt x="413445" y="678798"/>
                </a:lnTo>
                <a:lnTo>
                  <a:pt x="427632" y="678798"/>
                </a:lnTo>
                <a:lnTo>
                  <a:pt x="427632" y="679879"/>
                </a:lnTo>
                <a:lnTo>
                  <a:pt x="427632" y="687446"/>
                </a:lnTo>
                <a:lnTo>
                  <a:pt x="449925" y="687446"/>
                </a:lnTo>
                <a:lnTo>
                  <a:pt x="449925" y="685554"/>
                </a:lnTo>
                <a:lnTo>
                  <a:pt x="449925" y="672313"/>
                </a:lnTo>
                <a:lnTo>
                  <a:pt x="451699" y="672313"/>
                </a:lnTo>
                <a:lnTo>
                  <a:pt x="464112" y="672313"/>
                </a:lnTo>
                <a:lnTo>
                  <a:pt x="464112" y="696093"/>
                </a:lnTo>
                <a:lnTo>
                  <a:pt x="465126" y="696093"/>
                </a:lnTo>
                <a:lnTo>
                  <a:pt x="472219" y="696093"/>
                </a:lnTo>
                <a:lnTo>
                  <a:pt x="472219" y="695012"/>
                </a:lnTo>
                <a:lnTo>
                  <a:pt x="472219" y="687446"/>
                </a:lnTo>
                <a:lnTo>
                  <a:pt x="473992" y="687446"/>
                </a:lnTo>
                <a:lnTo>
                  <a:pt x="486406" y="687446"/>
                </a:lnTo>
                <a:lnTo>
                  <a:pt x="486406" y="713387"/>
                </a:lnTo>
                <a:lnTo>
                  <a:pt x="488433" y="713387"/>
                </a:lnTo>
                <a:lnTo>
                  <a:pt x="502619" y="713387"/>
                </a:lnTo>
                <a:lnTo>
                  <a:pt x="502619" y="715008"/>
                </a:lnTo>
                <a:lnTo>
                  <a:pt x="502619" y="726358"/>
                </a:lnTo>
                <a:lnTo>
                  <a:pt x="503379" y="726358"/>
                </a:lnTo>
                <a:lnTo>
                  <a:pt x="508700" y="726358"/>
                </a:lnTo>
                <a:lnTo>
                  <a:pt x="508700" y="725547"/>
                </a:lnTo>
                <a:lnTo>
                  <a:pt x="508700" y="719872"/>
                </a:lnTo>
                <a:lnTo>
                  <a:pt x="539100" y="719872"/>
                </a:lnTo>
                <a:lnTo>
                  <a:pt x="539100" y="743652"/>
                </a:lnTo>
                <a:lnTo>
                  <a:pt x="540113" y="743652"/>
                </a:lnTo>
                <a:lnTo>
                  <a:pt x="547207" y="743652"/>
                </a:lnTo>
                <a:lnTo>
                  <a:pt x="547207" y="744733"/>
                </a:lnTo>
                <a:lnTo>
                  <a:pt x="547207" y="752299"/>
                </a:lnTo>
                <a:lnTo>
                  <a:pt x="547967" y="752299"/>
                </a:lnTo>
                <a:lnTo>
                  <a:pt x="553287" y="752299"/>
                </a:lnTo>
                <a:lnTo>
                  <a:pt x="553287" y="750137"/>
                </a:lnTo>
                <a:lnTo>
                  <a:pt x="553287" y="735005"/>
                </a:lnTo>
                <a:lnTo>
                  <a:pt x="554300" y="735005"/>
                </a:lnTo>
                <a:lnTo>
                  <a:pt x="561394" y="735005"/>
                </a:lnTo>
                <a:lnTo>
                  <a:pt x="561394" y="736086"/>
                </a:lnTo>
                <a:lnTo>
                  <a:pt x="561394" y="743652"/>
                </a:lnTo>
                <a:lnTo>
                  <a:pt x="566714" y="741659"/>
                </a:lnTo>
                <a:cubicBezTo>
                  <a:pt x="567474" y="741287"/>
                  <a:pt x="567474" y="741085"/>
                  <a:pt x="567474" y="740679"/>
                </a:cubicBezTo>
                <a:lnTo>
                  <a:pt x="567474" y="735005"/>
                </a:lnTo>
                <a:lnTo>
                  <a:pt x="605981" y="735005"/>
                </a:lnTo>
                <a:lnTo>
                  <a:pt x="605981" y="758784"/>
                </a:lnTo>
                <a:lnTo>
                  <a:pt x="608007" y="758784"/>
                </a:lnTo>
                <a:lnTo>
                  <a:pt x="622194" y="758784"/>
                </a:lnTo>
                <a:lnTo>
                  <a:pt x="622194" y="759865"/>
                </a:lnTo>
                <a:lnTo>
                  <a:pt x="622194" y="767431"/>
                </a:lnTo>
                <a:lnTo>
                  <a:pt x="623968" y="767431"/>
                </a:lnTo>
                <a:lnTo>
                  <a:pt x="636381" y="767431"/>
                </a:lnTo>
                <a:lnTo>
                  <a:pt x="636381" y="743652"/>
                </a:lnTo>
                <a:lnTo>
                  <a:pt x="637394" y="743652"/>
                </a:lnTo>
                <a:lnTo>
                  <a:pt x="644488" y="743652"/>
                </a:lnTo>
                <a:lnTo>
                  <a:pt x="644488" y="711225"/>
                </a:lnTo>
                <a:lnTo>
                  <a:pt x="645501" y="711225"/>
                </a:lnTo>
                <a:lnTo>
                  <a:pt x="652595" y="711225"/>
                </a:lnTo>
                <a:lnTo>
                  <a:pt x="652595" y="709334"/>
                </a:lnTo>
                <a:lnTo>
                  <a:pt x="652595" y="696093"/>
                </a:lnTo>
                <a:cubicBezTo>
                  <a:pt x="650568" y="696093"/>
                  <a:pt x="650568" y="696093"/>
                  <a:pt x="651328" y="694471"/>
                </a:cubicBezTo>
                <a:lnTo>
                  <a:pt x="656648" y="683122"/>
                </a:lnTo>
                <a:cubicBezTo>
                  <a:pt x="656653" y="683139"/>
                  <a:pt x="656848" y="683813"/>
                  <a:pt x="664755" y="711225"/>
                </a:cubicBezTo>
                <a:lnTo>
                  <a:pt x="665515" y="711225"/>
                </a:lnTo>
                <a:lnTo>
                  <a:pt x="670835" y="711225"/>
                </a:lnTo>
                <a:lnTo>
                  <a:pt x="670835" y="605298"/>
                </a:lnTo>
                <a:lnTo>
                  <a:pt x="672355" y="605298"/>
                </a:lnTo>
                <a:lnTo>
                  <a:pt x="682995" y="605298"/>
                </a:lnTo>
                <a:lnTo>
                  <a:pt x="682995" y="557739"/>
                </a:lnTo>
                <a:lnTo>
                  <a:pt x="709342" y="557739"/>
                </a:lnTo>
                <a:lnTo>
                  <a:pt x="709342" y="536121"/>
                </a:lnTo>
                <a:lnTo>
                  <a:pt x="743796" y="536121"/>
                </a:lnTo>
                <a:lnTo>
                  <a:pt x="743796" y="538553"/>
                </a:lnTo>
                <a:lnTo>
                  <a:pt x="743796" y="555577"/>
                </a:lnTo>
                <a:lnTo>
                  <a:pt x="746076" y="555577"/>
                </a:lnTo>
                <a:lnTo>
                  <a:pt x="762036" y="555577"/>
                </a:lnTo>
                <a:lnTo>
                  <a:pt x="762036" y="603136"/>
                </a:lnTo>
                <a:lnTo>
                  <a:pt x="763049" y="603136"/>
                </a:lnTo>
                <a:lnTo>
                  <a:pt x="770143" y="603136"/>
                </a:lnTo>
                <a:lnTo>
                  <a:pt x="784330" y="607460"/>
                </a:lnTo>
                <a:lnTo>
                  <a:pt x="784330" y="646372"/>
                </a:lnTo>
                <a:lnTo>
                  <a:pt x="785343" y="646372"/>
                </a:lnTo>
                <a:lnTo>
                  <a:pt x="792436" y="646372"/>
                </a:lnTo>
                <a:lnTo>
                  <a:pt x="792436" y="647993"/>
                </a:lnTo>
                <a:lnTo>
                  <a:pt x="792436" y="659342"/>
                </a:lnTo>
                <a:lnTo>
                  <a:pt x="794463" y="659342"/>
                </a:lnTo>
                <a:lnTo>
                  <a:pt x="808650" y="659342"/>
                </a:lnTo>
                <a:lnTo>
                  <a:pt x="814730" y="665828"/>
                </a:lnTo>
                <a:lnTo>
                  <a:pt x="814730" y="687446"/>
                </a:lnTo>
                <a:lnTo>
                  <a:pt x="817010" y="687446"/>
                </a:lnTo>
                <a:lnTo>
                  <a:pt x="832970" y="687446"/>
                </a:lnTo>
                <a:lnTo>
                  <a:pt x="832970" y="688526"/>
                </a:lnTo>
                <a:lnTo>
                  <a:pt x="832970" y="696093"/>
                </a:lnTo>
                <a:lnTo>
                  <a:pt x="834237" y="696093"/>
                </a:lnTo>
                <a:lnTo>
                  <a:pt x="843104" y="696093"/>
                </a:lnTo>
                <a:lnTo>
                  <a:pt x="843104" y="698254"/>
                </a:lnTo>
                <a:lnTo>
                  <a:pt x="843104" y="713387"/>
                </a:lnTo>
                <a:cubicBezTo>
                  <a:pt x="847157" y="713387"/>
                  <a:pt x="847157" y="713387"/>
                  <a:pt x="847157" y="711495"/>
                </a:cubicBezTo>
                <a:lnTo>
                  <a:pt x="847157" y="698254"/>
                </a:lnTo>
                <a:lnTo>
                  <a:pt x="848170" y="698254"/>
                </a:lnTo>
                <a:lnTo>
                  <a:pt x="855264" y="698254"/>
                </a:lnTo>
                <a:lnTo>
                  <a:pt x="855264" y="699876"/>
                </a:lnTo>
                <a:lnTo>
                  <a:pt x="855264" y="711225"/>
                </a:lnTo>
                <a:lnTo>
                  <a:pt x="856024" y="711225"/>
                </a:lnTo>
                <a:lnTo>
                  <a:pt x="861344" y="711225"/>
                </a:lnTo>
                <a:cubicBezTo>
                  <a:pt x="861344" y="706902"/>
                  <a:pt x="861344" y="706902"/>
                  <a:pt x="909984" y="706902"/>
                </a:cubicBezTo>
                <a:lnTo>
                  <a:pt x="909984" y="708253"/>
                </a:lnTo>
                <a:lnTo>
                  <a:pt x="909984" y="717710"/>
                </a:lnTo>
                <a:lnTo>
                  <a:pt x="910744" y="717710"/>
                </a:lnTo>
                <a:lnTo>
                  <a:pt x="916065" y="717710"/>
                </a:lnTo>
                <a:lnTo>
                  <a:pt x="916065" y="719872"/>
                </a:lnTo>
                <a:lnTo>
                  <a:pt x="916065" y="735005"/>
                </a:lnTo>
                <a:cubicBezTo>
                  <a:pt x="916073" y="735001"/>
                  <a:pt x="916189" y="734923"/>
                  <a:pt x="918091" y="733654"/>
                </a:cubicBezTo>
                <a:lnTo>
                  <a:pt x="932278" y="724196"/>
                </a:lnTo>
                <a:cubicBezTo>
                  <a:pt x="932280" y="724177"/>
                  <a:pt x="932411" y="723302"/>
                  <a:pt x="938358" y="683122"/>
                </a:cubicBezTo>
                <a:cubicBezTo>
                  <a:pt x="938367" y="683120"/>
                  <a:pt x="938436" y="683094"/>
                  <a:pt x="939118" y="682852"/>
                </a:cubicBezTo>
                <a:lnTo>
                  <a:pt x="944438" y="680960"/>
                </a:lnTo>
                <a:cubicBezTo>
                  <a:pt x="944438" y="680944"/>
                  <a:pt x="944471" y="679883"/>
                  <a:pt x="946465" y="611783"/>
                </a:cubicBezTo>
                <a:cubicBezTo>
                  <a:pt x="946465" y="611801"/>
                  <a:pt x="946498" y="612892"/>
                  <a:pt x="948492" y="680960"/>
                </a:cubicBezTo>
                <a:cubicBezTo>
                  <a:pt x="948501" y="680963"/>
                  <a:pt x="948572" y="680988"/>
                  <a:pt x="949252" y="681230"/>
                </a:cubicBezTo>
                <a:lnTo>
                  <a:pt x="954572" y="683122"/>
                </a:lnTo>
                <a:lnTo>
                  <a:pt x="954572" y="596651"/>
                </a:lnTo>
                <a:cubicBezTo>
                  <a:pt x="958625" y="596651"/>
                  <a:pt x="958625" y="596651"/>
                  <a:pt x="958625" y="564224"/>
                </a:cubicBezTo>
                <a:lnTo>
                  <a:pt x="997132" y="564224"/>
                </a:lnTo>
                <a:lnTo>
                  <a:pt x="997132" y="596651"/>
                </a:lnTo>
                <a:lnTo>
                  <a:pt x="997892" y="596651"/>
                </a:lnTo>
                <a:lnTo>
                  <a:pt x="1003212" y="596651"/>
                </a:lnTo>
                <a:lnTo>
                  <a:pt x="1003212" y="514503"/>
                </a:lnTo>
                <a:lnTo>
                  <a:pt x="1004986" y="514503"/>
                </a:lnTo>
                <a:lnTo>
                  <a:pt x="1017399" y="514503"/>
                </a:lnTo>
                <a:lnTo>
                  <a:pt x="1017399" y="512612"/>
                </a:lnTo>
                <a:lnTo>
                  <a:pt x="1017399" y="499371"/>
                </a:lnTo>
                <a:lnTo>
                  <a:pt x="1039693" y="499371"/>
                </a:lnTo>
                <a:lnTo>
                  <a:pt x="1039693" y="498290"/>
                </a:lnTo>
                <a:lnTo>
                  <a:pt x="1039693" y="490724"/>
                </a:lnTo>
                <a:lnTo>
                  <a:pt x="1041466" y="490724"/>
                </a:lnTo>
                <a:lnTo>
                  <a:pt x="1053880" y="490724"/>
                </a:lnTo>
                <a:lnTo>
                  <a:pt x="1053880" y="491805"/>
                </a:lnTo>
                <a:lnTo>
                  <a:pt x="1053880" y="499371"/>
                </a:lnTo>
                <a:lnTo>
                  <a:pt x="1054640" y="499371"/>
                </a:lnTo>
                <a:lnTo>
                  <a:pt x="1059960" y="499371"/>
                </a:lnTo>
                <a:lnTo>
                  <a:pt x="1070093" y="495047"/>
                </a:lnTo>
                <a:lnTo>
                  <a:pt x="1074146" y="498290"/>
                </a:lnTo>
                <a:lnTo>
                  <a:pt x="1074146" y="490724"/>
                </a:lnTo>
                <a:lnTo>
                  <a:pt x="1076426" y="490724"/>
                </a:lnTo>
                <a:lnTo>
                  <a:pt x="1092387" y="490724"/>
                </a:lnTo>
                <a:lnTo>
                  <a:pt x="1092387" y="491805"/>
                </a:lnTo>
                <a:lnTo>
                  <a:pt x="1092387" y="499371"/>
                </a:lnTo>
                <a:lnTo>
                  <a:pt x="1122787" y="499371"/>
                </a:lnTo>
                <a:lnTo>
                  <a:pt x="1122787" y="500992"/>
                </a:lnTo>
                <a:lnTo>
                  <a:pt x="1122787" y="512342"/>
                </a:lnTo>
                <a:lnTo>
                  <a:pt x="1149134" y="512342"/>
                </a:lnTo>
                <a:lnTo>
                  <a:pt x="1149134" y="542606"/>
                </a:lnTo>
                <a:lnTo>
                  <a:pt x="1149894" y="542606"/>
                </a:lnTo>
                <a:lnTo>
                  <a:pt x="1155214" y="542606"/>
                </a:lnTo>
                <a:lnTo>
                  <a:pt x="1155214" y="543687"/>
                </a:lnTo>
                <a:lnTo>
                  <a:pt x="1155214" y="551254"/>
                </a:lnTo>
                <a:cubicBezTo>
                  <a:pt x="1159268" y="551254"/>
                  <a:pt x="1159268" y="551254"/>
                  <a:pt x="1159268" y="581518"/>
                </a:cubicBezTo>
                <a:lnTo>
                  <a:pt x="1160028" y="581518"/>
                </a:lnTo>
                <a:lnTo>
                  <a:pt x="1165348" y="581518"/>
                </a:lnTo>
                <a:lnTo>
                  <a:pt x="1165348" y="582329"/>
                </a:lnTo>
                <a:lnTo>
                  <a:pt x="1165348" y="588004"/>
                </a:lnTo>
                <a:lnTo>
                  <a:pt x="1166361" y="588004"/>
                </a:lnTo>
                <a:lnTo>
                  <a:pt x="1173454" y="588004"/>
                </a:lnTo>
                <a:lnTo>
                  <a:pt x="1173454" y="618269"/>
                </a:lnTo>
                <a:lnTo>
                  <a:pt x="1175481" y="618269"/>
                </a:lnTo>
                <a:lnTo>
                  <a:pt x="1189668" y="618269"/>
                </a:lnTo>
                <a:lnTo>
                  <a:pt x="1189668" y="642048"/>
                </a:lnTo>
                <a:cubicBezTo>
                  <a:pt x="1191695" y="642048"/>
                  <a:pt x="1191695" y="642048"/>
                  <a:pt x="1191695" y="643669"/>
                </a:cubicBezTo>
                <a:lnTo>
                  <a:pt x="1191695" y="655019"/>
                </a:lnTo>
                <a:lnTo>
                  <a:pt x="1192455" y="655019"/>
                </a:lnTo>
                <a:lnTo>
                  <a:pt x="1197775" y="655019"/>
                </a:lnTo>
                <a:lnTo>
                  <a:pt x="1197775" y="678798"/>
                </a:lnTo>
                <a:lnTo>
                  <a:pt x="1199041" y="678798"/>
                </a:lnTo>
                <a:lnTo>
                  <a:pt x="1207908" y="678798"/>
                </a:lnTo>
                <a:cubicBezTo>
                  <a:pt x="1209935" y="680960"/>
                  <a:pt x="1209935" y="680960"/>
                  <a:pt x="1209935" y="682852"/>
                </a:cubicBezTo>
                <a:lnTo>
                  <a:pt x="1209935" y="696093"/>
                </a:lnTo>
                <a:cubicBezTo>
                  <a:pt x="1209940" y="696086"/>
                  <a:pt x="1210027" y="695979"/>
                  <a:pt x="1211455" y="694201"/>
                </a:cubicBezTo>
                <a:lnTo>
                  <a:pt x="1222095" y="680960"/>
                </a:lnTo>
                <a:lnTo>
                  <a:pt x="1250469" y="680960"/>
                </a:lnTo>
                <a:lnTo>
                  <a:pt x="1250469" y="767431"/>
                </a:lnTo>
                <a:lnTo>
                  <a:pt x="1251229" y="767431"/>
                </a:lnTo>
                <a:lnTo>
                  <a:pt x="1256549" y="767431"/>
                </a:lnTo>
                <a:cubicBezTo>
                  <a:pt x="1256553" y="767423"/>
                  <a:pt x="1256612" y="767323"/>
                  <a:pt x="1257309" y="766080"/>
                </a:cubicBezTo>
                <a:lnTo>
                  <a:pt x="1262629" y="756622"/>
                </a:lnTo>
                <a:lnTo>
                  <a:pt x="1262629" y="758514"/>
                </a:lnTo>
                <a:lnTo>
                  <a:pt x="1262629" y="771755"/>
                </a:lnTo>
                <a:cubicBezTo>
                  <a:pt x="1266682" y="771755"/>
                  <a:pt x="1266682" y="771755"/>
                  <a:pt x="1266682" y="726358"/>
                </a:cubicBezTo>
                <a:lnTo>
                  <a:pt x="1267442" y="726358"/>
                </a:lnTo>
                <a:lnTo>
                  <a:pt x="1272762" y="726358"/>
                </a:lnTo>
                <a:lnTo>
                  <a:pt x="1272762" y="661504"/>
                </a:lnTo>
                <a:lnTo>
                  <a:pt x="1273776" y="661504"/>
                </a:lnTo>
                <a:lnTo>
                  <a:pt x="1280869" y="661504"/>
                </a:lnTo>
                <a:cubicBezTo>
                  <a:pt x="1280875" y="661483"/>
                  <a:pt x="1281139" y="660543"/>
                  <a:pt x="1293029" y="618269"/>
                </a:cubicBezTo>
                <a:lnTo>
                  <a:pt x="1294296" y="618269"/>
                </a:lnTo>
                <a:lnTo>
                  <a:pt x="1303163" y="618269"/>
                </a:lnTo>
                <a:cubicBezTo>
                  <a:pt x="1303168" y="618292"/>
                  <a:pt x="1303394" y="619258"/>
                  <a:pt x="1313296" y="661504"/>
                </a:cubicBezTo>
                <a:lnTo>
                  <a:pt x="1314309" y="661504"/>
                </a:lnTo>
                <a:lnTo>
                  <a:pt x="1321403" y="661504"/>
                </a:lnTo>
                <a:lnTo>
                  <a:pt x="1321403" y="700416"/>
                </a:lnTo>
                <a:lnTo>
                  <a:pt x="1323176" y="700416"/>
                </a:lnTo>
                <a:lnTo>
                  <a:pt x="1335590" y="700416"/>
                </a:lnTo>
                <a:lnTo>
                  <a:pt x="1335590" y="702578"/>
                </a:lnTo>
                <a:lnTo>
                  <a:pt x="1335590" y="717710"/>
                </a:lnTo>
                <a:cubicBezTo>
                  <a:pt x="1339643" y="717710"/>
                  <a:pt x="1339643" y="717710"/>
                  <a:pt x="1339643" y="715549"/>
                </a:cubicBezTo>
                <a:lnTo>
                  <a:pt x="1339643" y="700416"/>
                </a:lnTo>
                <a:lnTo>
                  <a:pt x="1341163" y="700416"/>
                </a:lnTo>
                <a:lnTo>
                  <a:pt x="1351803" y="700416"/>
                </a:lnTo>
                <a:lnTo>
                  <a:pt x="1351803" y="702037"/>
                </a:lnTo>
                <a:lnTo>
                  <a:pt x="1351803" y="713387"/>
                </a:lnTo>
                <a:lnTo>
                  <a:pt x="1382204" y="713387"/>
                </a:lnTo>
                <a:lnTo>
                  <a:pt x="1382204" y="676637"/>
                </a:lnTo>
                <a:lnTo>
                  <a:pt x="1383470" y="676637"/>
                </a:lnTo>
                <a:lnTo>
                  <a:pt x="1392337" y="676637"/>
                </a:lnTo>
                <a:lnTo>
                  <a:pt x="1392337" y="698254"/>
                </a:lnTo>
                <a:cubicBezTo>
                  <a:pt x="1394364" y="698254"/>
                  <a:pt x="1394364" y="698254"/>
                  <a:pt x="1394364" y="665828"/>
                </a:cubicBezTo>
                <a:lnTo>
                  <a:pt x="1416657" y="665828"/>
                </a:lnTo>
                <a:lnTo>
                  <a:pt x="1416657" y="664206"/>
                </a:lnTo>
                <a:lnTo>
                  <a:pt x="1416657" y="652857"/>
                </a:lnTo>
                <a:lnTo>
                  <a:pt x="1417417" y="652857"/>
                </a:lnTo>
                <a:lnTo>
                  <a:pt x="1422737" y="652857"/>
                </a:lnTo>
                <a:lnTo>
                  <a:pt x="1422737" y="650966"/>
                </a:lnTo>
                <a:lnTo>
                  <a:pt x="1422737" y="637725"/>
                </a:lnTo>
                <a:lnTo>
                  <a:pt x="1426791" y="644210"/>
                </a:lnTo>
                <a:lnTo>
                  <a:pt x="1429071" y="644210"/>
                </a:lnTo>
                <a:lnTo>
                  <a:pt x="1445031" y="644210"/>
                </a:lnTo>
                <a:lnTo>
                  <a:pt x="1445031" y="643399"/>
                </a:lnTo>
                <a:lnTo>
                  <a:pt x="1445031" y="637725"/>
                </a:lnTo>
                <a:lnTo>
                  <a:pt x="1445791" y="637725"/>
                </a:lnTo>
                <a:lnTo>
                  <a:pt x="1451111" y="637725"/>
                </a:lnTo>
                <a:lnTo>
                  <a:pt x="1451111" y="639076"/>
                </a:lnTo>
                <a:lnTo>
                  <a:pt x="1451111" y="648534"/>
                </a:lnTo>
                <a:lnTo>
                  <a:pt x="1489618" y="648534"/>
                </a:lnTo>
                <a:lnTo>
                  <a:pt x="1489618" y="786887"/>
                </a:lnTo>
                <a:lnTo>
                  <a:pt x="1491138" y="786887"/>
                </a:lnTo>
                <a:lnTo>
                  <a:pt x="1501778" y="786887"/>
                </a:lnTo>
                <a:lnTo>
                  <a:pt x="1501778" y="773917"/>
                </a:lnTo>
                <a:lnTo>
                  <a:pt x="1505832" y="773917"/>
                </a:lnTo>
                <a:lnTo>
                  <a:pt x="1505832" y="786887"/>
                </a:lnTo>
                <a:lnTo>
                  <a:pt x="1536232" y="786887"/>
                </a:lnTo>
                <a:lnTo>
                  <a:pt x="1536232" y="756622"/>
                </a:lnTo>
                <a:lnTo>
                  <a:pt x="1548392" y="756622"/>
                </a:lnTo>
                <a:lnTo>
                  <a:pt x="1560552" y="754461"/>
                </a:lnTo>
                <a:cubicBezTo>
                  <a:pt x="1562579" y="754461"/>
                  <a:pt x="1562579" y="756622"/>
                  <a:pt x="1564606" y="756622"/>
                </a:cubicBezTo>
                <a:lnTo>
                  <a:pt x="1574739" y="756622"/>
                </a:lnTo>
                <a:lnTo>
                  <a:pt x="1574739" y="786887"/>
                </a:lnTo>
                <a:lnTo>
                  <a:pt x="1582846" y="786887"/>
                </a:lnTo>
                <a:lnTo>
                  <a:pt x="1582846" y="804182"/>
                </a:lnTo>
                <a:lnTo>
                  <a:pt x="1592182" y="805087"/>
                </a:lnTo>
                <a:lnTo>
                  <a:pt x="1605140" y="805087"/>
                </a:lnTo>
                <a:lnTo>
                  <a:pt x="1605140" y="789049"/>
                </a:lnTo>
                <a:lnTo>
                  <a:pt x="1673096" y="789049"/>
                </a:lnTo>
                <a:lnTo>
                  <a:pt x="1673096" y="703796"/>
                </a:lnTo>
                <a:lnTo>
                  <a:pt x="1745104" y="703796"/>
                </a:lnTo>
                <a:lnTo>
                  <a:pt x="1745104" y="782564"/>
                </a:lnTo>
                <a:lnTo>
                  <a:pt x="1747008" y="782564"/>
                </a:lnTo>
                <a:lnTo>
                  <a:pt x="1748250" y="805087"/>
                </a:lnTo>
                <a:lnTo>
                  <a:pt x="1757926" y="805087"/>
                </a:lnTo>
                <a:cubicBezTo>
                  <a:pt x="1758462" y="797873"/>
                  <a:pt x="1759168" y="790219"/>
                  <a:pt x="1759168" y="782564"/>
                </a:cubicBezTo>
                <a:lnTo>
                  <a:pt x="1765248" y="782564"/>
                </a:lnTo>
                <a:lnTo>
                  <a:pt x="1766490" y="805087"/>
                </a:lnTo>
                <a:lnTo>
                  <a:pt x="1817112" y="805087"/>
                </a:lnTo>
                <a:lnTo>
                  <a:pt x="1817112" y="642059"/>
                </a:lnTo>
                <a:lnTo>
                  <a:pt x="2014439" y="642059"/>
                </a:lnTo>
                <a:lnTo>
                  <a:pt x="2014439" y="805087"/>
                </a:lnTo>
                <a:lnTo>
                  <a:pt x="2033136" y="805087"/>
                </a:lnTo>
                <a:lnTo>
                  <a:pt x="2033136" y="722394"/>
                </a:lnTo>
                <a:lnTo>
                  <a:pt x="2128256" y="722394"/>
                </a:lnTo>
                <a:cubicBezTo>
                  <a:pt x="2132331" y="616373"/>
                  <a:pt x="2135709" y="510899"/>
                  <a:pt x="2140186" y="404253"/>
                </a:cubicBezTo>
                <a:cubicBezTo>
                  <a:pt x="2130053" y="404253"/>
                  <a:pt x="2105733" y="391282"/>
                  <a:pt x="2128026" y="382635"/>
                </a:cubicBezTo>
                <a:cubicBezTo>
                  <a:pt x="2125999" y="380473"/>
                  <a:pt x="2123973" y="378311"/>
                  <a:pt x="2121946" y="378311"/>
                </a:cubicBezTo>
                <a:cubicBezTo>
                  <a:pt x="2121946" y="365341"/>
                  <a:pt x="2119919" y="363179"/>
                  <a:pt x="2130053" y="354532"/>
                </a:cubicBezTo>
                <a:lnTo>
                  <a:pt x="2130053" y="337238"/>
                </a:lnTo>
                <a:lnTo>
                  <a:pt x="2144240" y="337238"/>
                </a:lnTo>
                <a:lnTo>
                  <a:pt x="2144240" y="315620"/>
                </a:lnTo>
                <a:cubicBezTo>
                  <a:pt x="2144240" y="313458"/>
                  <a:pt x="2146266" y="313458"/>
                  <a:pt x="2146266" y="311296"/>
                </a:cubicBezTo>
                <a:lnTo>
                  <a:pt x="2146266" y="233472"/>
                </a:lnTo>
                <a:cubicBezTo>
                  <a:pt x="2146266" y="231310"/>
                  <a:pt x="2144240" y="229149"/>
                  <a:pt x="2144240" y="226987"/>
                </a:cubicBezTo>
                <a:lnTo>
                  <a:pt x="2150320" y="220501"/>
                </a:lnTo>
                <a:lnTo>
                  <a:pt x="2150320" y="162133"/>
                </a:lnTo>
                <a:cubicBezTo>
                  <a:pt x="2150320" y="159972"/>
                  <a:pt x="2150320" y="159972"/>
                  <a:pt x="2152346" y="157810"/>
                </a:cubicBezTo>
                <a:lnTo>
                  <a:pt x="2152346" y="101604"/>
                </a:lnTo>
                <a:cubicBezTo>
                  <a:pt x="2154373" y="92957"/>
                  <a:pt x="2154373" y="88633"/>
                  <a:pt x="2154373" y="82148"/>
                </a:cubicBezTo>
                <a:cubicBezTo>
                  <a:pt x="2158427" y="88633"/>
                  <a:pt x="2158427" y="92957"/>
                  <a:pt x="2158427" y="99442"/>
                </a:cubicBezTo>
                <a:cubicBezTo>
                  <a:pt x="2160453" y="121060"/>
                  <a:pt x="2160453" y="140516"/>
                  <a:pt x="2160453" y="157810"/>
                </a:cubicBezTo>
                <a:cubicBezTo>
                  <a:pt x="2162480" y="181589"/>
                  <a:pt x="2162480" y="201045"/>
                  <a:pt x="2162480" y="220501"/>
                </a:cubicBezTo>
                <a:lnTo>
                  <a:pt x="2168560" y="226987"/>
                </a:lnTo>
                <a:cubicBezTo>
                  <a:pt x="2168560" y="229149"/>
                  <a:pt x="2166533" y="231310"/>
                  <a:pt x="2166533" y="233472"/>
                </a:cubicBezTo>
                <a:lnTo>
                  <a:pt x="2166533" y="311296"/>
                </a:lnTo>
                <a:cubicBezTo>
                  <a:pt x="2166533" y="313458"/>
                  <a:pt x="2168560" y="313458"/>
                  <a:pt x="2168560" y="315620"/>
                </a:cubicBezTo>
                <a:lnTo>
                  <a:pt x="2168560" y="337238"/>
                </a:lnTo>
                <a:lnTo>
                  <a:pt x="2182747" y="337238"/>
                </a:lnTo>
                <a:lnTo>
                  <a:pt x="2182747" y="354532"/>
                </a:lnTo>
                <a:cubicBezTo>
                  <a:pt x="2190854" y="363179"/>
                  <a:pt x="2190854" y="363179"/>
                  <a:pt x="2190854" y="378311"/>
                </a:cubicBezTo>
                <a:cubicBezTo>
                  <a:pt x="2188827" y="378311"/>
                  <a:pt x="2186800" y="380473"/>
                  <a:pt x="2184774" y="382635"/>
                </a:cubicBezTo>
                <a:cubicBezTo>
                  <a:pt x="2205040" y="393444"/>
                  <a:pt x="2180720" y="402091"/>
                  <a:pt x="2172613" y="404253"/>
                </a:cubicBezTo>
                <a:cubicBezTo>
                  <a:pt x="2174640" y="488562"/>
                  <a:pt x="2178693" y="572871"/>
                  <a:pt x="2180720" y="657181"/>
                </a:cubicBezTo>
                <a:lnTo>
                  <a:pt x="2245574" y="657181"/>
                </a:lnTo>
                <a:lnTo>
                  <a:pt x="2245574" y="732843"/>
                </a:lnTo>
                <a:lnTo>
                  <a:pt x="2253681" y="732843"/>
                </a:lnTo>
                <a:cubicBezTo>
                  <a:pt x="2253681" y="730681"/>
                  <a:pt x="2255708" y="728519"/>
                  <a:pt x="2255708" y="726358"/>
                </a:cubicBezTo>
                <a:lnTo>
                  <a:pt x="2261788" y="726358"/>
                </a:lnTo>
                <a:cubicBezTo>
                  <a:pt x="2261788" y="728519"/>
                  <a:pt x="2261788" y="730681"/>
                  <a:pt x="2263815" y="735005"/>
                </a:cubicBezTo>
                <a:lnTo>
                  <a:pt x="2275975" y="735005"/>
                </a:lnTo>
                <a:lnTo>
                  <a:pt x="2275975" y="728519"/>
                </a:lnTo>
                <a:lnTo>
                  <a:pt x="2298268" y="728519"/>
                </a:lnTo>
                <a:lnTo>
                  <a:pt x="2298268" y="735005"/>
                </a:lnTo>
                <a:lnTo>
                  <a:pt x="2318535" y="735005"/>
                </a:lnTo>
                <a:lnTo>
                  <a:pt x="2318535" y="780402"/>
                </a:lnTo>
                <a:lnTo>
                  <a:pt x="2332722" y="780402"/>
                </a:lnTo>
                <a:lnTo>
                  <a:pt x="2332722" y="767431"/>
                </a:lnTo>
                <a:lnTo>
                  <a:pt x="2348936" y="767431"/>
                </a:lnTo>
                <a:lnTo>
                  <a:pt x="2348936" y="588004"/>
                </a:lnTo>
                <a:lnTo>
                  <a:pt x="2355016" y="581518"/>
                </a:lnTo>
                <a:lnTo>
                  <a:pt x="2427977" y="581518"/>
                </a:lnTo>
                <a:lnTo>
                  <a:pt x="2427977" y="590166"/>
                </a:lnTo>
                <a:lnTo>
                  <a:pt x="2438110" y="590166"/>
                </a:lnTo>
                <a:lnTo>
                  <a:pt x="2438110" y="704740"/>
                </a:lnTo>
                <a:lnTo>
                  <a:pt x="2460404" y="704740"/>
                </a:lnTo>
                <a:lnTo>
                  <a:pt x="2460404" y="637725"/>
                </a:lnTo>
                <a:lnTo>
                  <a:pt x="2486751" y="637725"/>
                </a:lnTo>
                <a:cubicBezTo>
                  <a:pt x="2488777" y="637725"/>
                  <a:pt x="2488777" y="635563"/>
                  <a:pt x="2490804" y="633401"/>
                </a:cubicBezTo>
                <a:lnTo>
                  <a:pt x="2498911" y="633401"/>
                </a:lnTo>
                <a:cubicBezTo>
                  <a:pt x="2500937" y="635563"/>
                  <a:pt x="2500937" y="637725"/>
                  <a:pt x="2502964" y="637725"/>
                </a:cubicBezTo>
                <a:lnTo>
                  <a:pt x="2525258" y="637725"/>
                </a:lnTo>
                <a:lnTo>
                  <a:pt x="2525258" y="520989"/>
                </a:lnTo>
                <a:cubicBezTo>
                  <a:pt x="2525272" y="520986"/>
                  <a:pt x="2526139" y="520822"/>
                  <a:pt x="2582005" y="510180"/>
                </a:cubicBezTo>
                <a:lnTo>
                  <a:pt x="2582005" y="511261"/>
                </a:lnTo>
                <a:lnTo>
                  <a:pt x="2582005" y="518827"/>
                </a:lnTo>
                <a:lnTo>
                  <a:pt x="2608352" y="518827"/>
                </a:lnTo>
                <a:lnTo>
                  <a:pt x="2608352" y="773917"/>
                </a:lnTo>
                <a:lnTo>
                  <a:pt x="2630646" y="773917"/>
                </a:lnTo>
                <a:lnTo>
                  <a:pt x="2630646" y="769593"/>
                </a:lnTo>
                <a:lnTo>
                  <a:pt x="2642806" y="769593"/>
                </a:lnTo>
                <a:lnTo>
                  <a:pt x="2642806" y="773917"/>
                </a:lnTo>
                <a:lnTo>
                  <a:pt x="2667126" y="773917"/>
                </a:lnTo>
                <a:lnTo>
                  <a:pt x="2667126" y="760946"/>
                </a:lnTo>
                <a:lnTo>
                  <a:pt x="2695500" y="760946"/>
                </a:lnTo>
                <a:cubicBezTo>
                  <a:pt x="2699553" y="756622"/>
                  <a:pt x="2703607" y="756622"/>
                  <a:pt x="2707660" y="756622"/>
                </a:cubicBezTo>
                <a:cubicBezTo>
                  <a:pt x="2713740" y="760946"/>
                  <a:pt x="2721847" y="760946"/>
                  <a:pt x="2727927" y="760946"/>
                </a:cubicBezTo>
                <a:lnTo>
                  <a:pt x="2727927" y="743652"/>
                </a:lnTo>
                <a:lnTo>
                  <a:pt x="2736034" y="743652"/>
                </a:lnTo>
                <a:lnTo>
                  <a:pt x="2736034" y="730681"/>
                </a:lnTo>
                <a:lnTo>
                  <a:pt x="2792781" y="730681"/>
                </a:lnTo>
                <a:lnTo>
                  <a:pt x="2792781" y="700416"/>
                </a:lnTo>
                <a:lnTo>
                  <a:pt x="2811021" y="700416"/>
                </a:lnTo>
                <a:lnTo>
                  <a:pt x="2811021" y="693931"/>
                </a:lnTo>
                <a:lnTo>
                  <a:pt x="2823181" y="693931"/>
                </a:lnTo>
                <a:lnTo>
                  <a:pt x="2823181" y="700416"/>
                </a:lnTo>
                <a:lnTo>
                  <a:pt x="2839395" y="700416"/>
                </a:lnTo>
                <a:lnTo>
                  <a:pt x="2839395" y="750137"/>
                </a:lnTo>
                <a:lnTo>
                  <a:pt x="2871822" y="750137"/>
                </a:lnTo>
                <a:lnTo>
                  <a:pt x="2871822" y="724196"/>
                </a:lnTo>
                <a:lnTo>
                  <a:pt x="2910329" y="724196"/>
                </a:lnTo>
                <a:lnTo>
                  <a:pt x="2910329" y="693931"/>
                </a:lnTo>
                <a:lnTo>
                  <a:pt x="2958970" y="693931"/>
                </a:lnTo>
                <a:lnTo>
                  <a:pt x="2958970" y="805087"/>
                </a:lnTo>
                <a:lnTo>
                  <a:pt x="2958970" y="818866"/>
                </a:lnTo>
                <a:lnTo>
                  <a:pt x="2968113" y="818866"/>
                </a:lnTo>
                <a:lnTo>
                  <a:pt x="2968113" y="762555"/>
                </a:lnTo>
                <a:lnTo>
                  <a:pt x="2971450" y="756622"/>
                </a:lnTo>
                <a:lnTo>
                  <a:pt x="2971450" y="758514"/>
                </a:lnTo>
                <a:lnTo>
                  <a:pt x="2971450" y="771755"/>
                </a:lnTo>
                <a:cubicBezTo>
                  <a:pt x="2975503" y="771755"/>
                  <a:pt x="2975503" y="771755"/>
                  <a:pt x="2975503" y="726358"/>
                </a:cubicBezTo>
                <a:lnTo>
                  <a:pt x="2976263" y="726358"/>
                </a:lnTo>
                <a:lnTo>
                  <a:pt x="2981583" y="726358"/>
                </a:lnTo>
                <a:lnTo>
                  <a:pt x="2981583" y="661504"/>
                </a:lnTo>
                <a:lnTo>
                  <a:pt x="2982597" y="661504"/>
                </a:lnTo>
                <a:lnTo>
                  <a:pt x="2989690" y="661504"/>
                </a:lnTo>
                <a:cubicBezTo>
                  <a:pt x="2989696" y="661483"/>
                  <a:pt x="2989960" y="660543"/>
                  <a:pt x="3001850" y="618269"/>
                </a:cubicBezTo>
                <a:lnTo>
                  <a:pt x="3003117" y="618269"/>
                </a:lnTo>
                <a:lnTo>
                  <a:pt x="3011984" y="618269"/>
                </a:lnTo>
                <a:cubicBezTo>
                  <a:pt x="3011989" y="618292"/>
                  <a:pt x="3012215" y="619258"/>
                  <a:pt x="3022117" y="661504"/>
                </a:cubicBezTo>
                <a:lnTo>
                  <a:pt x="3023130" y="661504"/>
                </a:lnTo>
                <a:lnTo>
                  <a:pt x="3030224" y="661504"/>
                </a:lnTo>
                <a:lnTo>
                  <a:pt x="3030224" y="700416"/>
                </a:lnTo>
                <a:lnTo>
                  <a:pt x="3031997" y="700416"/>
                </a:lnTo>
                <a:lnTo>
                  <a:pt x="3044411" y="700416"/>
                </a:lnTo>
                <a:lnTo>
                  <a:pt x="3044411" y="702578"/>
                </a:lnTo>
                <a:lnTo>
                  <a:pt x="3044411" y="717710"/>
                </a:lnTo>
                <a:cubicBezTo>
                  <a:pt x="3048464" y="717710"/>
                  <a:pt x="3048464" y="717710"/>
                  <a:pt x="3048464" y="715549"/>
                </a:cubicBezTo>
                <a:lnTo>
                  <a:pt x="3048464" y="700416"/>
                </a:lnTo>
                <a:lnTo>
                  <a:pt x="3049984" y="700416"/>
                </a:lnTo>
                <a:lnTo>
                  <a:pt x="3060624" y="700416"/>
                </a:lnTo>
                <a:lnTo>
                  <a:pt x="3060624" y="702037"/>
                </a:lnTo>
                <a:lnTo>
                  <a:pt x="3060624" y="713387"/>
                </a:lnTo>
                <a:lnTo>
                  <a:pt x="3091025" y="713387"/>
                </a:lnTo>
                <a:lnTo>
                  <a:pt x="3091025" y="676637"/>
                </a:lnTo>
                <a:lnTo>
                  <a:pt x="3092291" y="676637"/>
                </a:lnTo>
                <a:lnTo>
                  <a:pt x="3101158" y="676637"/>
                </a:lnTo>
                <a:lnTo>
                  <a:pt x="3101158" y="698254"/>
                </a:lnTo>
                <a:cubicBezTo>
                  <a:pt x="3103185" y="698254"/>
                  <a:pt x="3103185" y="698254"/>
                  <a:pt x="3103185" y="665828"/>
                </a:cubicBezTo>
                <a:lnTo>
                  <a:pt x="3125478" y="665828"/>
                </a:lnTo>
                <a:lnTo>
                  <a:pt x="3125478" y="664206"/>
                </a:lnTo>
                <a:lnTo>
                  <a:pt x="3125478" y="652857"/>
                </a:lnTo>
                <a:lnTo>
                  <a:pt x="3126238" y="652857"/>
                </a:lnTo>
                <a:lnTo>
                  <a:pt x="3131558" y="652857"/>
                </a:lnTo>
                <a:lnTo>
                  <a:pt x="3131558" y="650966"/>
                </a:lnTo>
                <a:lnTo>
                  <a:pt x="3131558" y="637725"/>
                </a:lnTo>
                <a:lnTo>
                  <a:pt x="3135612" y="644210"/>
                </a:lnTo>
                <a:lnTo>
                  <a:pt x="3137892" y="644210"/>
                </a:lnTo>
                <a:lnTo>
                  <a:pt x="3153852" y="644210"/>
                </a:lnTo>
                <a:lnTo>
                  <a:pt x="3153852" y="643399"/>
                </a:lnTo>
                <a:lnTo>
                  <a:pt x="3153852" y="637725"/>
                </a:lnTo>
                <a:lnTo>
                  <a:pt x="3154612" y="637725"/>
                </a:lnTo>
                <a:lnTo>
                  <a:pt x="3159932" y="637725"/>
                </a:lnTo>
                <a:lnTo>
                  <a:pt x="3159932" y="639076"/>
                </a:lnTo>
                <a:lnTo>
                  <a:pt x="3159932" y="648534"/>
                </a:lnTo>
                <a:lnTo>
                  <a:pt x="3195788" y="648534"/>
                </a:lnTo>
                <a:lnTo>
                  <a:pt x="3195788" y="1159457"/>
                </a:lnTo>
                <a:lnTo>
                  <a:pt x="3031533" y="1159331"/>
                </a:lnTo>
                <a:lnTo>
                  <a:pt x="3031520" y="1160647"/>
                </a:lnTo>
                <a:lnTo>
                  <a:pt x="2054" y="1158314"/>
                </a:lnTo>
                <a:cubicBezTo>
                  <a:pt x="1369" y="1010750"/>
                  <a:pt x="685" y="871760"/>
                  <a:pt x="0" y="724196"/>
                </a:cubicBezTo>
                <a:lnTo>
                  <a:pt x="20267" y="724196"/>
                </a:lnTo>
                <a:cubicBezTo>
                  <a:pt x="20271" y="724190"/>
                  <a:pt x="20308" y="724108"/>
                  <a:pt x="20774" y="723115"/>
                </a:cubicBezTo>
                <a:lnTo>
                  <a:pt x="24320" y="715549"/>
                </a:lnTo>
                <a:cubicBezTo>
                  <a:pt x="24329" y="715550"/>
                  <a:pt x="24442" y="715568"/>
                  <a:pt x="26094" y="715819"/>
                </a:cubicBezTo>
                <a:lnTo>
                  <a:pt x="38507" y="717710"/>
                </a:lnTo>
                <a:cubicBezTo>
                  <a:pt x="38510" y="717720"/>
                  <a:pt x="38548" y="717821"/>
                  <a:pt x="39014" y="719062"/>
                </a:cubicBezTo>
                <a:lnTo>
                  <a:pt x="42560" y="728519"/>
                </a:lnTo>
                <a:cubicBezTo>
                  <a:pt x="42574" y="728520"/>
                  <a:pt x="43170" y="728570"/>
                  <a:pt x="68907" y="730681"/>
                </a:cubicBezTo>
                <a:lnTo>
                  <a:pt x="68907" y="607460"/>
                </a:lnTo>
                <a:lnTo>
                  <a:pt x="70934" y="607460"/>
                </a:lnTo>
                <a:lnTo>
                  <a:pt x="85121" y="607460"/>
                </a:lnTo>
                <a:lnTo>
                  <a:pt x="85121" y="471268"/>
                </a:lnTo>
                <a:lnTo>
                  <a:pt x="86894" y="471268"/>
                </a:lnTo>
                <a:lnTo>
                  <a:pt x="99308" y="471268"/>
                </a:lnTo>
                <a:lnTo>
                  <a:pt x="99308" y="356694"/>
                </a:lnTo>
                <a:cubicBezTo>
                  <a:pt x="103361" y="354532"/>
                  <a:pt x="103361" y="354532"/>
                  <a:pt x="103361" y="328590"/>
                </a:cubicBezTo>
                <a:lnTo>
                  <a:pt x="105388" y="328590"/>
                </a:lnTo>
                <a:lnTo>
                  <a:pt x="119575" y="328590"/>
                </a:lnTo>
                <a:cubicBezTo>
                  <a:pt x="119586" y="328567"/>
                  <a:pt x="120192" y="327200"/>
                  <a:pt x="156055" y="246443"/>
                </a:cubicBezTo>
                <a:cubicBezTo>
                  <a:pt x="156055" y="246429"/>
                  <a:pt x="156089" y="244478"/>
                  <a:pt x="160109" y="0"/>
                </a:cubicBezTo>
                <a:close/>
              </a:path>
            </a:pathLst>
          </a:custGeom>
          <a:solidFill>
            <a:srgbClr val="D42E12">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ko-KR" altLang="en-US" sz="2026"/>
          </a:p>
        </p:txBody>
      </p:sp>
      <p:sp>
        <p:nvSpPr>
          <p:cNvPr id="41" name="Subtitle 2">
            <a:extLst>
              <a:ext uri="{FF2B5EF4-FFF2-40B4-BE49-F238E27FC236}">
                <a16:creationId xmlns:a16="http://schemas.microsoft.com/office/drawing/2014/main" id="{1CA9F601-F0F3-40D3-B063-6C30F3634308}"/>
              </a:ext>
            </a:extLst>
          </p:cNvPr>
          <p:cNvSpPr>
            <a:spLocks noGrp="1"/>
          </p:cNvSpPr>
          <p:nvPr>
            <p:ph type="subTitle" idx="1"/>
          </p:nvPr>
        </p:nvSpPr>
        <p:spPr>
          <a:xfrm>
            <a:off x="1540611" y="2251684"/>
            <a:ext cx="4171467" cy="2969266"/>
          </a:xfrm>
        </p:spPr>
        <p:txBody>
          <a:bodyPr/>
          <a:lstStyle/>
          <a:p>
            <a:pPr marL="160517" indent="-342900">
              <a:buFont typeface="Wingdings" panose="05000000000000000000" pitchFamily="2" charset="2"/>
              <a:buChar char="Ø"/>
            </a:pPr>
            <a:r>
              <a:rPr lang="en-GB" sz="1800" dirty="0"/>
              <a:t>Safety Briefing</a:t>
            </a:r>
          </a:p>
          <a:p>
            <a:pPr marL="160517" indent="-342900">
              <a:buFont typeface="Wingdings" panose="05000000000000000000" pitchFamily="2" charset="2"/>
              <a:buChar char="Ø"/>
            </a:pPr>
            <a:r>
              <a:rPr lang="en-US" sz="1800" dirty="0"/>
              <a:t>Welcome &amp; Introduction</a:t>
            </a:r>
          </a:p>
          <a:p>
            <a:pPr marL="160517" indent="-342900">
              <a:buFont typeface="Wingdings" panose="05000000000000000000" pitchFamily="2" charset="2"/>
              <a:buChar char="Ø"/>
            </a:pPr>
            <a:r>
              <a:rPr lang="en-GB" sz="1800" dirty="0"/>
              <a:t>Purpose of the Briefing Session</a:t>
            </a:r>
          </a:p>
          <a:p>
            <a:pPr marL="160517" indent="-342900">
              <a:buFont typeface="Wingdings" panose="05000000000000000000" pitchFamily="2" charset="2"/>
              <a:buChar char="Ø"/>
            </a:pPr>
            <a:r>
              <a:rPr lang="en-US" sz="1800" dirty="0"/>
              <a:t>Tender Process</a:t>
            </a:r>
          </a:p>
          <a:p>
            <a:pPr marL="160517" indent="-342900">
              <a:buFont typeface="Wingdings" panose="05000000000000000000" pitchFamily="2" charset="2"/>
              <a:buChar char="Ø"/>
            </a:pPr>
            <a:r>
              <a:rPr lang="en-US" sz="1800" dirty="0"/>
              <a:t>Evaluation Process</a:t>
            </a:r>
          </a:p>
          <a:p>
            <a:pPr marL="160517" indent="-342900">
              <a:buFont typeface="Wingdings" panose="05000000000000000000" pitchFamily="2" charset="2"/>
              <a:buChar char="Ø"/>
            </a:pPr>
            <a:endParaRPr lang="en-US" sz="1800" dirty="0"/>
          </a:p>
        </p:txBody>
      </p:sp>
      <p:sp>
        <p:nvSpPr>
          <p:cNvPr id="44" name="Subtitle 2">
            <a:extLst>
              <a:ext uri="{FF2B5EF4-FFF2-40B4-BE49-F238E27FC236}">
                <a16:creationId xmlns:a16="http://schemas.microsoft.com/office/drawing/2014/main" id="{1CA9F601-F0F3-40D3-B063-6C30F3634308}"/>
              </a:ext>
            </a:extLst>
          </p:cNvPr>
          <p:cNvSpPr txBox="1">
            <a:spLocks/>
          </p:cNvSpPr>
          <p:nvPr/>
        </p:nvSpPr>
        <p:spPr>
          <a:xfrm>
            <a:off x="5851303" y="2212495"/>
            <a:ext cx="5328305" cy="2128576"/>
          </a:xfrm>
          <a:prstGeom prst="rect">
            <a:avLst/>
          </a:prstGeom>
        </p:spPr>
        <p:txBody>
          <a:bodyPr vert="horz" lIns="36000" tIns="18000" rIns="0" bIns="18000" rtlCol="0">
            <a:noAutofit/>
          </a:bodyPr>
          <a:lstStyle>
            <a:lvl1pPr marL="7521" marR="361381" indent="-189904" algn="l" defTabSz="779173" rtl="0" eaLnBrk="1" latinLnBrk="0" hangingPunct="1">
              <a:lnSpc>
                <a:spcPct val="165300"/>
              </a:lnSpc>
              <a:spcBef>
                <a:spcPts val="56"/>
              </a:spcBef>
              <a:spcAft>
                <a:spcPts val="341"/>
              </a:spcAft>
              <a:buFont typeface="Arial" pitchFamily="34" charset="0"/>
              <a:buNone/>
              <a:defRPr sz="1700" kern="12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defTabSz="779173" rtl="0" eaLnBrk="1" latinLnBrk="0" hangingPunct="1">
              <a:lnSpc>
                <a:spcPct val="110000"/>
              </a:lnSpc>
              <a:spcBef>
                <a:spcPts val="171"/>
              </a:spcBef>
              <a:spcAft>
                <a:spcPts val="171"/>
              </a:spcAft>
              <a:buFont typeface="Arial" pitchFamily="34" charset="0"/>
              <a:buNone/>
              <a:defRPr sz="2000" kern="1200">
                <a:solidFill>
                  <a:schemeClr val="tx1">
                    <a:lumMod val="50000"/>
                    <a:lumOff val="50000"/>
                  </a:schemeClr>
                </a:solidFill>
                <a:latin typeface="+mn-lt"/>
                <a:ea typeface="+mn-ea"/>
                <a:cs typeface="+mn-cs"/>
              </a:defRPr>
            </a:lvl2pPr>
            <a:lvl3pPr marL="914400" indent="0" algn="ctr" defTabSz="779173" rtl="0" eaLnBrk="1" latinLnBrk="0" hangingPunct="1">
              <a:lnSpc>
                <a:spcPct val="110000"/>
              </a:lnSpc>
              <a:spcBef>
                <a:spcPts val="85"/>
              </a:spcBef>
              <a:spcAft>
                <a:spcPts val="171"/>
              </a:spcAft>
              <a:buFont typeface="Arial" pitchFamily="34" charset="0"/>
              <a:buNone/>
              <a:defRPr sz="1800" kern="1200">
                <a:solidFill>
                  <a:schemeClr val="tx1">
                    <a:lumMod val="50000"/>
                    <a:lumOff val="50000"/>
                  </a:schemeClr>
                </a:solidFill>
                <a:latin typeface="+mn-lt"/>
                <a:ea typeface="+mn-ea"/>
                <a:cs typeface="+mn-cs"/>
              </a:defRPr>
            </a:lvl3pPr>
            <a:lvl4pPr marL="1371600" indent="0" algn="ctr" defTabSz="779173" rtl="0" eaLnBrk="1" latinLnBrk="0" hangingPunct="1">
              <a:lnSpc>
                <a:spcPct val="110000"/>
              </a:lnSpc>
              <a:spcBef>
                <a:spcPts val="85"/>
              </a:spcBef>
              <a:spcAft>
                <a:spcPts val="171"/>
              </a:spcAft>
              <a:buFont typeface="Arial" pitchFamily="34" charset="0"/>
              <a:buNone/>
              <a:defRPr sz="1600" kern="1200">
                <a:solidFill>
                  <a:schemeClr val="tx1">
                    <a:lumMod val="50000"/>
                    <a:lumOff val="50000"/>
                  </a:schemeClr>
                </a:solidFill>
                <a:latin typeface="+mn-lt"/>
                <a:ea typeface="+mn-ea"/>
                <a:cs typeface="+mn-cs"/>
              </a:defRPr>
            </a:lvl4pPr>
            <a:lvl5pPr marL="1828800" indent="0" algn="ctr" defTabSz="779173" rtl="0" eaLnBrk="1" latinLnBrk="0" hangingPunct="1">
              <a:lnSpc>
                <a:spcPct val="110000"/>
              </a:lnSpc>
              <a:spcBef>
                <a:spcPts val="85"/>
              </a:spcBef>
              <a:spcAft>
                <a:spcPts val="171"/>
              </a:spcAft>
              <a:buFont typeface="Arial" pitchFamily="34" charset="0"/>
              <a:buNone/>
              <a:defRPr sz="1600" kern="1200">
                <a:solidFill>
                  <a:schemeClr val="tx1">
                    <a:lumMod val="50000"/>
                    <a:lumOff val="50000"/>
                  </a:schemeClr>
                </a:solidFill>
                <a:latin typeface="+mn-lt"/>
                <a:ea typeface="+mn-ea"/>
                <a:cs typeface="+mn-cs"/>
              </a:defRPr>
            </a:lvl5pPr>
            <a:lvl6pPr marL="22860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en-US" sz="1800" dirty="0"/>
              <a:t>Technical evaluation methodology</a:t>
            </a:r>
          </a:p>
          <a:p>
            <a:pPr marL="160517" indent="-342900">
              <a:buFont typeface="Wingdings" panose="05000000000000000000" pitchFamily="2" charset="2"/>
              <a:buChar char="Ø"/>
            </a:pPr>
            <a:r>
              <a:rPr lang="en-US" altLang="en-US" sz="1800" dirty="0"/>
              <a:t>Technical </a:t>
            </a:r>
          </a:p>
          <a:p>
            <a:pPr marL="160517" indent="-342900">
              <a:buFont typeface="Wingdings" panose="05000000000000000000" pitchFamily="2" charset="2"/>
              <a:buChar char="Ø"/>
            </a:pPr>
            <a:r>
              <a:rPr lang="en-US" altLang="en-US" sz="1800" dirty="0"/>
              <a:t>Pricing Schedule</a:t>
            </a:r>
          </a:p>
          <a:p>
            <a:pPr marL="160517" indent="-342900">
              <a:buFont typeface="Wingdings" panose="05000000000000000000" pitchFamily="2" charset="2"/>
              <a:buChar char="Ø"/>
            </a:pPr>
            <a:r>
              <a:rPr lang="en-US" altLang="en-US" sz="1800" dirty="0"/>
              <a:t>Specific Goals</a:t>
            </a:r>
          </a:p>
          <a:p>
            <a:pPr marL="160517" indent="-342900">
              <a:buFont typeface="Wingdings" panose="05000000000000000000" pitchFamily="2" charset="2"/>
              <a:buChar char="Ø"/>
            </a:pPr>
            <a:r>
              <a:rPr lang="en-US" altLang="en-US" sz="1800" dirty="0"/>
              <a:t>Questions &amp; Answers </a:t>
            </a:r>
          </a:p>
          <a:p>
            <a:pPr marL="160517" indent="-342900">
              <a:buFont typeface="Wingdings" panose="05000000000000000000" pitchFamily="2" charset="2"/>
              <a:buChar char="Ø"/>
            </a:pPr>
            <a:r>
              <a:rPr lang="en-ZA" sz="1800" dirty="0"/>
              <a:t>Closure</a:t>
            </a:r>
          </a:p>
        </p:txBody>
      </p:sp>
      <p:sp>
        <p:nvSpPr>
          <p:cNvPr id="2" name="TextBox 1"/>
          <p:cNvSpPr txBox="1"/>
          <p:nvPr/>
        </p:nvSpPr>
        <p:spPr>
          <a:xfrm>
            <a:off x="353963" y="6193989"/>
            <a:ext cx="12192000" cy="584775"/>
          </a:xfrm>
          <a:prstGeom prst="rect">
            <a:avLst/>
          </a:prstGeom>
          <a:noFill/>
        </p:spPr>
        <p:txBody>
          <a:bodyPr wrap="square" rtlCol="0">
            <a:spAutoFit/>
          </a:bodyPr>
          <a:lstStyle/>
          <a:p>
            <a:pPr algn="ctr"/>
            <a:r>
              <a:rPr lang="en-ZA" sz="1600" b="1" dirty="0">
                <a:solidFill>
                  <a:srgbClr val="FF0000"/>
                </a:solidFill>
                <a:latin typeface="+mn-lt"/>
              </a:rPr>
              <a:t>Before proceeding, all attendees are requested to state their name and company name</a:t>
            </a:r>
          </a:p>
          <a:p>
            <a:pPr algn="ctr"/>
            <a:r>
              <a:rPr lang="en-ZA" sz="1600" b="1" dirty="0">
                <a:solidFill>
                  <a:srgbClr val="FF0000"/>
                </a:solidFill>
                <a:latin typeface="+mn-lt"/>
              </a:rPr>
              <a:t>to be recorded by the presenter as proof of attendance.</a:t>
            </a:r>
          </a:p>
        </p:txBody>
      </p:sp>
    </p:spTree>
    <p:extLst>
      <p:ext uri="{BB962C8B-B14F-4D97-AF65-F5344CB8AC3E}">
        <p14:creationId xmlns:p14="http://schemas.microsoft.com/office/powerpoint/2010/main" val="29375808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80AD1-C39D-CCD0-7B58-C19BA0483592}"/>
            </a:ext>
          </a:extLst>
        </p:cNvPr>
        <p:cNvGrpSpPr/>
        <p:nvPr/>
      </p:nvGrpSpPr>
      <p:grpSpPr>
        <a:xfrm>
          <a:off x="0" y="0"/>
          <a:ext cx="0" cy="0"/>
          <a:chOff x="0" y="0"/>
          <a:chExt cx="0" cy="0"/>
        </a:xfrm>
      </p:grpSpPr>
      <p:graphicFrame>
        <p:nvGraphicFramePr>
          <p:cNvPr id="9" name="Diagram 8">
            <a:extLst>
              <a:ext uri="{FF2B5EF4-FFF2-40B4-BE49-F238E27FC236}">
                <a16:creationId xmlns:a16="http://schemas.microsoft.com/office/drawing/2014/main" id="{DC1EE118-E468-3099-7040-E8A5C6798B72}"/>
              </a:ext>
            </a:extLst>
          </p:cNvPr>
          <p:cNvGraphicFramePr/>
          <p:nvPr>
            <p:extLst>
              <p:ext uri="{D42A27DB-BD31-4B8C-83A1-F6EECF244321}">
                <p14:modId xmlns:p14="http://schemas.microsoft.com/office/powerpoint/2010/main" val="146710909"/>
              </p:ext>
            </p:extLst>
          </p:nvPr>
        </p:nvGraphicFramePr>
        <p:xfrm>
          <a:off x="741892" y="1106617"/>
          <a:ext cx="10288175" cy="12883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DE822DCD-16DA-76C9-E9CA-C8F4732A1193}"/>
              </a:ext>
            </a:extLst>
          </p:cNvPr>
          <p:cNvSpPr/>
          <p:nvPr/>
        </p:nvSpPr>
        <p:spPr>
          <a:xfrm>
            <a:off x="563908" y="287956"/>
            <a:ext cx="6713697" cy="491225"/>
          </a:xfrm>
          <a:prstGeom prst="rect">
            <a:avLst/>
          </a:prstGeom>
        </p:spPr>
        <p:txBody>
          <a:bodyPr wrap="none">
            <a:spAutoFit/>
          </a:bodyPr>
          <a:lstStyle/>
          <a:p>
            <a:pPr lvl="2" algn="ctr">
              <a:lnSpc>
                <a:spcPct val="150000"/>
              </a:lnSpc>
              <a:spcBef>
                <a:spcPts val="300"/>
              </a:spcBef>
            </a:pPr>
            <a:r>
              <a:rPr lang="en-US" sz="2000" b="1" dirty="0">
                <a:effectLst/>
                <a:latin typeface="Tahoma" panose="020B0604030504040204" pitchFamily="34" charset="0"/>
                <a:ea typeface="Times New Roman" panose="02020603050405020304" pitchFamily="18" charset="0"/>
                <a:cs typeface="Times New Roman" panose="02020603050405020304" pitchFamily="18" charset="0"/>
              </a:rPr>
              <a:t>Recovery Excavators and Lowbed Trailers</a:t>
            </a:r>
            <a:endParaRPr lang="en-ZA" sz="2000" dirty="0">
              <a:effectLst/>
              <a:latin typeface="Tahoma" panose="020B0604030504040204" pitchFamily="34" charset="0"/>
              <a:ea typeface="Times New Roman" panose="02020603050405020304" pitchFamily="18" charset="0"/>
              <a:cs typeface="Times New Roman" panose="02020603050405020304" pitchFamily="18" charset="0"/>
            </a:endParaRPr>
          </a:p>
        </p:txBody>
      </p:sp>
      <p:graphicFrame>
        <p:nvGraphicFramePr>
          <p:cNvPr id="10" name="Diagram 9">
            <a:extLst>
              <a:ext uri="{FF2B5EF4-FFF2-40B4-BE49-F238E27FC236}">
                <a16:creationId xmlns:a16="http://schemas.microsoft.com/office/drawing/2014/main" id="{216BBB46-E9EE-48A5-CB72-717742197EB0}"/>
              </a:ext>
            </a:extLst>
          </p:cNvPr>
          <p:cNvGraphicFramePr/>
          <p:nvPr>
            <p:extLst>
              <p:ext uri="{D42A27DB-BD31-4B8C-83A1-F6EECF244321}">
                <p14:modId xmlns:p14="http://schemas.microsoft.com/office/powerpoint/2010/main" val="2158249223"/>
              </p:ext>
            </p:extLst>
          </p:nvPr>
        </p:nvGraphicFramePr>
        <p:xfrm>
          <a:off x="563908" y="3019701"/>
          <a:ext cx="10288174" cy="178734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958055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18BCDE-16B0-4767-AE8C-6B5DDF70E560}"/>
              </a:ext>
            </a:extLst>
          </p:cNvPr>
          <p:cNvSpPr>
            <a:spLocks noGrp="1"/>
          </p:cNvSpPr>
          <p:nvPr>
            <p:ph type="title"/>
          </p:nvPr>
        </p:nvSpPr>
        <p:spPr/>
        <p:txBody>
          <a:bodyPr/>
          <a:lstStyle/>
          <a:p>
            <a:r>
              <a:rPr lang="en-US" dirty="0"/>
              <a:t>					</a:t>
            </a:r>
            <a:endParaRPr lang="en-ZA" dirty="0"/>
          </a:p>
        </p:txBody>
      </p:sp>
      <p:sp>
        <p:nvSpPr>
          <p:cNvPr id="26" name="Title 43">
            <a:extLst>
              <a:ext uri="{FF2B5EF4-FFF2-40B4-BE49-F238E27FC236}">
                <a16:creationId xmlns:a16="http://schemas.microsoft.com/office/drawing/2014/main" id="{03FA7BBF-7E88-4FEC-B6BF-744E8C88A394}"/>
              </a:ext>
            </a:extLst>
          </p:cNvPr>
          <p:cNvSpPr txBox="1">
            <a:spLocks/>
          </p:cNvSpPr>
          <p:nvPr/>
        </p:nvSpPr>
        <p:spPr>
          <a:xfrm>
            <a:off x="106856" y="155463"/>
            <a:ext cx="10605534" cy="523220"/>
          </a:xfrm>
          <a:prstGeom prst="rect">
            <a:avLst/>
          </a:prstGeom>
        </p:spPr>
        <p:txBody>
          <a:bodyPr wrap="square">
            <a:spAutoFit/>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marL="0" marR="0" lvl="0" indent="0" algn="ctr" defTabSz="779173"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7D8F28"/>
                </a:solidFill>
                <a:effectLst/>
                <a:uLnTx/>
                <a:uFillTx/>
                <a:latin typeface="Tahoma"/>
                <a:ea typeface="+mj-ea"/>
                <a:cs typeface="+mj-cs"/>
              </a:rPr>
              <a:t>Recovery Excavators and Lowbed Trailers</a:t>
            </a:r>
          </a:p>
        </p:txBody>
      </p:sp>
      <p:graphicFrame>
        <p:nvGraphicFramePr>
          <p:cNvPr id="10" name="Diagram 9">
            <a:extLst>
              <a:ext uri="{FF2B5EF4-FFF2-40B4-BE49-F238E27FC236}">
                <a16:creationId xmlns:a16="http://schemas.microsoft.com/office/drawing/2014/main" id="{A9326C2E-8CE9-D54F-0B05-B405793601E5}"/>
              </a:ext>
            </a:extLst>
          </p:cNvPr>
          <p:cNvGraphicFramePr/>
          <p:nvPr>
            <p:extLst>
              <p:ext uri="{D42A27DB-BD31-4B8C-83A1-F6EECF244321}">
                <p14:modId xmlns:p14="http://schemas.microsoft.com/office/powerpoint/2010/main" val="4210087211"/>
              </p:ext>
            </p:extLst>
          </p:nvPr>
        </p:nvGraphicFramePr>
        <p:xfrm>
          <a:off x="660400" y="933671"/>
          <a:ext cx="9834880" cy="7704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6" name="Diagram 15">
            <a:extLst>
              <a:ext uri="{FF2B5EF4-FFF2-40B4-BE49-F238E27FC236}">
                <a16:creationId xmlns:a16="http://schemas.microsoft.com/office/drawing/2014/main" id="{7D574415-2E28-0685-2069-97C62D5C9A4D}"/>
              </a:ext>
            </a:extLst>
          </p:cNvPr>
          <p:cNvGraphicFramePr/>
          <p:nvPr>
            <p:extLst>
              <p:ext uri="{D42A27DB-BD31-4B8C-83A1-F6EECF244321}">
                <p14:modId xmlns:p14="http://schemas.microsoft.com/office/powerpoint/2010/main" val="3898493909"/>
              </p:ext>
            </p:extLst>
          </p:nvPr>
        </p:nvGraphicFramePr>
        <p:xfrm>
          <a:off x="1910080" y="1704168"/>
          <a:ext cx="8950960" cy="450359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7365899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3">
            <a:extLst>
              <a:ext uri="{FF2B5EF4-FFF2-40B4-BE49-F238E27FC236}">
                <a16:creationId xmlns:a16="http://schemas.microsoft.com/office/drawing/2014/main" id="{A8ADD449-D112-4696-988A-61C4E5DC0ED9}"/>
              </a:ext>
            </a:extLst>
          </p:cNvPr>
          <p:cNvSpPr txBox="1">
            <a:spLocks/>
          </p:cNvSpPr>
          <p:nvPr/>
        </p:nvSpPr>
        <p:spPr>
          <a:xfrm>
            <a:off x="358968" y="185948"/>
            <a:ext cx="10605534" cy="523220"/>
          </a:xfrm>
          <a:prstGeom prst="rect">
            <a:avLst/>
          </a:prstGeom>
        </p:spPr>
        <p:txBody>
          <a:bodyPr wrap="square">
            <a:spAutoFit/>
          </a:bodyPr>
          <a:lstStyle>
            <a:lvl1pPr algn="l" defTabSz="779173" rtl="0" eaLnBrk="1" latinLnBrk="0" hangingPunct="1">
              <a:spcBef>
                <a:spcPct val="0"/>
              </a:spcBef>
              <a:buNone/>
              <a:defRPr sz="2800" b="1" i="0" kern="1200" cap="none" spc="0" baseline="0">
                <a:solidFill>
                  <a:schemeClr val="tx1">
                    <a:lumMod val="50000"/>
                    <a:lumOff val="50000"/>
                  </a:schemeClr>
                </a:solidFill>
                <a:latin typeface="Apex New Bold" panose="02010600040501010103" pitchFamily="2" charset="77"/>
                <a:ea typeface="Apex New Bold" panose="02010600040501010103" pitchFamily="2" charset="77"/>
                <a:cs typeface="+mj-cs"/>
              </a:defRPr>
            </a:lvl1pPr>
          </a:lstStyle>
          <a:p>
            <a:pPr marL="0" marR="0" lvl="0" indent="0" algn="ctr" defTabSz="779173"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7D8F28"/>
                </a:solidFill>
                <a:effectLst/>
                <a:uLnTx/>
                <a:uFillTx/>
                <a:latin typeface="Tahoma"/>
                <a:ea typeface="+mj-ea"/>
                <a:cs typeface="+mj-cs"/>
              </a:rPr>
              <a:t>IMPLEMENTATION REQUIREMENTS</a:t>
            </a:r>
          </a:p>
        </p:txBody>
      </p:sp>
      <p:sp>
        <p:nvSpPr>
          <p:cNvPr id="5" name="TextBox 4">
            <a:extLst>
              <a:ext uri="{FF2B5EF4-FFF2-40B4-BE49-F238E27FC236}">
                <a16:creationId xmlns:a16="http://schemas.microsoft.com/office/drawing/2014/main" id="{7EB63553-6557-A740-919A-A048BD651015}"/>
              </a:ext>
            </a:extLst>
          </p:cNvPr>
          <p:cNvSpPr txBox="1"/>
          <p:nvPr/>
        </p:nvSpPr>
        <p:spPr>
          <a:xfrm>
            <a:off x="1209040" y="1042449"/>
            <a:ext cx="8869680" cy="5386924"/>
          </a:xfrm>
          <a:prstGeom prst="rect">
            <a:avLst/>
          </a:prstGeom>
          <a:noFill/>
        </p:spPr>
        <p:txBody>
          <a:bodyPr wrap="square">
            <a:spAutoFit/>
          </a:bodyPr>
          <a:lstStyle/>
          <a:p>
            <a:pPr marL="628650" indent="-171450" algn="just">
              <a:lnSpc>
                <a:spcPct val="150000"/>
              </a:lnSpc>
              <a:spcBef>
                <a:spcPts val="300"/>
              </a:spcBef>
              <a:buFont typeface="Wingdings" panose="05000000000000000000" pitchFamily="2" charset="2"/>
              <a:buChar char="v"/>
            </a:pPr>
            <a:r>
              <a:rPr lang="en-GB" sz="1200" b="1" dirty="0">
                <a:effectLst/>
                <a:latin typeface="Tahoma" panose="020B0604030504040204" pitchFamily="34" charset="0"/>
                <a:ea typeface="Times New Roman" panose="02020603050405020304" pitchFamily="18" charset="0"/>
                <a:cs typeface="Tahoma" panose="020B0604030504040204" pitchFamily="34" charset="0"/>
              </a:rPr>
              <a:t>Once the contract has been awarded to the successful bidder, it is imperative that a kick off meeting is held within 7 working days of awarding. The awarded bidder will be required to implement the following: </a:t>
            </a:r>
            <a:endParaRPr lang="en-ZA" sz="1200" b="1"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l">
              <a:lnSpc>
                <a:spcPct val="150000"/>
              </a:lnSpc>
              <a:spcBef>
                <a:spcPts val="300"/>
              </a:spcBef>
              <a:buFont typeface="Symbol" panose="05050102010706020507" pitchFamily="18"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Conduct pretest after equipment manufacturing to validate equipment performance.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l">
              <a:lnSpc>
                <a:spcPct val="150000"/>
              </a:lnSpc>
              <a:spcBef>
                <a:spcPts val="300"/>
              </a:spcBef>
              <a:buFont typeface="Symbol" panose="05050102010706020507" pitchFamily="18"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Conduct acceptance field test of the complete units of the track bulldozers at Transnet site during commissioning.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300"/>
              </a:spcBef>
              <a:buFont typeface="Symbol" panose="05050102010706020507" pitchFamily="18" charset="2"/>
              <a:buChar char=""/>
            </a:pPr>
            <a:r>
              <a:rPr lang="en-GB" sz="1200" dirty="0">
                <a:effectLst/>
                <a:latin typeface="Tahoma" panose="020B0604030504040204" pitchFamily="34" charset="0"/>
                <a:ea typeface="Times New Roman" panose="02020603050405020304" pitchFamily="18" charset="0"/>
                <a:cs typeface="Tahoma" panose="020B0604030504040204" pitchFamily="34" charset="0"/>
              </a:rPr>
              <a:t>Given the specialised nature of the recovery equipment, the awarded bidder shall be responsible for the development and delivery of comprehensive training material and training on the operation and maintenance of recovery bulldozers and excavators. This must include the following: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lvl="2" indent="-228600" algn="just">
              <a:lnSpc>
                <a:spcPct val="150000"/>
              </a:lnSpc>
              <a:spcBef>
                <a:spcPts val="300"/>
              </a:spcBef>
              <a:buFont typeface="Wingdings" panose="05000000000000000000" pitchFamily="2" charset="2"/>
              <a:buChar char=""/>
            </a:pPr>
            <a:r>
              <a:rPr lang="en-GB" sz="1200" dirty="0">
                <a:effectLst/>
                <a:latin typeface="Tahoma" panose="020B0604030504040204" pitchFamily="34" charset="0"/>
                <a:ea typeface="Times New Roman" panose="02020603050405020304" pitchFamily="18" charset="0"/>
                <a:cs typeface="Tahoma" panose="020B0604030504040204" pitchFamily="34" charset="0"/>
              </a:rPr>
              <a:t>Detailed training manuals, presentations, and any other relevant materials tailored to the specific recovery equipment supplied.</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lvl="2" indent="-228600" algn="just">
              <a:lnSpc>
                <a:spcPct val="150000"/>
              </a:lnSpc>
              <a:spcBef>
                <a:spcPts val="300"/>
              </a:spcBef>
              <a:buFont typeface="Wingdings" panose="05000000000000000000" pitchFamily="2" charset="2"/>
              <a:buChar char=""/>
            </a:pPr>
            <a:r>
              <a:rPr lang="en-GB" sz="1200" dirty="0">
                <a:effectLst/>
                <a:latin typeface="Tahoma" panose="020B0604030504040204" pitchFamily="34" charset="0"/>
                <a:ea typeface="Times New Roman" panose="02020603050405020304" pitchFamily="18" charset="0"/>
                <a:cs typeface="Tahoma" panose="020B0604030504040204" pitchFamily="34" charset="0"/>
              </a:rPr>
              <a:t>Training materials must be developed in conjunction with Transnet School of Engineering to ensure that the training material aligns to Transnet standards.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lvl="2" indent="-228600" algn="just">
              <a:lnSpc>
                <a:spcPct val="150000"/>
              </a:lnSpc>
              <a:spcBef>
                <a:spcPts val="300"/>
              </a:spcBef>
              <a:buFont typeface="Wingdings" panose="05000000000000000000" pitchFamily="2" charset="2"/>
              <a:buChar char=""/>
            </a:pPr>
            <a:r>
              <a:rPr lang="en-GB" sz="1200" dirty="0">
                <a:effectLst/>
                <a:latin typeface="Tahoma" panose="020B0604030504040204" pitchFamily="34" charset="0"/>
                <a:ea typeface="Times New Roman" panose="02020603050405020304" pitchFamily="18" charset="0"/>
                <a:cs typeface="Tahoma" panose="020B0604030504040204" pitchFamily="34" charset="0"/>
              </a:rPr>
              <a:t>Provide theoretical and practical training to a total of </a:t>
            </a:r>
            <a:r>
              <a:rPr lang="en-GB" sz="1200" b="1" dirty="0">
                <a:effectLst/>
                <a:latin typeface="Tahoma" panose="020B0604030504040204" pitchFamily="34" charset="0"/>
                <a:ea typeface="Times New Roman" panose="02020603050405020304" pitchFamily="18" charset="0"/>
                <a:cs typeface="Tahoma" panose="020B0604030504040204" pitchFamily="34" charset="0"/>
              </a:rPr>
              <a:t>20 Transnet employees</a:t>
            </a:r>
            <a:r>
              <a:rPr lang="en-GB" sz="1200" dirty="0">
                <a:effectLst/>
                <a:latin typeface="Tahoma" panose="020B0604030504040204" pitchFamily="34" charset="0"/>
                <a:ea typeface="Times New Roman" panose="02020603050405020304" pitchFamily="18" charset="0"/>
                <a:cs typeface="Tahoma" panose="020B0604030504040204" pitchFamily="34" charset="0"/>
              </a:rPr>
              <a:t>, including designated trainers from the Transnet School of Engineering.</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lvl="2" indent="-228600" algn="just">
              <a:lnSpc>
                <a:spcPct val="150000"/>
              </a:lnSpc>
              <a:spcBef>
                <a:spcPts val="300"/>
              </a:spcBef>
              <a:buFont typeface="Wingdings" panose="05000000000000000000" pitchFamily="2" charset="2"/>
              <a:buChar char=""/>
            </a:pPr>
            <a:r>
              <a:rPr lang="en-GB" sz="1200" dirty="0">
                <a:effectLst/>
                <a:latin typeface="Tahoma" panose="020B0604030504040204" pitchFamily="34" charset="0"/>
                <a:ea typeface="Times New Roman" panose="02020603050405020304" pitchFamily="18" charset="0"/>
                <a:cs typeface="Tahoma" panose="020B0604030504040204" pitchFamily="34" charset="0"/>
              </a:rPr>
              <a:t>Training should be for a duration of 2 months for excavators and 2 months for recovery track Bulldozers and this should be before the handover of the equipment to Transnet.</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lvl="2" indent="-228600" algn="just">
              <a:lnSpc>
                <a:spcPct val="150000"/>
              </a:lnSpc>
              <a:spcBef>
                <a:spcPts val="300"/>
              </a:spcBef>
              <a:buFont typeface="Wingdings" panose="05000000000000000000" pitchFamily="2"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Upon successful completion of the training, formal certificates of competency shall be issued  to all participants. Certification must be recognized and valid for internal use and future training rollouts.</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l">
              <a:lnSpc>
                <a:spcPct val="150000"/>
              </a:lnSpc>
              <a:spcBef>
                <a:spcPts val="300"/>
              </a:spcBef>
              <a:buFont typeface="Symbol" panose="05050102010706020507" pitchFamily="18"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Sign off a fully managed maintenance agreement with Transnet according to the scope and requirements of the project.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693922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67FE83-3EFB-1581-3470-77E8C181AE8F}"/>
              </a:ext>
            </a:extLst>
          </p:cNvPr>
          <p:cNvSpPr>
            <a:spLocks noGrp="1"/>
          </p:cNvSpPr>
          <p:nvPr>
            <p:ph type="title"/>
          </p:nvPr>
        </p:nvSpPr>
        <p:spPr>
          <a:xfrm>
            <a:off x="883920" y="1207808"/>
            <a:ext cx="9865360" cy="1631216"/>
          </a:xfrm>
        </p:spPr>
        <p:txBody>
          <a:bodyPr/>
          <a:lstStyle/>
          <a:p>
            <a:r>
              <a:rPr kumimoji="0" lang="en-US" altLang="en-US" sz="2400" b="1" i="0" u="none" strike="noStrike" kern="1200" cap="none" spc="0" normalizeH="0" baseline="0" noProof="0" dirty="0">
                <a:ln>
                  <a:noFill/>
                </a:ln>
                <a:solidFill>
                  <a:srgbClr val="FFFFFF"/>
                </a:solidFill>
                <a:effectLst/>
                <a:uLnTx/>
                <a:uFillTx/>
                <a:latin typeface="Tahoma" pitchFamily="34" charset="0"/>
                <a:ea typeface="+mj-ea"/>
                <a:cs typeface="+mj-cs"/>
              </a:rPr>
              <a:t>HOAC-HO-51865</a:t>
            </a:r>
            <a:br>
              <a:rPr kumimoji="0" lang="en-US" altLang="en-US" sz="1600" b="1" i="0" u="none" strike="noStrike" kern="1200" cap="none" spc="0" normalizeH="0" baseline="0" noProof="0" dirty="0">
                <a:ln>
                  <a:noFill/>
                </a:ln>
                <a:solidFill>
                  <a:srgbClr val="FFFFFF"/>
                </a:solidFill>
                <a:effectLst/>
                <a:uLnTx/>
                <a:uFillTx/>
                <a:latin typeface="Tahoma" pitchFamily="34" charset="0"/>
                <a:ea typeface="+mj-ea"/>
                <a:cs typeface="+mj-cs"/>
              </a:rPr>
            </a:br>
            <a:br>
              <a:rPr kumimoji="0" lang="en-US" altLang="en-US" sz="1600" b="1" i="0" u="none" strike="noStrike" kern="1200" cap="none" spc="0" normalizeH="0" baseline="0" noProof="0" dirty="0">
                <a:ln>
                  <a:noFill/>
                </a:ln>
                <a:solidFill>
                  <a:srgbClr val="FFFFFF"/>
                </a:solidFill>
                <a:effectLst/>
                <a:uLnTx/>
                <a:uFillTx/>
                <a:latin typeface="Tahoma" pitchFamily="34" charset="0"/>
                <a:ea typeface="+mj-ea"/>
                <a:cs typeface="+mj-cs"/>
              </a:rPr>
            </a:br>
            <a:r>
              <a:rPr kumimoji="0" lang="en-US" altLang="en-US" sz="2000" b="1" i="0" u="none" strike="noStrike" kern="1200" cap="none" spc="0" normalizeH="0" baseline="0" noProof="0" dirty="0">
                <a:ln>
                  <a:noFill/>
                </a:ln>
                <a:solidFill>
                  <a:srgbClr val="FFFFFF"/>
                </a:solidFill>
                <a:effectLst/>
                <a:uLnTx/>
                <a:uFillTx/>
                <a:latin typeface="Tahoma" pitchFamily="34" charset="0"/>
                <a:ea typeface="+mj-ea"/>
                <a:cs typeface="+mj-cs"/>
              </a:rPr>
              <a:t>SUPPLY AND DELIVERY OF RECOVERY (TRACK BULLDOZERS, EXCAVATORS AND LOW BED TRAILER) EQUIPMENT WITH A FULL MANAGED MAINTENANCE PLAN FOR A PERIOD OF 7 YEARS</a:t>
            </a:r>
            <a:endParaRPr lang="en-ZA" sz="2000" dirty="0"/>
          </a:p>
        </p:txBody>
      </p:sp>
      <p:sp>
        <p:nvSpPr>
          <p:cNvPr id="6" name="TextBox 5">
            <a:extLst>
              <a:ext uri="{FF2B5EF4-FFF2-40B4-BE49-F238E27FC236}">
                <a16:creationId xmlns:a16="http://schemas.microsoft.com/office/drawing/2014/main" id="{F529551C-1CFF-EA21-8A54-565B37EA29C1}"/>
              </a:ext>
            </a:extLst>
          </p:cNvPr>
          <p:cNvSpPr txBox="1"/>
          <p:nvPr/>
        </p:nvSpPr>
        <p:spPr>
          <a:xfrm>
            <a:off x="1920240" y="3651467"/>
            <a:ext cx="8067040" cy="1015663"/>
          </a:xfrm>
          <a:prstGeom prst="rect">
            <a:avLst/>
          </a:prstGeom>
          <a:noFill/>
        </p:spPr>
        <p:txBody>
          <a:bodyPr wrap="square">
            <a:spAutoFit/>
          </a:bodyPr>
          <a:lstStyle/>
          <a:p>
            <a:pPr marL="0" marR="0" lvl="0" indent="0" algn="just" defTabSz="3429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1" i="0" u="none" strike="noStrike" kern="1200" cap="none" spc="0" normalizeH="0" baseline="0" noProof="0" dirty="0">
                <a:ln>
                  <a:noFill/>
                </a:ln>
                <a:solidFill>
                  <a:srgbClr val="FFFFFF"/>
                </a:solidFill>
                <a:effectLst/>
                <a:uLnTx/>
                <a:uFillTx/>
                <a:latin typeface="+mj-lt"/>
                <a:cs typeface="+mn-cs"/>
              </a:rPr>
              <a:t>Supplier Development Inputs : Presented by the TFR ESD Team  (Bella Maja&amp;  Nhlakanipho Mbuyane)</a:t>
            </a:r>
          </a:p>
          <a:p>
            <a:pPr marL="0" marR="0" lvl="0" indent="0" algn="just" defTabSz="3429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1" i="0" u="none" strike="noStrike" kern="1200" cap="none" spc="0" normalizeH="0" baseline="0" noProof="0" dirty="0">
                <a:ln>
                  <a:noFill/>
                </a:ln>
                <a:solidFill>
                  <a:srgbClr val="FFFFFF"/>
                </a:solidFill>
                <a:effectLst/>
                <a:uLnTx/>
                <a:uFillTx/>
                <a:latin typeface="+mj-lt"/>
                <a:cs typeface="+mn-cs"/>
              </a:rPr>
              <a:t>18 November 2025</a:t>
            </a:r>
          </a:p>
        </p:txBody>
      </p:sp>
    </p:spTree>
    <p:extLst>
      <p:ext uri="{BB962C8B-B14F-4D97-AF65-F5344CB8AC3E}">
        <p14:creationId xmlns:p14="http://schemas.microsoft.com/office/powerpoint/2010/main" val="34475096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3D167-12E7-F8FD-1EC8-E5C61E14673D}"/>
            </a:ext>
          </a:extLst>
        </p:cNvPr>
        <p:cNvGrpSpPr/>
        <p:nvPr/>
      </p:nvGrpSpPr>
      <p:grpSpPr>
        <a:xfrm>
          <a:off x="0" y="0"/>
          <a:ext cx="0" cy="0"/>
          <a:chOff x="0" y="0"/>
          <a:chExt cx="0" cy="0"/>
        </a:xfrm>
      </p:grpSpPr>
      <p:sp>
        <p:nvSpPr>
          <p:cNvPr id="6146" name="Title 1">
            <a:extLst>
              <a:ext uri="{FF2B5EF4-FFF2-40B4-BE49-F238E27FC236}">
                <a16:creationId xmlns:a16="http://schemas.microsoft.com/office/drawing/2014/main" id="{C6B3AFD7-34A7-B50A-8F06-26BDE2576F9B}"/>
              </a:ext>
            </a:extLst>
          </p:cNvPr>
          <p:cNvSpPr>
            <a:spLocks noGrp="1"/>
          </p:cNvSpPr>
          <p:nvPr>
            <p:ph type="title"/>
          </p:nvPr>
        </p:nvSpPr>
        <p:spPr/>
        <p:txBody>
          <a:bodyPr/>
          <a:lstStyle/>
          <a:p>
            <a:r>
              <a:rPr lang="en-US" altLang="en-US" dirty="0"/>
              <a:t>SPECIFIC GOALS</a:t>
            </a:r>
            <a:endParaRPr lang="en-ZA" altLang="en-US" dirty="0"/>
          </a:p>
        </p:txBody>
      </p:sp>
      <p:sp>
        <p:nvSpPr>
          <p:cNvPr id="6148" name="Slide Number Placeholder 3">
            <a:extLst>
              <a:ext uri="{FF2B5EF4-FFF2-40B4-BE49-F238E27FC236}">
                <a16:creationId xmlns:a16="http://schemas.microsoft.com/office/drawing/2014/main" id="{2059AB60-C9C5-A030-9608-E103F45B452F}"/>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CC0000"/>
              </a:buClr>
              <a:buFont typeface="Wingdings" panose="05000000000000000000" pitchFamily="2" charset="2"/>
              <a:buChar char="§"/>
              <a:defRPr sz="2000">
                <a:solidFill>
                  <a:schemeClr val="tx1"/>
                </a:solidFill>
                <a:latin typeface="Tahoma" panose="020B0604030504040204" pitchFamily="34" charset="0"/>
              </a:defRPr>
            </a:lvl1pPr>
            <a:lvl2pPr marL="742950" indent="-28575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2pPr>
            <a:lvl3pPr marL="11430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3pPr>
            <a:lvl4pPr marL="16002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4pPr>
            <a:lvl5pPr marL="20574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5pPr>
            <a:lvl6pPr marL="25146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6pPr>
            <a:lvl7pPr marL="29718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7pPr>
            <a:lvl8pPr marL="34290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8pPr>
            <a:lvl9pPr marL="38862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9pPr>
          </a:lstStyle>
          <a:p>
            <a:pPr>
              <a:spcBef>
                <a:spcPct val="0"/>
              </a:spcBef>
              <a:buClrTx/>
              <a:buFontTx/>
              <a:buNone/>
            </a:pPr>
            <a:fld id="{616C79FC-13B0-4726-97C9-3FA538063CEE}" type="slidenum">
              <a:rPr lang="en-US" altLang="en-US" sz="1200">
                <a:solidFill>
                  <a:schemeClr val="bg1"/>
                </a:solidFill>
              </a:rPr>
              <a:pPr>
                <a:spcBef>
                  <a:spcPct val="0"/>
                </a:spcBef>
                <a:buClrTx/>
                <a:buFontTx/>
                <a:buNone/>
              </a:pPr>
              <a:t>24</a:t>
            </a:fld>
            <a:endParaRPr lang="en-US" altLang="en-US" sz="1200" dirty="0">
              <a:solidFill>
                <a:schemeClr val="bg1"/>
              </a:solidFill>
            </a:endParaRPr>
          </a:p>
        </p:txBody>
      </p:sp>
      <p:sp>
        <p:nvSpPr>
          <p:cNvPr id="5" name="Rectangle 1">
            <a:extLst>
              <a:ext uri="{FF2B5EF4-FFF2-40B4-BE49-F238E27FC236}">
                <a16:creationId xmlns:a16="http://schemas.microsoft.com/office/drawing/2014/main" id="{C8EA5777-AC25-0BAF-B9DD-16036B843645}"/>
              </a:ext>
            </a:extLst>
          </p:cNvPr>
          <p:cNvSpPr>
            <a:spLocks noChangeArrowheads="1"/>
          </p:cNvSpPr>
          <p:nvPr/>
        </p:nvSpPr>
        <p:spPr bwMode="auto">
          <a:xfrm>
            <a:off x="1000760" y="2617742"/>
            <a:ext cx="12004040"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180975" algn="l"/>
                <a:tab pos="246063" algn="ctr"/>
              </a:tabLst>
              <a:defRPr>
                <a:solidFill>
                  <a:schemeClr val="tx1"/>
                </a:solidFill>
                <a:latin typeface="Arial" panose="020B0604020202020204" pitchFamily="34" charset="0"/>
              </a:defRPr>
            </a:lvl1pPr>
            <a:lvl2pPr eaLnBrk="0" fontAlgn="base" hangingPunct="0">
              <a:spcBef>
                <a:spcPct val="0"/>
              </a:spcBef>
              <a:spcAft>
                <a:spcPct val="0"/>
              </a:spcAft>
              <a:tabLst>
                <a:tab pos="180975" algn="l"/>
                <a:tab pos="246063" algn="ctr"/>
              </a:tabLst>
              <a:defRPr>
                <a:solidFill>
                  <a:schemeClr val="tx1"/>
                </a:solidFill>
                <a:latin typeface="Arial" panose="020B0604020202020204" pitchFamily="34" charset="0"/>
              </a:defRPr>
            </a:lvl2pPr>
            <a:lvl3pPr eaLnBrk="0" fontAlgn="base" hangingPunct="0">
              <a:spcBef>
                <a:spcPct val="0"/>
              </a:spcBef>
              <a:spcAft>
                <a:spcPct val="0"/>
              </a:spcAft>
              <a:tabLst>
                <a:tab pos="180975" algn="l"/>
                <a:tab pos="246063" algn="ctr"/>
              </a:tabLst>
              <a:defRPr>
                <a:solidFill>
                  <a:schemeClr val="tx1"/>
                </a:solidFill>
                <a:latin typeface="Arial" panose="020B0604020202020204" pitchFamily="34" charset="0"/>
              </a:defRPr>
            </a:lvl3pPr>
            <a:lvl4pPr eaLnBrk="0" fontAlgn="base" hangingPunct="0">
              <a:spcBef>
                <a:spcPct val="0"/>
              </a:spcBef>
              <a:spcAft>
                <a:spcPct val="0"/>
              </a:spcAft>
              <a:tabLst>
                <a:tab pos="180975" algn="l"/>
                <a:tab pos="246063" algn="ctr"/>
              </a:tabLst>
              <a:defRPr>
                <a:solidFill>
                  <a:schemeClr val="tx1"/>
                </a:solidFill>
                <a:latin typeface="Arial" panose="020B0604020202020204" pitchFamily="34" charset="0"/>
              </a:defRPr>
            </a:lvl4pPr>
            <a:lvl5pPr eaLnBrk="0" fontAlgn="base" hangingPunct="0">
              <a:spcBef>
                <a:spcPct val="0"/>
              </a:spcBef>
              <a:spcAft>
                <a:spcPct val="0"/>
              </a:spcAft>
              <a:tabLst>
                <a:tab pos="180975" algn="l"/>
                <a:tab pos="246063" algn="ctr"/>
              </a:tabLst>
              <a:defRPr>
                <a:solidFill>
                  <a:schemeClr val="tx1"/>
                </a:solidFill>
                <a:latin typeface="Arial" panose="020B0604020202020204" pitchFamily="34" charset="0"/>
              </a:defRPr>
            </a:lvl5pPr>
            <a:lvl6pPr eaLnBrk="0" fontAlgn="base" hangingPunct="0">
              <a:spcBef>
                <a:spcPct val="0"/>
              </a:spcBef>
              <a:spcAft>
                <a:spcPct val="0"/>
              </a:spcAft>
              <a:tabLst>
                <a:tab pos="180975" algn="l"/>
                <a:tab pos="246063" algn="ctr"/>
              </a:tabLst>
              <a:defRPr>
                <a:solidFill>
                  <a:schemeClr val="tx1"/>
                </a:solidFill>
                <a:latin typeface="Arial" panose="020B0604020202020204" pitchFamily="34" charset="0"/>
              </a:defRPr>
            </a:lvl6pPr>
            <a:lvl7pPr eaLnBrk="0" fontAlgn="base" hangingPunct="0">
              <a:spcBef>
                <a:spcPct val="0"/>
              </a:spcBef>
              <a:spcAft>
                <a:spcPct val="0"/>
              </a:spcAft>
              <a:tabLst>
                <a:tab pos="180975" algn="l"/>
                <a:tab pos="246063" algn="ctr"/>
              </a:tabLst>
              <a:defRPr>
                <a:solidFill>
                  <a:schemeClr val="tx1"/>
                </a:solidFill>
                <a:latin typeface="Arial" panose="020B0604020202020204" pitchFamily="34" charset="0"/>
              </a:defRPr>
            </a:lvl7pPr>
            <a:lvl8pPr eaLnBrk="0" fontAlgn="base" hangingPunct="0">
              <a:spcBef>
                <a:spcPct val="0"/>
              </a:spcBef>
              <a:spcAft>
                <a:spcPct val="0"/>
              </a:spcAft>
              <a:tabLst>
                <a:tab pos="180975" algn="l"/>
                <a:tab pos="246063" algn="ctr"/>
              </a:tabLst>
              <a:defRPr>
                <a:solidFill>
                  <a:schemeClr val="tx1"/>
                </a:solidFill>
                <a:latin typeface="Arial" panose="020B0604020202020204" pitchFamily="34" charset="0"/>
              </a:defRPr>
            </a:lvl8pPr>
            <a:lvl9pPr eaLnBrk="0" fontAlgn="base" hangingPunct="0">
              <a:spcBef>
                <a:spcPct val="0"/>
              </a:spcBef>
              <a:spcAft>
                <a:spcPct val="0"/>
              </a:spcAft>
              <a:tabLst>
                <a:tab pos="180975" algn="l"/>
                <a:tab pos="246063" algn="ctr"/>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180975" algn="l"/>
                <a:tab pos="246063" algn="ctr"/>
              </a:tabLst>
            </a:pPr>
            <a:endParaRPr kumimoji="0" lang="en-ZA"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 pos="246063" algn="ctr"/>
              </a:tabLst>
            </a:pPr>
            <a:endParaRPr kumimoji="0" lang="en-ZA"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3B1822DE-ECA6-6F7A-C324-B6F5BF8731A8}"/>
              </a:ext>
            </a:extLst>
          </p:cNvPr>
          <p:cNvSpPr txBox="1"/>
          <p:nvPr/>
        </p:nvSpPr>
        <p:spPr>
          <a:xfrm>
            <a:off x="1000760" y="1409860"/>
            <a:ext cx="6502400" cy="369332"/>
          </a:xfrm>
          <a:prstGeom prst="rect">
            <a:avLst/>
          </a:prstGeom>
          <a:noFill/>
        </p:spPr>
        <p:txBody>
          <a:bodyPr wrap="square">
            <a:spAutoFit/>
          </a:bodyPr>
          <a:lstStyle/>
          <a:p>
            <a:r>
              <a:rPr kumimoji="0" lang="en-US" altLang="en-US" sz="1800" b="1" i="0" u="none" strike="noStrike" kern="1200" cap="none" spc="0" normalizeH="0" baseline="0" noProof="0" dirty="0">
                <a:ln>
                  <a:noFill/>
                </a:ln>
                <a:solidFill>
                  <a:srgbClr val="808000"/>
                </a:solidFill>
                <a:effectLst/>
                <a:uLnTx/>
                <a:uFillTx/>
                <a:latin typeface="Tahoma" pitchFamily="34" charset="0"/>
                <a:ea typeface="+mj-ea"/>
                <a:cs typeface="+mj-cs"/>
              </a:rPr>
              <a:t>B-BBEE</a:t>
            </a:r>
            <a:endParaRPr lang="en-ZA" dirty="0"/>
          </a:p>
        </p:txBody>
      </p:sp>
      <p:sp>
        <p:nvSpPr>
          <p:cNvPr id="9" name="Rectangle 8">
            <a:extLst>
              <a:ext uri="{FF2B5EF4-FFF2-40B4-BE49-F238E27FC236}">
                <a16:creationId xmlns:a16="http://schemas.microsoft.com/office/drawing/2014/main" id="{9680E259-35EC-10E1-74E3-FCE4CAF60E4D}"/>
              </a:ext>
            </a:extLst>
          </p:cNvPr>
          <p:cNvSpPr/>
          <p:nvPr/>
        </p:nvSpPr>
        <p:spPr>
          <a:xfrm>
            <a:off x="603250" y="1739900"/>
            <a:ext cx="9455150" cy="4095673"/>
          </a:xfrm>
          <a:prstGeom prst="rect">
            <a:avLst/>
          </a:prstGeom>
        </p:spPr>
        <p:txBody>
          <a:bodyPr wrap="square">
            <a:spAutoFit/>
          </a:bodyPr>
          <a:lstStyle/>
          <a:p>
            <a:pPr marL="0" marR="0" lvl="0" indent="0" algn="just" defTabSz="342900"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BBEE Definition:</a:t>
            </a:r>
          </a:p>
          <a:p>
            <a:pPr marL="0" marR="0" lvl="0" indent="0" algn="just" defTabSz="342900" rtl="0" eaLnBrk="1" fontAlgn="auto" latinLnBrk="0" hangingPunct="1">
              <a:lnSpc>
                <a:spcPct val="150000"/>
              </a:lnSpc>
              <a:spcBef>
                <a:spcPts val="0"/>
              </a:spcBef>
              <a:spcAft>
                <a:spcPts val="0"/>
              </a:spcAft>
              <a:buClrTx/>
              <a:buSzTx/>
              <a:buFontTx/>
              <a:buNone/>
              <a:tabLst/>
              <a:defRPr/>
            </a:pPr>
            <a:r>
              <a:rPr kumimoji="0" lang="en-ZA" sz="105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road-Based Black Economic (B-BBEE) means the economic empowerment of all black people including women, workers, youth, people living with disabilities and people living in rural areas through diverse but integrated socio-economic strategies.</a:t>
            </a:r>
          </a:p>
          <a:p>
            <a:pPr marL="0" marR="0" lvl="0" indent="0" algn="just" defTabSz="342900" rtl="0" eaLnBrk="1" fontAlgn="auto" latinLnBrk="0" hangingPunct="1">
              <a:lnSpc>
                <a:spcPct val="100000"/>
              </a:lnSpc>
              <a:spcBef>
                <a:spcPts val="0"/>
              </a:spcBef>
              <a:spcAft>
                <a:spcPts val="0"/>
              </a:spcAft>
              <a:buClrTx/>
              <a:buSzTx/>
              <a:buFontTx/>
              <a:buNone/>
              <a:tabLst/>
              <a:defRPr/>
            </a:pPr>
            <a:endParaRPr kumimoji="0" lang="en-US" sz="788" b="1" i="0" u="sng"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just" defTabSz="342900"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urpose:</a:t>
            </a:r>
          </a:p>
          <a:p>
            <a:pPr marL="257175" marR="0" lvl="0" indent="-257175" algn="just" defTabSz="342900" rtl="0" eaLnBrk="1" fontAlgn="auto" latinLnBrk="0" hangingPunct="1">
              <a:lnSpc>
                <a:spcPct val="150000"/>
              </a:lnSpc>
              <a:spcBef>
                <a:spcPts val="450"/>
              </a:spcBef>
              <a:spcAft>
                <a:spcPts val="0"/>
              </a:spcAft>
              <a:buClrTx/>
              <a:buSzTx/>
              <a:buFont typeface="Wingdings" panose="05000000000000000000" pitchFamily="2" charset="2"/>
              <a:buChar char=""/>
              <a:tabLst/>
              <a:defRPr/>
            </a:pPr>
            <a:r>
              <a:rPr kumimoji="0" lang="en-ZA"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To increase the number of black people that manage, own and control enterprises and productive assets.</a:t>
            </a:r>
          </a:p>
          <a:p>
            <a:pPr marL="257175" marR="0" lvl="0" indent="-257175" algn="just" defTabSz="342900" rtl="0" eaLnBrk="1" fontAlgn="auto" latinLnBrk="0" hangingPunct="1">
              <a:lnSpc>
                <a:spcPct val="150000"/>
              </a:lnSpc>
              <a:spcBef>
                <a:spcPts val="450"/>
              </a:spcBef>
              <a:spcAft>
                <a:spcPts val="0"/>
              </a:spcAft>
              <a:buClrTx/>
              <a:buSzTx/>
              <a:buFont typeface="Wingdings" panose="05000000000000000000" pitchFamily="2" charset="2"/>
              <a:buChar char=""/>
              <a:tabLst/>
              <a:defRPr/>
            </a:pPr>
            <a:r>
              <a:rPr kumimoji="0" lang="en-ZA"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To facilitate ownership and management of enterprises and productive assets by communities, workers, cooperatives and other collective enterprises</a:t>
            </a:r>
          </a:p>
          <a:p>
            <a:pPr marL="257175" marR="0" lvl="0" indent="-257175" algn="just" defTabSz="342900" rtl="0" eaLnBrk="1" fontAlgn="auto" latinLnBrk="0" hangingPunct="1">
              <a:lnSpc>
                <a:spcPct val="150000"/>
              </a:lnSpc>
              <a:spcBef>
                <a:spcPts val="450"/>
              </a:spcBef>
              <a:spcAft>
                <a:spcPts val="0"/>
              </a:spcAft>
              <a:buClrTx/>
              <a:buSzTx/>
              <a:buFont typeface="Wingdings" panose="05000000000000000000" pitchFamily="2" charset="2"/>
              <a:buChar char=""/>
              <a:tabLst/>
              <a:defRPr/>
            </a:pPr>
            <a:r>
              <a:rPr kumimoji="0" lang="en-ZA"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To achieve an equitable representation in all occupational categories and levels in the workforce</a:t>
            </a:r>
          </a:p>
          <a:p>
            <a:pPr marL="257175" marR="0" lvl="0" indent="-257175" algn="just" defTabSz="342900" rtl="0" eaLnBrk="1" fontAlgn="auto" latinLnBrk="0" hangingPunct="1">
              <a:lnSpc>
                <a:spcPct val="150000"/>
              </a:lnSpc>
              <a:spcBef>
                <a:spcPts val="450"/>
              </a:spcBef>
              <a:spcAft>
                <a:spcPts val="0"/>
              </a:spcAft>
              <a:buClrTx/>
              <a:buSzTx/>
              <a:buFont typeface="Wingdings" panose="05000000000000000000" pitchFamily="2" charset="2"/>
              <a:buChar char=""/>
              <a:tabLst/>
              <a:defRPr/>
            </a:pPr>
            <a:r>
              <a:rPr kumimoji="0" lang="en-ZA"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To procure from large, medium and small sized black owned enterprises</a:t>
            </a:r>
          </a:p>
          <a:p>
            <a:pPr marL="257175" marR="0" lvl="0" indent="-257175" algn="just" defTabSz="342900" rtl="0" eaLnBrk="1" fontAlgn="auto" latinLnBrk="0" hangingPunct="1">
              <a:lnSpc>
                <a:spcPct val="150000"/>
              </a:lnSpc>
              <a:spcBef>
                <a:spcPts val="450"/>
              </a:spcBef>
              <a:spcAft>
                <a:spcPts val="0"/>
              </a:spcAft>
              <a:buClrTx/>
              <a:buSzTx/>
              <a:buFont typeface="Wingdings" panose="05000000000000000000" pitchFamily="2" charset="2"/>
              <a:buChar char=""/>
              <a:tabLst/>
              <a:defRPr/>
            </a:pPr>
            <a:r>
              <a:rPr kumimoji="0" lang="en-ZA"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To increase investment in enterprises and communities that are owned and managed by black people</a:t>
            </a:r>
          </a:p>
          <a:p>
            <a:pPr marL="257175" marR="0" lvl="0" indent="-257175" algn="just" defTabSz="342900" rtl="0" eaLnBrk="1" fontAlgn="auto" latinLnBrk="0" hangingPunct="1">
              <a:lnSpc>
                <a:spcPct val="150000"/>
              </a:lnSpc>
              <a:spcBef>
                <a:spcPts val="450"/>
              </a:spcBef>
              <a:spcAft>
                <a:spcPts val="0"/>
              </a:spcAft>
              <a:buClrTx/>
              <a:buSzTx/>
              <a:buFont typeface="Wingdings" panose="05000000000000000000" pitchFamily="2" charset="2"/>
              <a:buChar char=""/>
              <a:tabLst/>
              <a:defRPr/>
            </a:pPr>
            <a:r>
              <a:rPr kumimoji="0" lang="en-US"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A valid B-BBEE certificate for LE company’s OR an Affidavit for QSE and EME’s is required</a:t>
            </a:r>
          </a:p>
          <a:p>
            <a:pPr marL="0" marR="0" lvl="0" indent="0" algn="just" defTabSz="342900" rtl="0" eaLnBrk="1" fontAlgn="auto" latinLnBrk="0" hangingPunct="1">
              <a:lnSpc>
                <a:spcPct val="100000"/>
              </a:lnSpc>
              <a:spcBef>
                <a:spcPts val="366"/>
              </a:spcBef>
              <a:spcAft>
                <a:spcPts val="0"/>
              </a:spcAft>
              <a:buClrTx/>
              <a:buSzTx/>
              <a:buFontTx/>
              <a:buNone/>
              <a:tabLst/>
              <a:defRPr/>
            </a:pPr>
            <a:r>
              <a:rPr kumimoji="0" lang="en-GB" sz="1050" b="1" i="0" u="sng"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BBEE Amended Codes Principles</a:t>
            </a:r>
          </a:p>
          <a:p>
            <a:pPr marL="257175" marR="0" lvl="1" indent="-257175" algn="just" defTabSz="342900" rtl="0" eaLnBrk="1" fontAlgn="auto" latinLnBrk="0" hangingPunct="1">
              <a:lnSpc>
                <a:spcPct val="150000"/>
              </a:lnSpc>
              <a:spcBef>
                <a:spcPts val="450"/>
              </a:spcBef>
              <a:spcAft>
                <a:spcPts val="0"/>
              </a:spcAft>
              <a:buClr>
                <a:srgbClr val="69614E"/>
              </a:buClr>
              <a:buSzTx/>
              <a:buFont typeface="Wingdings" panose="05000000000000000000" pitchFamily="2" charset="2"/>
              <a:buChar char=""/>
              <a:tabLst/>
              <a:defRPr/>
            </a:pPr>
            <a:r>
              <a:rPr kumimoji="0" lang="en-ZA"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Enhanced the recognition status of black owned EMEs and QSEs</a:t>
            </a:r>
          </a:p>
          <a:p>
            <a:pPr marL="257175" marR="0" lvl="1" indent="-257175" algn="just" defTabSz="342900" rtl="0" eaLnBrk="1" fontAlgn="auto" latinLnBrk="0" hangingPunct="1">
              <a:lnSpc>
                <a:spcPct val="150000"/>
              </a:lnSpc>
              <a:spcBef>
                <a:spcPts val="450"/>
              </a:spcBef>
              <a:spcAft>
                <a:spcPts val="0"/>
              </a:spcAft>
              <a:buClr>
                <a:srgbClr val="69614E"/>
              </a:buClr>
              <a:buSzTx/>
              <a:buFont typeface="Wingdings" panose="05000000000000000000" pitchFamily="2" charset="2"/>
              <a:buChar char=""/>
              <a:tabLst/>
              <a:defRPr/>
            </a:pPr>
            <a:r>
              <a:rPr kumimoji="0" lang="en-ZA"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An EME that is 100% owned by black people qualifies as a level 1 contributor;</a:t>
            </a:r>
          </a:p>
          <a:p>
            <a:pPr marL="257175" marR="0" lvl="1" indent="-257175" algn="just" defTabSz="342900" rtl="0" eaLnBrk="1" fontAlgn="auto" latinLnBrk="0" hangingPunct="1">
              <a:lnSpc>
                <a:spcPct val="150000"/>
              </a:lnSpc>
              <a:spcBef>
                <a:spcPts val="450"/>
              </a:spcBef>
              <a:spcAft>
                <a:spcPts val="0"/>
              </a:spcAft>
              <a:buClr>
                <a:srgbClr val="69614E"/>
              </a:buClr>
              <a:buSzTx/>
              <a:buFont typeface="Wingdings" panose="05000000000000000000" pitchFamily="2" charset="2"/>
              <a:buChar char=""/>
              <a:tabLst/>
              <a:defRPr/>
            </a:pPr>
            <a:r>
              <a:rPr kumimoji="0" lang="en-ZA"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An EME that is more than 51% owned by black people qualifies as a level 2 contributor; </a:t>
            </a:r>
          </a:p>
          <a:p>
            <a:pPr marL="257175" marR="0" lvl="1" indent="-257175" algn="just" defTabSz="342900" rtl="0" eaLnBrk="1" fontAlgn="auto" latinLnBrk="0" hangingPunct="1">
              <a:lnSpc>
                <a:spcPct val="150000"/>
              </a:lnSpc>
              <a:spcBef>
                <a:spcPts val="450"/>
              </a:spcBef>
              <a:spcAft>
                <a:spcPts val="0"/>
              </a:spcAft>
              <a:buClr>
                <a:srgbClr val="69614E"/>
              </a:buClr>
              <a:buSzTx/>
              <a:buFont typeface="Wingdings" panose="05000000000000000000" pitchFamily="2" charset="2"/>
              <a:buChar char=""/>
              <a:tabLst/>
              <a:defRPr/>
            </a:pPr>
            <a:r>
              <a:rPr kumimoji="0" lang="en-ZA"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No verification  requirements for EMEs; EME to obtain a Sworn affidavit or a CIPC Certificate</a:t>
            </a:r>
            <a:endParaRPr kumimoji="0" lang="en-US" sz="975"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endParaRPr>
          </a:p>
        </p:txBody>
      </p:sp>
    </p:spTree>
    <p:extLst>
      <p:ext uri="{BB962C8B-B14F-4D97-AF65-F5344CB8AC3E}">
        <p14:creationId xmlns:p14="http://schemas.microsoft.com/office/powerpoint/2010/main" val="38685203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a:extLst>
              <a:ext uri="{FF2B5EF4-FFF2-40B4-BE49-F238E27FC236}">
                <a16:creationId xmlns:a16="http://schemas.microsoft.com/office/drawing/2014/main" id="{98D48C17-5B2B-0B48-8EC7-7AC7FD6C6647}"/>
              </a:ext>
            </a:extLst>
          </p:cNvPr>
          <p:cNvSpPr>
            <a:spLocks noGrp="1"/>
          </p:cNvSpPr>
          <p:nvPr>
            <p:ph type="title"/>
          </p:nvPr>
        </p:nvSpPr>
        <p:spPr>
          <a:xfrm>
            <a:off x="1765300" y="1104900"/>
            <a:ext cx="7550150" cy="541338"/>
          </a:xfrm>
        </p:spPr>
        <p:txBody>
          <a:bodyPr/>
          <a:lstStyle/>
          <a:p>
            <a:r>
              <a:rPr lang="en-US" altLang="en-US" sz="1800" dirty="0"/>
              <a:t>PREFERENTIAL PROCUREMENT REGULATIONS 2022 </a:t>
            </a:r>
          </a:p>
        </p:txBody>
      </p:sp>
      <p:sp>
        <p:nvSpPr>
          <p:cNvPr id="3" name="Rectangle 2">
            <a:extLst>
              <a:ext uri="{FF2B5EF4-FFF2-40B4-BE49-F238E27FC236}">
                <a16:creationId xmlns:a16="http://schemas.microsoft.com/office/drawing/2014/main" id="{04DD2196-F168-8E09-04D6-DEF38CAAF0DD}"/>
              </a:ext>
            </a:extLst>
          </p:cNvPr>
          <p:cNvSpPr/>
          <p:nvPr/>
        </p:nvSpPr>
        <p:spPr>
          <a:xfrm>
            <a:off x="2127250" y="1739901"/>
            <a:ext cx="8540750" cy="3318857"/>
          </a:xfrm>
          <a:prstGeom prst="rect">
            <a:avLst/>
          </a:prstGeom>
        </p:spPr>
        <p:txBody>
          <a:bodyPr>
            <a:spAutoFit/>
          </a:bodyPr>
          <a:lstStyle/>
          <a:p>
            <a:pPr marL="0" marR="0" lvl="0" indent="0" algn="l" defTabSz="342900" rtl="0" eaLnBrk="1" fontAlgn="auto" latinLnBrk="0" hangingPunct="1">
              <a:lnSpc>
                <a:spcPct val="150000"/>
              </a:lnSpc>
              <a:spcBef>
                <a:spcPts val="225"/>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Tahoma"/>
                <a:ea typeface="+mn-ea"/>
                <a:cs typeface="Arial" panose="020B0604020202020204" pitchFamily="34" charset="0"/>
              </a:rPr>
              <a:t>PPPFA provides for a preference points system in terms of which contracts below a prescribed value be evaluated on the basis that 20 out of 100 possible points must be allocated to “specific goals” and 80 points allocated to price.</a:t>
            </a:r>
          </a:p>
          <a:p>
            <a:pPr marL="0" marR="0" lvl="0" indent="0" algn="l" defTabSz="342900" rtl="0" eaLnBrk="1" fontAlgn="auto" latinLnBrk="0" hangingPunct="1">
              <a:lnSpc>
                <a:spcPct val="150000"/>
              </a:lnSpc>
              <a:spcBef>
                <a:spcPts val="225"/>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Tahoma"/>
                <a:ea typeface="+mn-ea"/>
                <a:cs typeface="Arial" panose="020B0604020202020204" pitchFamily="34" charset="0"/>
              </a:rPr>
              <a:t>For contracts above a prescribed value, 10 out of 100 possible points must be allocated to “</a:t>
            </a:r>
            <a:r>
              <a:rPr kumimoji="0" lang="en-US" sz="900" b="1" i="0" u="none" strike="noStrike" kern="1200" cap="none" spc="0" normalizeH="0" baseline="0" noProof="0" dirty="0">
                <a:ln>
                  <a:noFill/>
                </a:ln>
                <a:solidFill>
                  <a:srgbClr val="000000"/>
                </a:solidFill>
                <a:effectLst/>
                <a:uLnTx/>
                <a:uFillTx/>
                <a:latin typeface="Tahoma"/>
                <a:ea typeface="+mn-ea"/>
                <a:cs typeface="Arial" panose="020B0604020202020204" pitchFamily="34" charset="0"/>
              </a:rPr>
              <a:t>specific goals</a:t>
            </a:r>
            <a:r>
              <a:rPr kumimoji="0" lang="en-US" sz="900" b="0" i="0" u="none" strike="noStrike" kern="1200" cap="none" spc="0" normalizeH="0" baseline="0" noProof="0" dirty="0">
                <a:ln>
                  <a:noFill/>
                </a:ln>
                <a:solidFill>
                  <a:srgbClr val="000000"/>
                </a:solidFill>
                <a:effectLst/>
                <a:uLnTx/>
                <a:uFillTx/>
                <a:latin typeface="Tahoma"/>
                <a:ea typeface="+mn-ea"/>
                <a:cs typeface="Arial" panose="020B0604020202020204" pitchFamily="34" charset="0"/>
              </a:rPr>
              <a:t>”, and 90 points allocated to price</a:t>
            </a:r>
          </a:p>
          <a:p>
            <a:pPr marL="0" marR="0" lvl="0" indent="0" algn="l" defTabSz="342900" rtl="0" eaLnBrk="1" fontAlgn="auto" latinLnBrk="0" hangingPunct="1">
              <a:lnSpc>
                <a:spcPct val="150000"/>
              </a:lnSpc>
              <a:spcBef>
                <a:spcPts val="225"/>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Tahoma"/>
              <a:ea typeface="+mn-ea"/>
              <a:cs typeface="Arial" panose="020B0604020202020204" pitchFamily="34" charset="0"/>
            </a:endParaRPr>
          </a:p>
          <a:p>
            <a:pPr marL="257175" marR="0" lvl="0" indent="-257175" algn="l" defTabSz="342900" rtl="0" eaLnBrk="1" fontAlgn="auto" latinLnBrk="0" hangingPunct="1">
              <a:lnSpc>
                <a:spcPct val="150000"/>
              </a:lnSpc>
              <a:spcBef>
                <a:spcPts val="225"/>
              </a:spcBef>
              <a:spcAft>
                <a:spcPts val="0"/>
              </a:spcAft>
              <a:buClrTx/>
              <a:buSzTx/>
              <a:buFontTx/>
              <a:buAutoNum type="alphaLcParenBoth"/>
              <a:tabLst/>
              <a:defRPr/>
            </a:pPr>
            <a:r>
              <a:rPr kumimoji="0" lang="en-US" sz="900" b="0" i="0" u="none" strike="noStrike" kern="1200" cap="none" spc="0" normalizeH="0" baseline="0" noProof="0" dirty="0">
                <a:ln>
                  <a:noFill/>
                </a:ln>
                <a:solidFill>
                  <a:srgbClr val="000000"/>
                </a:solidFill>
                <a:effectLst/>
                <a:uLnTx/>
                <a:uFillTx/>
                <a:latin typeface="Tahoma"/>
                <a:ea typeface="+mn-ea"/>
                <a:cs typeface="Arial" panose="020B0604020202020204" pitchFamily="34" charset="0"/>
              </a:rPr>
              <a:t>The applicable preference point system as envisaged </a:t>
            </a:r>
          </a:p>
          <a:p>
            <a:pPr marL="257175" marR="0" lvl="0" indent="-257175" algn="l" defTabSz="342900" rtl="0" eaLnBrk="1" fontAlgn="auto" latinLnBrk="0" hangingPunct="1">
              <a:lnSpc>
                <a:spcPct val="150000"/>
              </a:lnSpc>
              <a:spcBef>
                <a:spcPts val="225"/>
              </a:spcBef>
              <a:spcAft>
                <a:spcPts val="0"/>
              </a:spcAft>
              <a:buClrTx/>
              <a:buSzTx/>
              <a:buFontTx/>
              <a:buAutoNum type="alphaLcParenBoth"/>
              <a:tabLst/>
              <a:defRPr/>
            </a:pPr>
            <a:endParaRPr kumimoji="0" lang="en-US" sz="900" b="0" i="0" u="none" strike="noStrike" kern="1200" cap="none" spc="0" normalizeH="0" baseline="0" noProof="0" dirty="0">
              <a:ln>
                <a:noFill/>
              </a:ln>
              <a:solidFill>
                <a:srgbClr val="000000"/>
              </a:solidFill>
              <a:effectLst/>
              <a:uLnTx/>
              <a:uFillTx/>
              <a:latin typeface="Tahoma"/>
              <a:ea typeface="+mn-ea"/>
              <a:cs typeface="Arial" panose="020B0604020202020204" pitchFamily="34" charset="0"/>
            </a:endParaRPr>
          </a:p>
          <a:p>
            <a:pPr marL="257175" marR="0" lvl="0" indent="-257175" algn="l" defTabSz="342900" rtl="0" eaLnBrk="1" fontAlgn="auto" latinLnBrk="0" hangingPunct="1">
              <a:lnSpc>
                <a:spcPct val="150000"/>
              </a:lnSpc>
              <a:spcBef>
                <a:spcPts val="225"/>
              </a:spcBef>
              <a:spcAft>
                <a:spcPts val="0"/>
              </a:spcAft>
              <a:buClrTx/>
              <a:buSzTx/>
              <a:buFontTx/>
              <a:buAutoNum type="alphaLcParenBoth"/>
              <a:tabLst/>
              <a:defRPr/>
            </a:pPr>
            <a:r>
              <a:rPr kumimoji="0" lang="en-US" sz="900" b="0" i="0" u="none" strike="noStrike" kern="1200" cap="none" spc="0" normalizeH="0" baseline="0" noProof="0" dirty="0">
                <a:ln>
                  <a:noFill/>
                </a:ln>
                <a:solidFill>
                  <a:srgbClr val="000000"/>
                </a:solidFill>
                <a:effectLst/>
                <a:uLnTx/>
                <a:uFillTx/>
                <a:latin typeface="Tahoma"/>
                <a:ea typeface="+mn-ea"/>
                <a:cs typeface="Arial" panose="020B0604020202020204" pitchFamily="34" charset="0"/>
              </a:rPr>
              <a:t>The specific goal in the invitation to submit the tender for which a point may be awarded, and the number of points that will be awarded to each goal, and proof of the claim for such goal .</a:t>
            </a:r>
            <a:endParaRPr kumimoji="0" lang="en-US" sz="9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342900" rtl="0" eaLnBrk="1" fontAlgn="auto" latinLnBrk="0" hangingPunct="1">
              <a:lnSpc>
                <a:spcPct val="150000"/>
              </a:lnSpc>
              <a:spcBef>
                <a:spcPts val="225"/>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342900" rtl="0" eaLnBrk="1" fontAlgn="auto" latinLnBrk="0" hangingPunct="1">
              <a:lnSpc>
                <a:spcPct val="150000"/>
              </a:lnSpc>
              <a:spcBef>
                <a:spcPts val="225"/>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Bidders who do not submit B-BBEE Status Level Verification Certificates or applicable affidavit copy will be deemed as non-compliant contributors to B-BBEE will score zero for preference points .</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his also applies to Bidders who submit letters or expired certificates indicating that their B-BBEE status is in the process of being verified. Where a B-BBEE certificate is to be used for scoring purposes only, such letters indicating that their B-BBEE status is in the process of being verified or expired certificates are submitted, bidders will be scored zero for preference points. </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id="{01B50510-B3A9-6D48-47AB-8AD14FC691CE}"/>
              </a:ext>
            </a:extLst>
          </p:cNvPr>
          <p:cNvSpPr txBox="1">
            <a:spLocks noChangeArrowheads="1"/>
          </p:cNvSpPr>
          <p:nvPr/>
        </p:nvSpPr>
        <p:spPr bwMode="auto">
          <a:xfrm>
            <a:off x="1925004" y="1056641"/>
            <a:ext cx="6613525" cy="462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84200">
              <a:defRPr>
                <a:solidFill>
                  <a:schemeClr val="tx1"/>
                </a:solidFill>
                <a:latin typeface="Tahoma" panose="020B0604030504040204" pitchFamily="34" charset="0"/>
                <a:cs typeface="Arial" panose="020B0604020202020204" pitchFamily="34" charset="0"/>
              </a:defRPr>
            </a:lvl1pPr>
            <a:lvl2pPr marL="742950" indent="-285750" defTabSz="584200">
              <a:defRPr>
                <a:solidFill>
                  <a:schemeClr val="tx1"/>
                </a:solidFill>
                <a:latin typeface="Tahoma" panose="020B0604030504040204" pitchFamily="34" charset="0"/>
                <a:cs typeface="Arial" panose="020B0604020202020204" pitchFamily="34" charset="0"/>
              </a:defRPr>
            </a:lvl2pPr>
            <a:lvl3pPr marL="1143000" indent="-228600" defTabSz="584200">
              <a:defRPr>
                <a:solidFill>
                  <a:schemeClr val="tx1"/>
                </a:solidFill>
                <a:latin typeface="Tahoma" panose="020B0604030504040204" pitchFamily="34" charset="0"/>
                <a:cs typeface="Arial" panose="020B0604020202020204" pitchFamily="34" charset="0"/>
              </a:defRPr>
            </a:lvl3pPr>
            <a:lvl4pPr marL="1600200" indent="-228600" defTabSz="584200">
              <a:defRPr>
                <a:solidFill>
                  <a:schemeClr val="tx1"/>
                </a:solidFill>
                <a:latin typeface="Tahoma" panose="020B0604030504040204" pitchFamily="34" charset="0"/>
                <a:cs typeface="Arial" panose="020B0604020202020204" pitchFamily="34" charset="0"/>
              </a:defRPr>
            </a:lvl4pPr>
            <a:lvl5pPr marL="2057400" indent="-228600" defTabSz="584200">
              <a:defRPr>
                <a:solidFill>
                  <a:schemeClr val="tx1"/>
                </a:solidFill>
                <a:latin typeface="Tahoma" panose="020B0604030504040204" pitchFamily="34" charset="0"/>
                <a:cs typeface="Arial" panose="020B0604020202020204" pitchFamily="34" charset="0"/>
              </a:defRPr>
            </a:lvl5pPr>
            <a:lvl6pPr marL="2514600" indent="-228600" defTabSz="584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584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584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584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kumimoji="0" lang="en-US" altLang="en-US" sz="1500" b="1" i="0" u="none" strike="noStrike" kern="1200" cap="none" spc="0" normalizeH="0" baseline="0" noProof="0" dirty="0">
                <a:ln>
                  <a:noFill/>
                </a:ln>
                <a:solidFill>
                  <a:srgbClr val="808000"/>
                </a:solidFill>
                <a:effectLst/>
                <a:uLnTx/>
                <a:uFillTx/>
                <a:latin typeface="Tahoma" pitchFamily="34" charset="0"/>
                <a:ea typeface="+mj-ea"/>
                <a:cs typeface="+mj-cs"/>
              </a:rPr>
              <a:t>JOINT VENTURE (JV)</a:t>
            </a:r>
            <a:br>
              <a:rPr lang="en-US" altLang="en-US" sz="1500" b="1" dirty="0">
                <a:solidFill>
                  <a:srgbClr val="7F7F7F"/>
                </a:solidFill>
              </a:rPr>
            </a:br>
            <a:endParaRPr lang="en-ZA" altLang="en-US" sz="1500" b="1" dirty="0">
              <a:solidFill>
                <a:srgbClr val="7F7F7F"/>
              </a:solidFill>
            </a:endParaRPr>
          </a:p>
        </p:txBody>
      </p:sp>
      <p:sp>
        <p:nvSpPr>
          <p:cNvPr id="5" name="Rectangle 4">
            <a:extLst>
              <a:ext uri="{FF2B5EF4-FFF2-40B4-BE49-F238E27FC236}">
                <a16:creationId xmlns:a16="http://schemas.microsoft.com/office/drawing/2014/main" id="{FE143BF6-BFE2-591D-7843-8B105B901DD9}"/>
              </a:ext>
            </a:extLst>
          </p:cNvPr>
          <p:cNvSpPr/>
          <p:nvPr/>
        </p:nvSpPr>
        <p:spPr>
          <a:xfrm>
            <a:off x="1178560" y="1665288"/>
            <a:ext cx="8889999" cy="4449936"/>
          </a:xfrm>
          <a:prstGeom prst="rect">
            <a:avLst/>
          </a:prstGeom>
        </p:spPr>
        <p:txBody>
          <a:bodyPr wrap="square">
            <a:spAutoFit/>
          </a:bodyPr>
          <a:lstStyle/>
          <a:p>
            <a:pPr marL="171450" indent="-171450" defTabSz="342900">
              <a:lnSpc>
                <a:spcPct val="150000"/>
              </a:lnSpc>
              <a:spcBef>
                <a:spcPts val="225"/>
              </a:spcBef>
              <a:buFont typeface="Arial" panose="020B0604020202020204" pitchFamily="34" charset="0"/>
              <a:buChar char="•"/>
              <a:defRPr/>
            </a:pPr>
            <a:r>
              <a:rPr lang="en-US" sz="900" dirty="0">
                <a:solidFill>
                  <a:srgbClr val="000000"/>
                </a:solidFill>
                <a:latin typeface="Tahoma"/>
                <a:cs typeface="Arial" panose="020B0604020202020204" pitchFamily="34" charset="0"/>
              </a:rPr>
              <a:t>In 2019 DTI released amendments to the Codes of Good Practice. Joint Ventures are referred to in Revised Code 000, Statement 000: General Principles</a:t>
            </a:r>
          </a:p>
          <a:p>
            <a:pPr marL="171450" indent="-171450" defTabSz="342900">
              <a:lnSpc>
                <a:spcPct val="150000"/>
              </a:lnSpc>
              <a:spcBef>
                <a:spcPts val="225"/>
              </a:spcBef>
              <a:buFont typeface="Arial" panose="020B0604020202020204" pitchFamily="34" charset="0"/>
              <a:buChar char="•"/>
              <a:defRPr/>
            </a:pPr>
            <a:r>
              <a:rPr lang="en-US" sz="900" dirty="0">
                <a:solidFill>
                  <a:srgbClr val="000000"/>
                </a:solidFill>
                <a:latin typeface="Tahoma"/>
                <a:cs typeface="Arial" panose="020B0604020202020204" pitchFamily="34" charset="0"/>
              </a:rPr>
              <a:t>As per paragraph 7 of Amended Code Series 000, Statement 000 of the Codes of Good Practice, unincorporated joint ventures are required to compile a consolidated verification certificate. A consolidated verification certificate will consolidate the verified compliance data of joint venture partners if those Measured Entities were a single Measured Entity.  </a:t>
            </a:r>
          </a:p>
          <a:p>
            <a:pPr marL="171450" indent="-171450" defTabSz="342900">
              <a:lnSpc>
                <a:spcPct val="150000"/>
              </a:lnSpc>
              <a:spcBef>
                <a:spcPts val="225"/>
              </a:spcBef>
              <a:buFont typeface="Arial" panose="020B0604020202020204" pitchFamily="34" charset="0"/>
              <a:buChar char="•"/>
              <a:defRPr/>
            </a:pPr>
            <a:r>
              <a:rPr lang="en-US" sz="900" dirty="0">
                <a:solidFill>
                  <a:srgbClr val="000000"/>
                </a:solidFill>
                <a:latin typeface="Tahoma"/>
                <a:cs typeface="Arial" panose="020B0604020202020204" pitchFamily="34" charset="0"/>
              </a:rPr>
              <a:t>A JV will require its own Broad-Based Black Economic Empowerment (B-BBEE) certificate if they would like to tender or enter into a contract that requires a B-BBEE Certificate.  </a:t>
            </a:r>
          </a:p>
          <a:p>
            <a:pPr marL="171450" indent="-171450" defTabSz="342900">
              <a:lnSpc>
                <a:spcPct val="150000"/>
              </a:lnSpc>
              <a:spcBef>
                <a:spcPts val="225"/>
              </a:spcBef>
              <a:buFont typeface="Arial" panose="020B0604020202020204" pitchFamily="34" charset="0"/>
              <a:buChar char="•"/>
              <a:defRPr/>
            </a:pPr>
            <a:r>
              <a:rPr lang="en-US" sz="900" dirty="0">
                <a:solidFill>
                  <a:srgbClr val="000000"/>
                </a:solidFill>
                <a:latin typeface="Tahoma"/>
                <a:cs typeface="Arial" panose="020B0604020202020204" pitchFamily="34" charset="0"/>
              </a:rPr>
              <a:t>A trust, consortium or joint venture (including unincorporated consortia and joint ventures) must submit a consolidated B-BBEE Status Level verification certificate for every separate bid. </a:t>
            </a:r>
          </a:p>
          <a:p>
            <a:pPr marL="171450" indent="-171450" defTabSz="342900">
              <a:lnSpc>
                <a:spcPct val="150000"/>
              </a:lnSpc>
              <a:spcBef>
                <a:spcPts val="225"/>
              </a:spcBef>
              <a:buFont typeface="Arial" panose="020B0604020202020204" pitchFamily="34" charset="0"/>
              <a:buChar char="•"/>
              <a:defRPr/>
            </a:pPr>
            <a:r>
              <a:rPr lang="en-US" sz="900" dirty="0">
                <a:solidFill>
                  <a:srgbClr val="000000"/>
                </a:solidFill>
                <a:latin typeface="Tahoma"/>
                <a:cs typeface="Arial" panose="020B0604020202020204" pitchFamily="34" charset="0"/>
              </a:rPr>
              <a:t>A tenderer failing to submit proof of B-BBEE status level of contributor or is a non-compliant contributor to B-BBEE may not be disqualified, but may only score points out of 90 for price and (b) scores 0 points applying the 90/10 principle . Refer PPPFA  No. 40553 for more info on preference point.</a:t>
            </a:r>
          </a:p>
          <a:p>
            <a:pPr marL="171450" indent="-171450" defTabSz="342900">
              <a:lnSpc>
                <a:spcPct val="150000"/>
              </a:lnSpc>
              <a:spcBef>
                <a:spcPts val="225"/>
              </a:spcBef>
              <a:buFont typeface="Arial" panose="020B0604020202020204" pitchFamily="34" charset="0"/>
              <a:buChar char="•"/>
              <a:defRPr/>
            </a:pPr>
            <a:r>
              <a:rPr lang="en-US" sz="900" dirty="0">
                <a:solidFill>
                  <a:srgbClr val="000000"/>
                </a:solidFill>
                <a:latin typeface="Tahoma"/>
                <a:cs typeface="Arial" panose="020B0604020202020204" pitchFamily="34" charset="0"/>
              </a:rPr>
              <a:t>Note the following:</a:t>
            </a:r>
          </a:p>
          <a:p>
            <a:pPr marL="171450" indent="-171450" defTabSz="342900">
              <a:lnSpc>
                <a:spcPct val="150000"/>
              </a:lnSpc>
              <a:spcBef>
                <a:spcPts val="225"/>
              </a:spcBef>
              <a:buFont typeface="Arial" panose="020B0604020202020204" pitchFamily="34" charset="0"/>
              <a:buChar char="•"/>
              <a:defRPr/>
            </a:pPr>
            <a:r>
              <a:rPr lang="en-US" sz="900" dirty="0">
                <a:solidFill>
                  <a:srgbClr val="000000"/>
                </a:solidFill>
                <a:latin typeface="Tahoma"/>
                <a:cs typeface="Arial" panose="020B0604020202020204" pitchFamily="34" charset="0"/>
              </a:rPr>
              <a:t>• A consolidated verification certificate is required.</a:t>
            </a:r>
            <a:br>
              <a:rPr lang="en-US" sz="900" dirty="0">
                <a:solidFill>
                  <a:srgbClr val="000000"/>
                </a:solidFill>
                <a:latin typeface="Tahoma"/>
                <a:cs typeface="Arial" panose="020B0604020202020204" pitchFamily="34" charset="0"/>
              </a:rPr>
            </a:br>
            <a:r>
              <a:rPr lang="en-US" sz="900" dirty="0">
                <a:solidFill>
                  <a:srgbClr val="000000"/>
                </a:solidFill>
                <a:latin typeface="Tahoma"/>
                <a:cs typeface="Arial" panose="020B0604020202020204" pitchFamily="34" charset="0"/>
              </a:rPr>
              <a:t>• The consolidation is based on the weighting as defined in the joint venture agreement.</a:t>
            </a:r>
            <a:br>
              <a:rPr lang="en-US" sz="900" dirty="0">
                <a:solidFill>
                  <a:srgbClr val="000000"/>
                </a:solidFill>
                <a:latin typeface="Tahoma"/>
                <a:cs typeface="Arial" panose="020B0604020202020204" pitchFamily="34" charset="0"/>
              </a:rPr>
            </a:br>
            <a:r>
              <a:rPr lang="en-US" sz="900" dirty="0">
                <a:solidFill>
                  <a:srgbClr val="000000"/>
                </a:solidFill>
                <a:latin typeface="Tahoma"/>
                <a:cs typeface="Arial" panose="020B0604020202020204" pitchFamily="34" charset="0"/>
              </a:rPr>
              <a:t>• The respective scores are weighted according to their proportionate share in the joint venture.</a:t>
            </a:r>
            <a:br>
              <a:rPr lang="en-US" sz="900" dirty="0">
                <a:solidFill>
                  <a:srgbClr val="000000"/>
                </a:solidFill>
                <a:latin typeface="Tahoma"/>
                <a:cs typeface="Arial" panose="020B0604020202020204" pitchFamily="34" charset="0"/>
              </a:rPr>
            </a:br>
            <a:r>
              <a:rPr lang="en-US" sz="900" dirty="0">
                <a:solidFill>
                  <a:srgbClr val="000000"/>
                </a:solidFill>
                <a:latin typeface="Tahoma"/>
                <a:cs typeface="Arial" panose="020B0604020202020204" pitchFamily="34" charset="0"/>
              </a:rPr>
              <a:t>• A joint venture certificate is valid for 12 months and only applicable to a specific project.</a:t>
            </a:r>
            <a:br>
              <a:rPr lang="en-US" sz="900" dirty="0">
                <a:solidFill>
                  <a:srgbClr val="000000"/>
                </a:solidFill>
                <a:latin typeface="Tahoma"/>
                <a:cs typeface="Arial" panose="020B0604020202020204" pitchFamily="34" charset="0"/>
              </a:rPr>
            </a:br>
            <a:endParaRPr lang="en-US" sz="900" dirty="0">
              <a:solidFill>
                <a:srgbClr val="000000"/>
              </a:solidFill>
              <a:latin typeface="Tahoma"/>
              <a:cs typeface="Arial" panose="020B0604020202020204" pitchFamily="34" charset="0"/>
            </a:endParaRPr>
          </a:p>
          <a:p>
            <a:pPr marL="171450" indent="-171450" defTabSz="342900">
              <a:lnSpc>
                <a:spcPct val="150000"/>
              </a:lnSpc>
              <a:spcBef>
                <a:spcPts val="225"/>
              </a:spcBef>
              <a:buFont typeface="Arial" panose="020B0604020202020204" pitchFamily="34" charset="0"/>
              <a:buChar char="•"/>
              <a:defRPr/>
            </a:pPr>
            <a:r>
              <a:rPr lang="en-US" sz="900" dirty="0">
                <a:solidFill>
                  <a:srgbClr val="000000"/>
                </a:solidFill>
                <a:latin typeface="Tahoma"/>
                <a:cs typeface="Arial" panose="020B0604020202020204" pitchFamily="34" charset="0"/>
              </a:rPr>
              <a:t>Eligibility of a Joint Venture </a:t>
            </a:r>
          </a:p>
          <a:p>
            <a:pPr marL="171450" indent="-171450" defTabSz="342900">
              <a:lnSpc>
                <a:spcPct val="150000"/>
              </a:lnSpc>
              <a:spcBef>
                <a:spcPts val="225"/>
              </a:spcBef>
              <a:buFont typeface="Arial" panose="020B0604020202020204" pitchFamily="34" charset="0"/>
              <a:buChar char="•"/>
              <a:defRPr/>
            </a:pPr>
            <a:r>
              <a:rPr lang="en-US" sz="900" dirty="0">
                <a:solidFill>
                  <a:srgbClr val="000000"/>
                </a:solidFill>
                <a:latin typeface="Tahoma"/>
                <a:cs typeface="Arial" panose="020B0604020202020204" pitchFamily="34" charset="0"/>
              </a:rPr>
              <a:t>Joint Ventures are required to compile a consolidated verification certificate. A consolidated verification certificate will consolidate the verified compliance data of joint venture partners in accordance .</a:t>
            </a:r>
          </a:p>
          <a:p>
            <a:pPr marL="214313" indent="-214313" defTabSz="342900">
              <a:lnSpc>
                <a:spcPct val="150000"/>
              </a:lnSpc>
              <a:spcBef>
                <a:spcPts val="225"/>
              </a:spcBef>
              <a:buFont typeface="Arial" panose="020B0604020202020204" pitchFamily="34" charset="0"/>
              <a:buChar char="•"/>
              <a:defRPr/>
            </a:pPr>
            <a:endParaRPr lang="en-US" sz="9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a:extLst>
              <a:ext uri="{FF2B5EF4-FFF2-40B4-BE49-F238E27FC236}">
                <a16:creationId xmlns:a16="http://schemas.microsoft.com/office/drawing/2014/main" id="{C99472F3-E1F7-6EFD-905C-6A98DB6A05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5400" y="1189039"/>
            <a:ext cx="4433888" cy="518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Title 1">
            <a:extLst>
              <a:ext uri="{FF2B5EF4-FFF2-40B4-BE49-F238E27FC236}">
                <a16:creationId xmlns:a16="http://schemas.microsoft.com/office/drawing/2014/main" id="{2F8F5F3A-A167-0385-C3B1-A982CF0B5F2D}"/>
              </a:ext>
            </a:extLst>
          </p:cNvPr>
          <p:cNvSpPr>
            <a:spLocks noGrp="1"/>
          </p:cNvSpPr>
          <p:nvPr>
            <p:ph type="title"/>
          </p:nvPr>
        </p:nvSpPr>
        <p:spPr/>
        <p:txBody>
          <a:bodyPr/>
          <a:lstStyle/>
          <a:p>
            <a:r>
              <a:rPr lang="en-ZA" altLang="en-US" sz="1800" dirty="0"/>
              <a:t>VALID SWORN AFFIDAVIT</a:t>
            </a:r>
          </a:p>
        </p:txBody>
      </p:sp>
      <p:sp>
        <p:nvSpPr>
          <p:cNvPr id="5" name="TextBox 4">
            <a:extLst>
              <a:ext uri="{FF2B5EF4-FFF2-40B4-BE49-F238E27FC236}">
                <a16:creationId xmlns:a16="http://schemas.microsoft.com/office/drawing/2014/main" id="{0095D248-DF3F-CA5F-BC3B-7214F0428F5B}"/>
              </a:ext>
            </a:extLst>
          </p:cNvPr>
          <p:cNvSpPr txBox="1"/>
          <p:nvPr/>
        </p:nvSpPr>
        <p:spPr>
          <a:xfrm>
            <a:off x="2781300" y="5759450"/>
            <a:ext cx="1303338" cy="300038"/>
          </a:xfrm>
          <a:prstGeom prst="rect">
            <a:avLst/>
          </a:prstGeom>
          <a:solidFill>
            <a:schemeClr val="bg1"/>
          </a:solidFill>
        </p:spPr>
        <p:txBody>
          <a:bodyPr>
            <a:spAutoFit/>
          </a:bodyPr>
          <a:lstStyle/>
          <a:p>
            <a:pPr defTabSz="342900">
              <a:defRPr/>
            </a:pPr>
            <a:endParaRPr lang="en-ZA" sz="1350" dirty="0">
              <a:solidFill>
                <a:prstClr val="black"/>
              </a:solidFill>
              <a:latin typeface="Tahoma"/>
              <a:cs typeface="Arial" panose="020B0604020202020204" pitchFamily="34" charset="0"/>
            </a:endParaRPr>
          </a:p>
        </p:txBody>
      </p:sp>
      <p:sp>
        <p:nvSpPr>
          <p:cNvPr id="12293" name="TextBox 6">
            <a:extLst>
              <a:ext uri="{FF2B5EF4-FFF2-40B4-BE49-F238E27FC236}">
                <a16:creationId xmlns:a16="http://schemas.microsoft.com/office/drawing/2014/main" id="{0A40A7D3-8213-AB3A-59A0-8B4F0D651A3C}"/>
              </a:ext>
            </a:extLst>
          </p:cNvPr>
          <p:cNvSpPr txBox="1">
            <a:spLocks noChangeArrowheads="1"/>
          </p:cNvSpPr>
          <p:nvPr/>
        </p:nvSpPr>
        <p:spPr bwMode="auto">
          <a:xfrm>
            <a:off x="2419351" y="1789113"/>
            <a:ext cx="15287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Tahoma" panose="020B0604030504040204" pitchFamily="34" charset="0"/>
                <a:cs typeface="Arial" panose="020B0604020202020204" pitchFamily="34" charset="0"/>
              </a:defRPr>
            </a:lvl1pPr>
            <a:lvl2pPr marL="742950" indent="-285750" defTabSz="342900">
              <a:defRPr>
                <a:solidFill>
                  <a:schemeClr val="tx1"/>
                </a:solidFill>
                <a:latin typeface="Tahoma" panose="020B0604030504040204" pitchFamily="34" charset="0"/>
                <a:cs typeface="Arial" panose="020B0604020202020204" pitchFamily="34" charset="0"/>
              </a:defRPr>
            </a:lvl2pPr>
            <a:lvl3pPr marL="1143000" indent="-228600" defTabSz="342900">
              <a:defRPr>
                <a:solidFill>
                  <a:schemeClr val="tx1"/>
                </a:solidFill>
                <a:latin typeface="Tahoma" panose="020B0604030504040204" pitchFamily="34" charset="0"/>
                <a:cs typeface="Arial" panose="020B0604020202020204" pitchFamily="34" charset="0"/>
              </a:defRPr>
            </a:lvl3pPr>
            <a:lvl4pPr marL="1600200" indent="-228600" defTabSz="342900">
              <a:defRPr>
                <a:solidFill>
                  <a:schemeClr val="tx1"/>
                </a:solidFill>
                <a:latin typeface="Tahoma" panose="020B0604030504040204" pitchFamily="34" charset="0"/>
                <a:cs typeface="Arial" panose="020B0604020202020204" pitchFamily="34" charset="0"/>
              </a:defRPr>
            </a:lvl4pPr>
            <a:lvl5pPr marL="2057400" indent="-228600" defTabSz="342900">
              <a:defRPr>
                <a:solidFill>
                  <a:schemeClr val="tx1"/>
                </a:solidFill>
                <a:latin typeface="Tahoma" panose="020B060403050404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lang="en-ZA" altLang="en-US" sz="900" b="1" dirty="0">
                <a:solidFill>
                  <a:srgbClr val="000000"/>
                </a:solidFill>
                <a:cs typeface="Tahoma" panose="020B0604030504040204" pitchFamily="34" charset="0"/>
              </a:rPr>
              <a:t>Name of respondent and enterprise details </a:t>
            </a:r>
          </a:p>
        </p:txBody>
      </p:sp>
      <p:sp>
        <p:nvSpPr>
          <p:cNvPr id="13" name="Oval 12">
            <a:extLst>
              <a:ext uri="{FF2B5EF4-FFF2-40B4-BE49-F238E27FC236}">
                <a16:creationId xmlns:a16="http://schemas.microsoft.com/office/drawing/2014/main" id="{38F2E04A-8CDE-F8AF-637A-14ADD538C498}"/>
              </a:ext>
            </a:extLst>
          </p:cNvPr>
          <p:cNvSpPr/>
          <p:nvPr/>
        </p:nvSpPr>
        <p:spPr>
          <a:xfrm>
            <a:off x="4548188" y="2314576"/>
            <a:ext cx="1212850" cy="238125"/>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4" name="Oval 13">
            <a:extLst>
              <a:ext uri="{FF2B5EF4-FFF2-40B4-BE49-F238E27FC236}">
                <a16:creationId xmlns:a16="http://schemas.microsoft.com/office/drawing/2014/main" id="{B7AA2116-7BCF-D86F-3C05-9B4CEAB2FCA4}"/>
              </a:ext>
            </a:extLst>
          </p:cNvPr>
          <p:cNvSpPr/>
          <p:nvPr/>
        </p:nvSpPr>
        <p:spPr>
          <a:xfrm>
            <a:off x="4548189" y="2552701"/>
            <a:ext cx="3348037" cy="1338263"/>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5" name="Oval 14">
            <a:extLst>
              <a:ext uri="{FF2B5EF4-FFF2-40B4-BE49-F238E27FC236}">
                <a16:creationId xmlns:a16="http://schemas.microsoft.com/office/drawing/2014/main" id="{DFC5F239-58CD-9DF7-FB7D-63539B749888}"/>
              </a:ext>
            </a:extLst>
          </p:cNvPr>
          <p:cNvSpPr/>
          <p:nvPr/>
        </p:nvSpPr>
        <p:spPr>
          <a:xfrm>
            <a:off x="5045075" y="1676401"/>
            <a:ext cx="2363788" cy="468313"/>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6" name="Rectangle 15">
            <a:extLst>
              <a:ext uri="{FF2B5EF4-FFF2-40B4-BE49-F238E27FC236}">
                <a16:creationId xmlns:a16="http://schemas.microsoft.com/office/drawing/2014/main" id="{B5B892CB-4F94-EB45-B1CE-29D894791244}"/>
              </a:ext>
            </a:extLst>
          </p:cNvPr>
          <p:cNvSpPr/>
          <p:nvPr/>
        </p:nvSpPr>
        <p:spPr>
          <a:xfrm>
            <a:off x="8366257" y="4518769"/>
            <a:ext cx="2088887" cy="1546577"/>
          </a:xfrm>
          <a:prstGeom prst="rect">
            <a:avLst/>
          </a:prstGeom>
          <a:solidFill>
            <a:schemeClr val="accent3">
              <a:lumMod val="20000"/>
              <a:lumOff val="80000"/>
            </a:schemeClr>
          </a:solidFill>
          <a:ln>
            <a:solidFill>
              <a:schemeClr val="accent1">
                <a:lumMod val="75000"/>
              </a:schemeClr>
            </a:solidFill>
          </a:ln>
        </p:spPr>
        <p:txBody>
          <a:bodyPr lIns="68580" tIns="34290" rIns="68580" bIns="34290">
            <a:spAutoFit/>
          </a:bodyPr>
          <a:lstStyle/>
          <a:p>
            <a:pPr algn="ctr" defTabSz="342900">
              <a:defRPr/>
            </a:pPr>
            <a:r>
              <a:rPr lang="en-US" sz="2400" b="1" dirty="0">
                <a:ln w="9525">
                  <a:solidFill>
                    <a:srgbClr val="FFFFFF"/>
                  </a:solidFill>
                  <a:prstDash val="solid"/>
                </a:ln>
                <a:solidFill>
                  <a:srgbClr val="7D8F28"/>
                </a:solidFill>
                <a:effectLst>
                  <a:outerShdw blurRad="12700" dist="38100" dir="2700000" algn="tl" rotWithShape="0">
                    <a:srgbClr val="7D8F28">
                      <a:lumMod val="60000"/>
                      <a:lumOff val="40000"/>
                    </a:srgbClr>
                  </a:outerShdw>
                </a:effectLst>
                <a:latin typeface="Tahoma"/>
                <a:cs typeface="Arial" panose="020B0604020202020204" pitchFamily="34" charset="0"/>
              </a:rPr>
              <a:t>Example:</a:t>
            </a:r>
          </a:p>
          <a:p>
            <a:pPr algn="ctr" defTabSz="342900">
              <a:defRPr/>
            </a:pPr>
            <a:r>
              <a:rPr lang="en-US" sz="2400" b="1" dirty="0">
                <a:ln w="9525">
                  <a:solidFill>
                    <a:srgbClr val="FFFFFF"/>
                  </a:solidFill>
                  <a:prstDash val="solid"/>
                </a:ln>
                <a:solidFill>
                  <a:srgbClr val="7D8F28"/>
                </a:solidFill>
                <a:effectLst>
                  <a:outerShdw blurRad="12700" dist="38100" dir="2700000" algn="tl" rotWithShape="0">
                    <a:srgbClr val="7D8F28">
                      <a:lumMod val="60000"/>
                      <a:lumOff val="40000"/>
                    </a:srgbClr>
                  </a:outerShdw>
                </a:effectLst>
                <a:latin typeface="Tahoma"/>
                <a:cs typeface="Arial" panose="020B0604020202020204" pitchFamily="34" charset="0"/>
              </a:rPr>
              <a:t>VALID SWORN AFFIDAVIT</a:t>
            </a:r>
          </a:p>
        </p:txBody>
      </p:sp>
      <p:sp>
        <p:nvSpPr>
          <p:cNvPr id="17" name="Right Arrow 16">
            <a:extLst>
              <a:ext uri="{FF2B5EF4-FFF2-40B4-BE49-F238E27FC236}">
                <a16:creationId xmlns:a16="http://schemas.microsoft.com/office/drawing/2014/main" id="{C126A62E-1FB5-60BA-7797-7F4CA2C17276}"/>
              </a:ext>
            </a:extLst>
          </p:cNvPr>
          <p:cNvSpPr/>
          <p:nvPr/>
        </p:nvSpPr>
        <p:spPr>
          <a:xfrm>
            <a:off x="2312988" y="1290638"/>
            <a:ext cx="1725612" cy="1363662"/>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32" name="Right Arrow 18">
            <a:extLst>
              <a:ext uri="{FF2B5EF4-FFF2-40B4-BE49-F238E27FC236}">
                <a16:creationId xmlns:a16="http://schemas.microsoft.com/office/drawing/2014/main" id="{D0EFA397-2A1C-ED91-8860-B35EB10E5E22}"/>
              </a:ext>
            </a:extLst>
          </p:cNvPr>
          <p:cNvSpPr/>
          <p:nvPr/>
        </p:nvSpPr>
        <p:spPr>
          <a:xfrm>
            <a:off x="1655763" y="2624138"/>
            <a:ext cx="2157412" cy="1338262"/>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2300" name="TextBox 32">
            <a:extLst>
              <a:ext uri="{FF2B5EF4-FFF2-40B4-BE49-F238E27FC236}">
                <a16:creationId xmlns:a16="http://schemas.microsoft.com/office/drawing/2014/main" id="{ED3D0E3C-2D76-25AB-BD40-BABAB39C8715}"/>
              </a:ext>
            </a:extLst>
          </p:cNvPr>
          <p:cNvSpPr txBox="1">
            <a:spLocks noChangeArrowheads="1"/>
          </p:cNvSpPr>
          <p:nvPr/>
        </p:nvSpPr>
        <p:spPr bwMode="auto">
          <a:xfrm>
            <a:off x="1655763" y="2963863"/>
            <a:ext cx="192881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Tahoma" panose="020B0604030504040204" pitchFamily="34" charset="0"/>
                <a:cs typeface="Arial" panose="020B0604020202020204" pitchFamily="34" charset="0"/>
              </a:defRPr>
            </a:lvl1pPr>
            <a:lvl2pPr marL="742950" indent="-285750" defTabSz="342900">
              <a:defRPr>
                <a:solidFill>
                  <a:schemeClr val="tx1"/>
                </a:solidFill>
                <a:latin typeface="Tahoma" panose="020B0604030504040204" pitchFamily="34" charset="0"/>
                <a:cs typeface="Arial" panose="020B0604020202020204" pitchFamily="34" charset="0"/>
              </a:defRPr>
            </a:lvl2pPr>
            <a:lvl3pPr marL="1143000" indent="-228600" defTabSz="342900">
              <a:defRPr>
                <a:solidFill>
                  <a:schemeClr val="tx1"/>
                </a:solidFill>
                <a:latin typeface="Tahoma" panose="020B0604030504040204" pitchFamily="34" charset="0"/>
                <a:cs typeface="Arial" panose="020B0604020202020204" pitchFamily="34" charset="0"/>
              </a:defRPr>
            </a:lvl3pPr>
            <a:lvl4pPr marL="1600200" indent="-228600" defTabSz="342900">
              <a:defRPr>
                <a:solidFill>
                  <a:schemeClr val="tx1"/>
                </a:solidFill>
                <a:latin typeface="Tahoma" panose="020B0604030504040204" pitchFamily="34" charset="0"/>
                <a:cs typeface="Arial" panose="020B0604020202020204" pitchFamily="34" charset="0"/>
              </a:defRPr>
            </a:lvl4pPr>
            <a:lvl5pPr marL="2057400" indent="-228600" defTabSz="342900">
              <a:defRPr>
                <a:solidFill>
                  <a:schemeClr val="tx1"/>
                </a:solidFill>
                <a:latin typeface="Tahoma" panose="020B060403050404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lang="en-GB" altLang="en-US" sz="900" b="1" dirty="0">
                <a:solidFill>
                  <a:srgbClr val="000000"/>
                </a:solidFill>
                <a:cs typeface="Tahoma" panose="020B0604030504040204" pitchFamily="34" charset="0"/>
              </a:rPr>
              <a:t>Enterprise Name, Registration Number =VAT no. If Vat registered,   Enterprise address</a:t>
            </a:r>
            <a:endParaRPr lang="en-ZA" altLang="en-US" sz="900" b="1" dirty="0">
              <a:solidFill>
                <a:srgbClr val="000000"/>
              </a:solidFill>
              <a:cs typeface="Tahoma" panose="020B0604030504040204" pitchFamily="34" charset="0"/>
            </a:endParaRPr>
          </a:p>
        </p:txBody>
      </p:sp>
      <p:sp>
        <p:nvSpPr>
          <p:cNvPr id="6" name="Right Arrow 19">
            <a:extLst>
              <a:ext uri="{FF2B5EF4-FFF2-40B4-BE49-F238E27FC236}">
                <a16:creationId xmlns:a16="http://schemas.microsoft.com/office/drawing/2014/main" id="{B383E75F-76FB-2201-B0CB-7C4F60F39189}"/>
              </a:ext>
            </a:extLst>
          </p:cNvPr>
          <p:cNvSpPr/>
          <p:nvPr/>
        </p:nvSpPr>
        <p:spPr>
          <a:xfrm flipH="1">
            <a:off x="7618413" y="2078038"/>
            <a:ext cx="2836862" cy="711200"/>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2302" name="TextBox 8">
            <a:extLst>
              <a:ext uri="{FF2B5EF4-FFF2-40B4-BE49-F238E27FC236}">
                <a16:creationId xmlns:a16="http://schemas.microsoft.com/office/drawing/2014/main" id="{47883F0D-C21A-4762-8526-402F57FBB3E9}"/>
              </a:ext>
            </a:extLst>
          </p:cNvPr>
          <p:cNvSpPr txBox="1">
            <a:spLocks noChangeArrowheads="1"/>
          </p:cNvSpPr>
          <p:nvPr/>
        </p:nvSpPr>
        <p:spPr bwMode="auto">
          <a:xfrm>
            <a:off x="7988300" y="2286000"/>
            <a:ext cx="26797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Tahoma" panose="020B0604030504040204" pitchFamily="34" charset="0"/>
                <a:cs typeface="Arial" panose="020B0604020202020204" pitchFamily="34" charset="0"/>
              </a:defRPr>
            </a:lvl1pPr>
            <a:lvl2pPr marL="742950" indent="-285750" defTabSz="342900">
              <a:defRPr>
                <a:solidFill>
                  <a:schemeClr val="tx1"/>
                </a:solidFill>
                <a:latin typeface="Tahoma" panose="020B0604030504040204" pitchFamily="34" charset="0"/>
                <a:cs typeface="Arial" panose="020B0604020202020204" pitchFamily="34" charset="0"/>
              </a:defRPr>
            </a:lvl2pPr>
            <a:lvl3pPr marL="1143000" indent="-228600" defTabSz="342900">
              <a:defRPr>
                <a:solidFill>
                  <a:schemeClr val="tx1"/>
                </a:solidFill>
                <a:latin typeface="Tahoma" panose="020B0604030504040204" pitchFamily="34" charset="0"/>
                <a:cs typeface="Arial" panose="020B0604020202020204" pitchFamily="34" charset="0"/>
              </a:defRPr>
            </a:lvl3pPr>
            <a:lvl4pPr marL="1600200" indent="-228600" defTabSz="342900">
              <a:defRPr>
                <a:solidFill>
                  <a:schemeClr val="tx1"/>
                </a:solidFill>
                <a:latin typeface="Tahoma" panose="020B0604030504040204" pitchFamily="34" charset="0"/>
                <a:cs typeface="Arial" panose="020B0604020202020204" pitchFamily="34" charset="0"/>
              </a:defRPr>
            </a:lvl4pPr>
            <a:lvl5pPr marL="2057400" indent="-228600" defTabSz="342900">
              <a:defRPr>
                <a:solidFill>
                  <a:schemeClr val="tx1"/>
                </a:solidFill>
                <a:latin typeface="Tahoma" panose="020B060403050404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lang="en-GB" altLang="en-US" sz="900" b="1">
                <a:solidFill>
                  <a:srgbClr val="000000"/>
                </a:solidFill>
                <a:cs typeface="Tahoma" panose="020B0604030504040204" pitchFamily="34" charset="0"/>
              </a:rPr>
              <a:t>Select one either Member/ Director/ Owner</a:t>
            </a:r>
            <a:endParaRPr lang="en-ZA" altLang="en-US" sz="900" b="1">
              <a:solidFill>
                <a:srgbClr val="000000"/>
              </a:solidFill>
              <a:cs typeface="Tahoma" panose="020B060403050404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5">
            <a:extLst>
              <a:ext uri="{FF2B5EF4-FFF2-40B4-BE49-F238E27FC236}">
                <a16:creationId xmlns:a16="http://schemas.microsoft.com/office/drawing/2014/main" id="{71B21898-CF35-60A1-0C14-7462CDDDFE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48125" y="863600"/>
            <a:ext cx="4464050" cy="582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itle 1">
            <a:extLst>
              <a:ext uri="{FF2B5EF4-FFF2-40B4-BE49-F238E27FC236}">
                <a16:creationId xmlns:a16="http://schemas.microsoft.com/office/drawing/2014/main" id="{326047CB-4BC7-1BCA-BA37-4D3185865611}"/>
              </a:ext>
            </a:extLst>
          </p:cNvPr>
          <p:cNvSpPr>
            <a:spLocks noGrp="1"/>
          </p:cNvSpPr>
          <p:nvPr>
            <p:ph type="title"/>
          </p:nvPr>
        </p:nvSpPr>
        <p:spPr/>
        <p:txBody>
          <a:bodyPr/>
          <a:lstStyle/>
          <a:p>
            <a:r>
              <a:rPr lang="en-ZA" altLang="en-US" sz="1800"/>
              <a:t>VALID SWORN AFFIDAVIT</a:t>
            </a:r>
          </a:p>
        </p:txBody>
      </p:sp>
      <p:sp>
        <p:nvSpPr>
          <p:cNvPr id="5" name="TextBox 4">
            <a:extLst>
              <a:ext uri="{FF2B5EF4-FFF2-40B4-BE49-F238E27FC236}">
                <a16:creationId xmlns:a16="http://schemas.microsoft.com/office/drawing/2014/main" id="{8043C3F6-4F8B-CF96-63C5-925EF08A2426}"/>
              </a:ext>
            </a:extLst>
          </p:cNvPr>
          <p:cNvSpPr txBox="1"/>
          <p:nvPr/>
        </p:nvSpPr>
        <p:spPr>
          <a:xfrm>
            <a:off x="2781300" y="5759450"/>
            <a:ext cx="1303338" cy="300038"/>
          </a:xfrm>
          <a:prstGeom prst="rect">
            <a:avLst/>
          </a:prstGeom>
          <a:solidFill>
            <a:schemeClr val="bg1"/>
          </a:solidFill>
        </p:spPr>
        <p:txBody>
          <a:bodyPr>
            <a:spAutoFit/>
          </a:bodyPr>
          <a:lstStyle/>
          <a:p>
            <a:pPr defTabSz="342900">
              <a:defRPr/>
            </a:pPr>
            <a:endParaRPr lang="en-ZA" sz="1350" dirty="0">
              <a:solidFill>
                <a:prstClr val="black"/>
              </a:solidFill>
              <a:latin typeface="Tahoma"/>
              <a:cs typeface="Arial" panose="020B0604020202020204" pitchFamily="34" charset="0"/>
            </a:endParaRPr>
          </a:p>
        </p:txBody>
      </p:sp>
      <p:sp>
        <p:nvSpPr>
          <p:cNvPr id="13317" name="TextBox 7">
            <a:extLst>
              <a:ext uri="{FF2B5EF4-FFF2-40B4-BE49-F238E27FC236}">
                <a16:creationId xmlns:a16="http://schemas.microsoft.com/office/drawing/2014/main" id="{08EFF7E4-BE63-4E2A-0F14-7BA74A7B47E8}"/>
              </a:ext>
            </a:extLst>
          </p:cNvPr>
          <p:cNvSpPr txBox="1">
            <a:spLocks noChangeArrowheads="1"/>
          </p:cNvSpPr>
          <p:nvPr/>
        </p:nvSpPr>
        <p:spPr bwMode="auto">
          <a:xfrm>
            <a:off x="2416175" y="3154363"/>
            <a:ext cx="186848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Tahoma" panose="020B0604030504040204" pitchFamily="34" charset="0"/>
                <a:cs typeface="Arial" panose="020B0604020202020204" pitchFamily="34" charset="0"/>
              </a:defRPr>
            </a:lvl1pPr>
            <a:lvl2pPr marL="742950" indent="-285750" defTabSz="342900">
              <a:defRPr>
                <a:solidFill>
                  <a:schemeClr val="tx1"/>
                </a:solidFill>
                <a:latin typeface="Tahoma" panose="020B0604030504040204" pitchFamily="34" charset="0"/>
                <a:cs typeface="Arial" panose="020B0604020202020204" pitchFamily="34" charset="0"/>
              </a:defRPr>
            </a:lvl2pPr>
            <a:lvl3pPr marL="1143000" indent="-228600" defTabSz="342900">
              <a:defRPr>
                <a:solidFill>
                  <a:schemeClr val="tx1"/>
                </a:solidFill>
                <a:latin typeface="Tahoma" panose="020B0604030504040204" pitchFamily="34" charset="0"/>
                <a:cs typeface="Arial" panose="020B0604020202020204" pitchFamily="34" charset="0"/>
              </a:defRPr>
            </a:lvl3pPr>
            <a:lvl4pPr marL="1600200" indent="-228600" defTabSz="342900">
              <a:defRPr>
                <a:solidFill>
                  <a:schemeClr val="tx1"/>
                </a:solidFill>
                <a:latin typeface="Tahoma" panose="020B0604030504040204" pitchFamily="34" charset="0"/>
                <a:cs typeface="Arial" panose="020B0604020202020204" pitchFamily="34" charset="0"/>
              </a:defRPr>
            </a:lvl4pPr>
            <a:lvl5pPr marL="2057400" indent="-228600" defTabSz="342900">
              <a:defRPr>
                <a:solidFill>
                  <a:schemeClr val="tx1"/>
                </a:solidFill>
                <a:latin typeface="Tahoma" panose="020B060403050404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lang="en-GB" altLang="en-US" sz="900" b="1">
                <a:solidFill>
                  <a:srgbClr val="000000"/>
                </a:solidFill>
                <a:cs typeface="Tahoma" panose="020B0604030504040204" pitchFamily="34" charset="0"/>
              </a:rPr>
              <a:t>Annual Total Revenue and Level of Black Ownership and Black Women Ownership</a:t>
            </a:r>
            <a:endParaRPr lang="en-ZA" altLang="en-US" sz="900" b="1">
              <a:solidFill>
                <a:srgbClr val="000000"/>
              </a:solidFill>
              <a:cs typeface="Tahoma" panose="020B0604030504040204" pitchFamily="34" charset="0"/>
            </a:endParaRPr>
          </a:p>
        </p:txBody>
      </p:sp>
      <p:sp>
        <p:nvSpPr>
          <p:cNvPr id="13318" name="TextBox 8">
            <a:extLst>
              <a:ext uri="{FF2B5EF4-FFF2-40B4-BE49-F238E27FC236}">
                <a16:creationId xmlns:a16="http://schemas.microsoft.com/office/drawing/2014/main" id="{AFAA116A-50EA-193C-DBA3-EA7DD650C337}"/>
              </a:ext>
            </a:extLst>
          </p:cNvPr>
          <p:cNvSpPr txBox="1">
            <a:spLocks noChangeArrowheads="1"/>
          </p:cNvSpPr>
          <p:nvPr/>
        </p:nvSpPr>
        <p:spPr bwMode="auto">
          <a:xfrm>
            <a:off x="8582025" y="4125913"/>
            <a:ext cx="18034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Tahoma" panose="020B0604030504040204" pitchFamily="34" charset="0"/>
                <a:cs typeface="Arial" panose="020B0604020202020204" pitchFamily="34" charset="0"/>
              </a:defRPr>
            </a:lvl1pPr>
            <a:lvl2pPr marL="742950" indent="-285750" defTabSz="342900">
              <a:defRPr>
                <a:solidFill>
                  <a:schemeClr val="tx1"/>
                </a:solidFill>
                <a:latin typeface="Tahoma" panose="020B0604030504040204" pitchFamily="34" charset="0"/>
                <a:cs typeface="Arial" panose="020B0604020202020204" pitchFamily="34" charset="0"/>
              </a:defRPr>
            </a:lvl2pPr>
            <a:lvl3pPr marL="1143000" indent="-228600" defTabSz="342900">
              <a:defRPr>
                <a:solidFill>
                  <a:schemeClr val="tx1"/>
                </a:solidFill>
                <a:latin typeface="Tahoma" panose="020B0604030504040204" pitchFamily="34" charset="0"/>
                <a:cs typeface="Arial" panose="020B0604020202020204" pitchFamily="34" charset="0"/>
              </a:defRPr>
            </a:lvl3pPr>
            <a:lvl4pPr marL="1600200" indent="-228600" defTabSz="342900">
              <a:defRPr>
                <a:solidFill>
                  <a:schemeClr val="tx1"/>
                </a:solidFill>
                <a:latin typeface="Tahoma" panose="020B0604030504040204" pitchFamily="34" charset="0"/>
                <a:cs typeface="Arial" panose="020B0604020202020204" pitchFamily="34" charset="0"/>
              </a:defRPr>
            </a:lvl4pPr>
            <a:lvl5pPr marL="2057400" indent="-228600" defTabSz="342900">
              <a:defRPr>
                <a:solidFill>
                  <a:schemeClr val="tx1"/>
                </a:solidFill>
                <a:latin typeface="Tahoma" panose="020B060403050404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lang="en-GB" altLang="en-US" sz="900" b="1">
                <a:solidFill>
                  <a:srgbClr val="000000"/>
                </a:solidFill>
                <a:cs typeface="Tahoma" panose="020B0604030504040204" pitchFamily="34" charset="0"/>
              </a:rPr>
              <a:t>B-BBEE Status Level based on Black Ownership</a:t>
            </a:r>
            <a:endParaRPr lang="en-ZA" altLang="en-US" sz="900" b="1">
              <a:solidFill>
                <a:srgbClr val="000000"/>
              </a:solidFill>
              <a:cs typeface="Tahoma" panose="020B0604030504040204" pitchFamily="34" charset="0"/>
            </a:endParaRPr>
          </a:p>
        </p:txBody>
      </p:sp>
      <p:sp>
        <p:nvSpPr>
          <p:cNvPr id="13319" name="TextBox 9">
            <a:extLst>
              <a:ext uri="{FF2B5EF4-FFF2-40B4-BE49-F238E27FC236}">
                <a16:creationId xmlns:a16="http://schemas.microsoft.com/office/drawing/2014/main" id="{9FDAF297-2877-5E11-FF4F-5AFB549C65CB}"/>
              </a:ext>
            </a:extLst>
          </p:cNvPr>
          <p:cNvSpPr txBox="1">
            <a:spLocks noChangeArrowheads="1"/>
          </p:cNvSpPr>
          <p:nvPr/>
        </p:nvSpPr>
        <p:spPr bwMode="auto">
          <a:xfrm>
            <a:off x="2311401" y="5859463"/>
            <a:ext cx="192881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Tahoma" panose="020B0604030504040204" pitchFamily="34" charset="0"/>
                <a:cs typeface="Arial" panose="020B0604020202020204" pitchFamily="34" charset="0"/>
              </a:defRPr>
            </a:lvl1pPr>
            <a:lvl2pPr marL="742950" indent="-285750" defTabSz="342900">
              <a:defRPr>
                <a:solidFill>
                  <a:schemeClr val="tx1"/>
                </a:solidFill>
                <a:latin typeface="Tahoma" panose="020B0604030504040204" pitchFamily="34" charset="0"/>
                <a:cs typeface="Arial" panose="020B0604020202020204" pitchFamily="34" charset="0"/>
              </a:defRPr>
            </a:lvl2pPr>
            <a:lvl3pPr marL="1143000" indent="-228600" defTabSz="342900">
              <a:defRPr>
                <a:solidFill>
                  <a:schemeClr val="tx1"/>
                </a:solidFill>
                <a:latin typeface="Tahoma" panose="020B0604030504040204" pitchFamily="34" charset="0"/>
                <a:cs typeface="Arial" panose="020B0604020202020204" pitchFamily="34" charset="0"/>
              </a:defRPr>
            </a:lvl3pPr>
            <a:lvl4pPr marL="1600200" indent="-228600" defTabSz="342900">
              <a:defRPr>
                <a:solidFill>
                  <a:schemeClr val="tx1"/>
                </a:solidFill>
                <a:latin typeface="Tahoma" panose="020B0604030504040204" pitchFamily="34" charset="0"/>
                <a:cs typeface="Arial" panose="020B0604020202020204" pitchFamily="34" charset="0"/>
              </a:defRPr>
            </a:lvl4pPr>
            <a:lvl5pPr marL="2057400" indent="-228600" defTabSz="342900">
              <a:defRPr>
                <a:solidFill>
                  <a:schemeClr val="tx1"/>
                </a:solidFill>
                <a:latin typeface="Tahoma" panose="020B060403050404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lang="en-GB" altLang="en-US" sz="900" b="1">
                <a:solidFill>
                  <a:srgbClr val="000000"/>
                </a:solidFill>
                <a:cs typeface="Tahoma" panose="020B0604030504040204" pitchFamily="34" charset="0"/>
              </a:rPr>
              <a:t>Commissioner of Oath signature and stamp were applicable</a:t>
            </a:r>
            <a:endParaRPr lang="en-ZA" altLang="en-US" sz="900" b="1">
              <a:solidFill>
                <a:srgbClr val="000000"/>
              </a:solidFill>
              <a:cs typeface="Tahoma" panose="020B0604030504040204" pitchFamily="34" charset="0"/>
            </a:endParaRPr>
          </a:p>
        </p:txBody>
      </p:sp>
      <p:sp>
        <p:nvSpPr>
          <p:cNvPr id="13320" name="TextBox 10">
            <a:extLst>
              <a:ext uri="{FF2B5EF4-FFF2-40B4-BE49-F238E27FC236}">
                <a16:creationId xmlns:a16="http://schemas.microsoft.com/office/drawing/2014/main" id="{01E22809-2FAA-BC78-1A1A-6357CB51AACD}"/>
              </a:ext>
            </a:extLst>
          </p:cNvPr>
          <p:cNvSpPr txBox="1">
            <a:spLocks noChangeArrowheads="1"/>
          </p:cNvSpPr>
          <p:nvPr/>
        </p:nvSpPr>
        <p:spPr bwMode="auto">
          <a:xfrm>
            <a:off x="8512176" y="5443539"/>
            <a:ext cx="193992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Tahoma" panose="020B0604030504040204" pitchFamily="34" charset="0"/>
                <a:cs typeface="Arial" panose="020B0604020202020204" pitchFamily="34" charset="0"/>
              </a:defRPr>
            </a:lvl1pPr>
            <a:lvl2pPr marL="742950" indent="-285750" defTabSz="342900">
              <a:defRPr>
                <a:solidFill>
                  <a:schemeClr val="tx1"/>
                </a:solidFill>
                <a:latin typeface="Tahoma" panose="020B0604030504040204" pitchFamily="34" charset="0"/>
                <a:cs typeface="Arial" panose="020B0604020202020204" pitchFamily="34" charset="0"/>
              </a:defRPr>
            </a:lvl2pPr>
            <a:lvl3pPr marL="1143000" indent="-228600" defTabSz="342900">
              <a:defRPr>
                <a:solidFill>
                  <a:schemeClr val="tx1"/>
                </a:solidFill>
                <a:latin typeface="Tahoma" panose="020B0604030504040204" pitchFamily="34" charset="0"/>
                <a:cs typeface="Arial" panose="020B0604020202020204" pitchFamily="34" charset="0"/>
              </a:defRPr>
            </a:lvl3pPr>
            <a:lvl4pPr marL="1600200" indent="-228600" defTabSz="342900">
              <a:defRPr>
                <a:solidFill>
                  <a:schemeClr val="tx1"/>
                </a:solidFill>
                <a:latin typeface="Tahoma" panose="020B0604030504040204" pitchFamily="34" charset="0"/>
                <a:cs typeface="Arial" panose="020B0604020202020204" pitchFamily="34" charset="0"/>
              </a:defRPr>
            </a:lvl4pPr>
            <a:lvl5pPr marL="2057400" indent="-228600" defTabSz="342900">
              <a:defRPr>
                <a:solidFill>
                  <a:schemeClr val="tx1"/>
                </a:solidFill>
                <a:latin typeface="Tahoma" panose="020B060403050404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lang="en-GB" altLang="en-US" sz="900" b="1">
                <a:solidFill>
                  <a:srgbClr val="000000"/>
                </a:solidFill>
                <a:cs typeface="Tahoma" panose="020B0604030504040204" pitchFamily="34" charset="0"/>
              </a:rPr>
              <a:t>Deponent signature and date</a:t>
            </a:r>
            <a:endParaRPr lang="en-ZA" altLang="en-US" sz="900" b="1">
              <a:solidFill>
                <a:srgbClr val="000000"/>
              </a:solidFill>
              <a:cs typeface="Tahoma" panose="020B0604030504040204" pitchFamily="34" charset="0"/>
            </a:endParaRPr>
          </a:p>
        </p:txBody>
      </p:sp>
      <p:sp>
        <p:nvSpPr>
          <p:cNvPr id="12" name="Oval 11">
            <a:extLst>
              <a:ext uri="{FF2B5EF4-FFF2-40B4-BE49-F238E27FC236}">
                <a16:creationId xmlns:a16="http://schemas.microsoft.com/office/drawing/2014/main" id="{04ABE551-017A-1383-6EDC-728EBDAE315D}"/>
              </a:ext>
            </a:extLst>
          </p:cNvPr>
          <p:cNvSpPr/>
          <p:nvPr/>
        </p:nvSpPr>
        <p:spPr>
          <a:xfrm>
            <a:off x="4246564" y="5878513"/>
            <a:ext cx="1158875" cy="565150"/>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3" name="Oval 12">
            <a:extLst>
              <a:ext uri="{FF2B5EF4-FFF2-40B4-BE49-F238E27FC236}">
                <a16:creationId xmlns:a16="http://schemas.microsoft.com/office/drawing/2014/main" id="{8EA58BD9-532E-D888-C2C5-96594090A2B7}"/>
              </a:ext>
            </a:extLst>
          </p:cNvPr>
          <p:cNvSpPr/>
          <p:nvPr/>
        </p:nvSpPr>
        <p:spPr>
          <a:xfrm>
            <a:off x="6562725" y="5295901"/>
            <a:ext cx="1403350" cy="587375"/>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4" name="Oval 13">
            <a:extLst>
              <a:ext uri="{FF2B5EF4-FFF2-40B4-BE49-F238E27FC236}">
                <a16:creationId xmlns:a16="http://schemas.microsoft.com/office/drawing/2014/main" id="{0F9F41B4-A053-18AD-E8C8-AE95EA657E9F}"/>
              </a:ext>
            </a:extLst>
          </p:cNvPr>
          <p:cNvSpPr/>
          <p:nvPr/>
        </p:nvSpPr>
        <p:spPr>
          <a:xfrm>
            <a:off x="4675189" y="1079500"/>
            <a:ext cx="1404937" cy="1093788"/>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6" name="Rectangle 15">
            <a:extLst>
              <a:ext uri="{FF2B5EF4-FFF2-40B4-BE49-F238E27FC236}">
                <a16:creationId xmlns:a16="http://schemas.microsoft.com/office/drawing/2014/main" id="{C3D002FD-3FAE-5BC7-4E62-F8A4A606BC77}"/>
              </a:ext>
            </a:extLst>
          </p:cNvPr>
          <p:cNvSpPr/>
          <p:nvPr/>
        </p:nvSpPr>
        <p:spPr>
          <a:xfrm>
            <a:off x="8213857" y="1346860"/>
            <a:ext cx="2088887" cy="1546577"/>
          </a:xfrm>
          <a:prstGeom prst="rect">
            <a:avLst/>
          </a:prstGeom>
          <a:solidFill>
            <a:schemeClr val="accent3">
              <a:lumMod val="20000"/>
              <a:lumOff val="80000"/>
            </a:schemeClr>
          </a:solidFill>
          <a:ln>
            <a:solidFill>
              <a:schemeClr val="accent1">
                <a:lumMod val="75000"/>
              </a:schemeClr>
            </a:solidFill>
          </a:ln>
        </p:spPr>
        <p:txBody>
          <a:bodyPr lIns="68580" tIns="34290" rIns="68580" bIns="34290">
            <a:spAutoFit/>
          </a:bodyPr>
          <a:lstStyle/>
          <a:p>
            <a:pPr algn="ctr" defTabSz="342900">
              <a:defRPr/>
            </a:pPr>
            <a:r>
              <a:rPr lang="en-US" sz="2400" b="1" dirty="0">
                <a:ln w="9525">
                  <a:solidFill>
                    <a:srgbClr val="FFFFFF"/>
                  </a:solidFill>
                  <a:prstDash val="solid"/>
                </a:ln>
                <a:solidFill>
                  <a:srgbClr val="7D8F28"/>
                </a:solidFill>
                <a:effectLst>
                  <a:outerShdw blurRad="12700" dist="38100" dir="2700000" algn="tl" rotWithShape="0">
                    <a:srgbClr val="7D8F28">
                      <a:lumMod val="60000"/>
                      <a:lumOff val="40000"/>
                    </a:srgbClr>
                  </a:outerShdw>
                </a:effectLst>
                <a:latin typeface="Tahoma"/>
                <a:cs typeface="Arial" panose="020B0604020202020204" pitchFamily="34" charset="0"/>
              </a:rPr>
              <a:t>Example:</a:t>
            </a:r>
          </a:p>
          <a:p>
            <a:pPr algn="ctr" defTabSz="342900">
              <a:defRPr/>
            </a:pPr>
            <a:r>
              <a:rPr lang="en-US" sz="2400" b="1" dirty="0">
                <a:ln w="9525">
                  <a:solidFill>
                    <a:srgbClr val="FFFFFF"/>
                  </a:solidFill>
                  <a:prstDash val="solid"/>
                </a:ln>
                <a:solidFill>
                  <a:srgbClr val="7D8F28"/>
                </a:solidFill>
                <a:effectLst>
                  <a:outerShdw blurRad="12700" dist="38100" dir="2700000" algn="tl" rotWithShape="0">
                    <a:srgbClr val="7D8F28">
                      <a:lumMod val="60000"/>
                      <a:lumOff val="40000"/>
                    </a:srgbClr>
                  </a:outerShdw>
                </a:effectLst>
                <a:latin typeface="Tahoma"/>
                <a:cs typeface="Arial" panose="020B0604020202020204" pitchFamily="34" charset="0"/>
              </a:rPr>
              <a:t>VALID SWORN AFFIDAVIT</a:t>
            </a:r>
          </a:p>
        </p:txBody>
      </p:sp>
      <p:sp>
        <p:nvSpPr>
          <p:cNvPr id="18" name="Right Arrow 17">
            <a:extLst>
              <a:ext uri="{FF2B5EF4-FFF2-40B4-BE49-F238E27FC236}">
                <a16:creationId xmlns:a16="http://schemas.microsoft.com/office/drawing/2014/main" id="{43AA9EDF-1D3E-B393-69BA-74E14EB71370}"/>
              </a:ext>
            </a:extLst>
          </p:cNvPr>
          <p:cNvSpPr/>
          <p:nvPr/>
        </p:nvSpPr>
        <p:spPr>
          <a:xfrm>
            <a:off x="2416176" y="2771776"/>
            <a:ext cx="1965325" cy="1311275"/>
          </a:xfrm>
          <a:prstGeom prst="rightArrow">
            <a:avLst>
              <a:gd name="adj1" fmla="val 57772"/>
              <a:gd name="adj2" fmla="val 24592"/>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9" name="Right Arrow 18">
            <a:extLst>
              <a:ext uri="{FF2B5EF4-FFF2-40B4-BE49-F238E27FC236}">
                <a16:creationId xmlns:a16="http://schemas.microsoft.com/office/drawing/2014/main" id="{432E8829-5519-2378-21E6-C8C1FDEE4410}"/>
              </a:ext>
            </a:extLst>
          </p:cNvPr>
          <p:cNvSpPr/>
          <p:nvPr/>
        </p:nvSpPr>
        <p:spPr>
          <a:xfrm>
            <a:off x="2200276" y="5610225"/>
            <a:ext cx="1901825" cy="1035050"/>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20" name="Right Arrow 19">
            <a:extLst>
              <a:ext uri="{FF2B5EF4-FFF2-40B4-BE49-F238E27FC236}">
                <a16:creationId xmlns:a16="http://schemas.microsoft.com/office/drawing/2014/main" id="{92FAE5F0-0E10-F314-6B18-79DB4F397A6D}"/>
              </a:ext>
            </a:extLst>
          </p:cNvPr>
          <p:cNvSpPr/>
          <p:nvPr/>
        </p:nvSpPr>
        <p:spPr>
          <a:xfrm flipH="1">
            <a:off x="8423275" y="3940175"/>
            <a:ext cx="1982788" cy="711200"/>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21" name="Right Arrow 20">
            <a:extLst>
              <a:ext uri="{FF2B5EF4-FFF2-40B4-BE49-F238E27FC236}">
                <a16:creationId xmlns:a16="http://schemas.microsoft.com/office/drawing/2014/main" id="{9B2B3AED-1B8B-AEC6-2D44-51350A5EAE51}"/>
              </a:ext>
            </a:extLst>
          </p:cNvPr>
          <p:cNvSpPr/>
          <p:nvPr/>
        </p:nvSpPr>
        <p:spPr>
          <a:xfrm flipH="1">
            <a:off x="6386514" y="5830888"/>
            <a:ext cx="2693987" cy="563562"/>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25" name="Oval 24">
            <a:extLst>
              <a:ext uri="{FF2B5EF4-FFF2-40B4-BE49-F238E27FC236}">
                <a16:creationId xmlns:a16="http://schemas.microsoft.com/office/drawing/2014/main" id="{74737900-DB2F-5399-2072-BC74AAE1DC82}"/>
              </a:ext>
            </a:extLst>
          </p:cNvPr>
          <p:cNvSpPr/>
          <p:nvPr/>
        </p:nvSpPr>
        <p:spPr>
          <a:xfrm>
            <a:off x="7732713" y="4019550"/>
            <a:ext cx="660400" cy="611188"/>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26" name="Oval 25">
            <a:extLst>
              <a:ext uri="{FF2B5EF4-FFF2-40B4-BE49-F238E27FC236}">
                <a16:creationId xmlns:a16="http://schemas.microsoft.com/office/drawing/2014/main" id="{96A65458-C957-5DD2-BE65-B0CD81B3F54B}"/>
              </a:ext>
            </a:extLst>
          </p:cNvPr>
          <p:cNvSpPr/>
          <p:nvPr/>
        </p:nvSpPr>
        <p:spPr>
          <a:xfrm>
            <a:off x="4595813" y="5449889"/>
            <a:ext cx="1384300" cy="503237"/>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27" name="Right Arrow 26">
            <a:extLst>
              <a:ext uri="{FF2B5EF4-FFF2-40B4-BE49-F238E27FC236}">
                <a16:creationId xmlns:a16="http://schemas.microsoft.com/office/drawing/2014/main" id="{3BDD5A1F-1C4C-C898-1E05-F85785134BF8}"/>
              </a:ext>
            </a:extLst>
          </p:cNvPr>
          <p:cNvSpPr/>
          <p:nvPr/>
        </p:nvSpPr>
        <p:spPr>
          <a:xfrm rot="20893617" flipH="1">
            <a:off x="7756525" y="4573589"/>
            <a:ext cx="2190750" cy="935037"/>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3332" name="TextBox 27">
            <a:extLst>
              <a:ext uri="{FF2B5EF4-FFF2-40B4-BE49-F238E27FC236}">
                <a16:creationId xmlns:a16="http://schemas.microsoft.com/office/drawing/2014/main" id="{09404D36-6FBC-345B-11AA-0240A6C82E7F}"/>
              </a:ext>
            </a:extLst>
          </p:cNvPr>
          <p:cNvSpPr txBox="1">
            <a:spLocks noChangeArrowheads="1"/>
          </p:cNvSpPr>
          <p:nvPr/>
        </p:nvSpPr>
        <p:spPr bwMode="auto">
          <a:xfrm>
            <a:off x="6692901" y="6019800"/>
            <a:ext cx="237807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Tahoma" panose="020B0604030504040204" pitchFamily="34" charset="0"/>
                <a:cs typeface="Arial" panose="020B0604020202020204" pitchFamily="34" charset="0"/>
              </a:defRPr>
            </a:lvl1pPr>
            <a:lvl2pPr marL="742950" indent="-285750" defTabSz="342900">
              <a:defRPr>
                <a:solidFill>
                  <a:schemeClr val="tx1"/>
                </a:solidFill>
                <a:latin typeface="Tahoma" panose="020B0604030504040204" pitchFamily="34" charset="0"/>
                <a:cs typeface="Arial" panose="020B0604020202020204" pitchFamily="34" charset="0"/>
              </a:defRPr>
            </a:lvl2pPr>
            <a:lvl3pPr marL="1143000" indent="-228600" defTabSz="342900">
              <a:defRPr>
                <a:solidFill>
                  <a:schemeClr val="tx1"/>
                </a:solidFill>
                <a:latin typeface="Tahoma" panose="020B0604030504040204" pitchFamily="34" charset="0"/>
                <a:cs typeface="Arial" panose="020B0604020202020204" pitchFamily="34" charset="0"/>
              </a:defRPr>
            </a:lvl3pPr>
            <a:lvl4pPr marL="1600200" indent="-228600" defTabSz="342900">
              <a:defRPr>
                <a:solidFill>
                  <a:schemeClr val="tx1"/>
                </a:solidFill>
                <a:latin typeface="Tahoma" panose="020B0604030504040204" pitchFamily="34" charset="0"/>
                <a:cs typeface="Arial" panose="020B0604020202020204" pitchFamily="34" charset="0"/>
              </a:defRPr>
            </a:lvl4pPr>
            <a:lvl5pPr marL="2057400" indent="-228600" defTabSz="342900">
              <a:defRPr>
                <a:solidFill>
                  <a:schemeClr val="tx1"/>
                </a:solidFill>
                <a:latin typeface="Tahoma" panose="020B060403050404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lang="en-GB" altLang="en-US" sz="900" b="1">
                <a:solidFill>
                  <a:srgbClr val="000000"/>
                </a:solidFill>
                <a:cs typeface="Tahoma" panose="020B0604030504040204" pitchFamily="34" charset="0"/>
              </a:rPr>
              <a:t>Certification Signature and/or Stamp</a:t>
            </a:r>
            <a:endParaRPr lang="en-ZA" altLang="en-US" sz="900" b="1">
              <a:solidFill>
                <a:srgbClr val="000000"/>
              </a:solidFill>
              <a:cs typeface="Tahoma" panose="020B0604030504040204" pitchFamily="34" charset="0"/>
            </a:endParaRPr>
          </a:p>
        </p:txBody>
      </p:sp>
      <p:sp>
        <p:nvSpPr>
          <p:cNvPr id="29" name="Oval 28">
            <a:extLst>
              <a:ext uri="{FF2B5EF4-FFF2-40B4-BE49-F238E27FC236}">
                <a16:creationId xmlns:a16="http://schemas.microsoft.com/office/drawing/2014/main" id="{417BC2FC-D3BF-604A-4365-12369748BCB7}"/>
              </a:ext>
            </a:extLst>
          </p:cNvPr>
          <p:cNvSpPr/>
          <p:nvPr/>
        </p:nvSpPr>
        <p:spPr>
          <a:xfrm>
            <a:off x="5283200" y="2228850"/>
            <a:ext cx="1677988" cy="977900"/>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30" name="Right Arrow 26">
            <a:extLst>
              <a:ext uri="{FF2B5EF4-FFF2-40B4-BE49-F238E27FC236}">
                <a16:creationId xmlns:a16="http://schemas.microsoft.com/office/drawing/2014/main" id="{33883F26-8BB4-1E9B-B5E4-94CF3B7BFCBE}"/>
              </a:ext>
            </a:extLst>
          </p:cNvPr>
          <p:cNvSpPr/>
          <p:nvPr/>
        </p:nvSpPr>
        <p:spPr>
          <a:xfrm flipH="1">
            <a:off x="8478838" y="5295901"/>
            <a:ext cx="1973262" cy="563563"/>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3335" name="TextBox 30">
            <a:extLst>
              <a:ext uri="{FF2B5EF4-FFF2-40B4-BE49-F238E27FC236}">
                <a16:creationId xmlns:a16="http://schemas.microsoft.com/office/drawing/2014/main" id="{4290965D-B4EF-49F5-3E79-C5B14C214733}"/>
              </a:ext>
            </a:extLst>
          </p:cNvPr>
          <p:cNvSpPr txBox="1">
            <a:spLocks noChangeArrowheads="1"/>
          </p:cNvSpPr>
          <p:nvPr/>
        </p:nvSpPr>
        <p:spPr bwMode="auto">
          <a:xfrm rot="20906175">
            <a:off x="7912100" y="4757738"/>
            <a:ext cx="212248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Tahoma" panose="020B0604030504040204" pitchFamily="34" charset="0"/>
                <a:cs typeface="Arial" panose="020B0604020202020204" pitchFamily="34" charset="0"/>
              </a:defRPr>
            </a:lvl1pPr>
            <a:lvl2pPr marL="742950" indent="-285750" defTabSz="342900">
              <a:defRPr>
                <a:solidFill>
                  <a:schemeClr val="tx1"/>
                </a:solidFill>
                <a:latin typeface="Tahoma" panose="020B0604030504040204" pitchFamily="34" charset="0"/>
                <a:cs typeface="Arial" panose="020B0604020202020204" pitchFamily="34" charset="0"/>
              </a:defRPr>
            </a:lvl2pPr>
            <a:lvl3pPr marL="1143000" indent="-228600" defTabSz="342900">
              <a:defRPr>
                <a:solidFill>
                  <a:schemeClr val="tx1"/>
                </a:solidFill>
                <a:latin typeface="Tahoma" panose="020B0604030504040204" pitchFamily="34" charset="0"/>
                <a:cs typeface="Arial" panose="020B0604020202020204" pitchFamily="34" charset="0"/>
              </a:defRPr>
            </a:lvl3pPr>
            <a:lvl4pPr marL="1600200" indent="-228600" defTabSz="342900">
              <a:defRPr>
                <a:solidFill>
                  <a:schemeClr val="tx1"/>
                </a:solidFill>
                <a:latin typeface="Tahoma" panose="020B0604030504040204" pitchFamily="34" charset="0"/>
                <a:cs typeface="Arial" panose="020B0604020202020204" pitchFamily="34" charset="0"/>
              </a:defRPr>
            </a:lvl4pPr>
            <a:lvl5pPr marL="2057400" indent="-228600" defTabSz="342900">
              <a:defRPr>
                <a:solidFill>
                  <a:schemeClr val="tx1"/>
                </a:solidFill>
                <a:latin typeface="Tahoma" panose="020B060403050404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lang="en-GB" altLang="en-US" sz="900" b="1">
                <a:solidFill>
                  <a:srgbClr val="FF0000"/>
                </a:solidFill>
                <a:cs typeface="Tahoma" panose="020B0604030504040204" pitchFamily="34" charset="0"/>
              </a:rPr>
              <a:t>DATE BY BOTH DEPONENT AND COMMISSIONER OF OATH MUST BE THE SAME</a:t>
            </a:r>
            <a:endParaRPr lang="en-ZA" altLang="en-US" sz="900" b="1">
              <a:solidFill>
                <a:srgbClr val="FF0000"/>
              </a:solidFill>
              <a:cs typeface="Tahoma" panose="020B0604030504040204" pitchFamily="34" charset="0"/>
            </a:endParaRPr>
          </a:p>
        </p:txBody>
      </p:sp>
      <p:sp>
        <p:nvSpPr>
          <p:cNvPr id="32" name="Right Arrow 18">
            <a:extLst>
              <a:ext uri="{FF2B5EF4-FFF2-40B4-BE49-F238E27FC236}">
                <a16:creationId xmlns:a16="http://schemas.microsoft.com/office/drawing/2014/main" id="{287346B0-E9CF-E953-42F8-FD23AB4C1F8C}"/>
              </a:ext>
            </a:extLst>
          </p:cNvPr>
          <p:cNvSpPr/>
          <p:nvPr/>
        </p:nvSpPr>
        <p:spPr>
          <a:xfrm rot="2215075">
            <a:off x="2495551" y="4546601"/>
            <a:ext cx="1903413" cy="1033463"/>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3337" name="TextBox 32">
            <a:extLst>
              <a:ext uri="{FF2B5EF4-FFF2-40B4-BE49-F238E27FC236}">
                <a16:creationId xmlns:a16="http://schemas.microsoft.com/office/drawing/2014/main" id="{55EDF2AF-3A7D-AAA0-2880-4581BBB6812B}"/>
              </a:ext>
            </a:extLst>
          </p:cNvPr>
          <p:cNvSpPr txBox="1">
            <a:spLocks noChangeArrowheads="1"/>
          </p:cNvSpPr>
          <p:nvPr/>
        </p:nvSpPr>
        <p:spPr bwMode="auto">
          <a:xfrm rot="2168132">
            <a:off x="2590801" y="4951413"/>
            <a:ext cx="1928813"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Tahoma" panose="020B0604030504040204" pitchFamily="34" charset="0"/>
                <a:cs typeface="Arial" panose="020B0604020202020204" pitchFamily="34" charset="0"/>
              </a:defRPr>
            </a:lvl1pPr>
            <a:lvl2pPr marL="742950" indent="-285750" defTabSz="342900">
              <a:defRPr>
                <a:solidFill>
                  <a:schemeClr val="tx1"/>
                </a:solidFill>
                <a:latin typeface="Tahoma" panose="020B0604030504040204" pitchFamily="34" charset="0"/>
                <a:cs typeface="Arial" panose="020B0604020202020204" pitchFamily="34" charset="0"/>
              </a:defRPr>
            </a:lvl2pPr>
            <a:lvl3pPr marL="1143000" indent="-228600" defTabSz="342900">
              <a:defRPr>
                <a:solidFill>
                  <a:schemeClr val="tx1"/>
                </a:solidFill>
                <a:latin typeface="Tahoma" panose="020B0604030504040204" pitchFamily="34" charset="0"/>
                <a:cs typeface="Arial" panose="020B0604020202020204" pitchFamily="34" charset="0"/>
              </a:defRPr>
            </a:lvl3pPr>
            <a:lvl4pPr marL="1600200" indent="-228600" defTabSz="342900">
              <a:defRPr>
                <a:solidFill>
                  <a:schemeClr val="tx1"/>
                </a:solidFill>
                <a:latin typeface="Tahoma" panose="020B0604030504040204" pitchFamily="34" charset="0"/>
                <a:cs typeface="Arial" panose="020B0604020202020204" pitchFamily="34" charset="0"/>
              </a:defRPr>
            </a:lvl4pPr>
            <a:lvl5pPr marL="2057400" indent="-228600" defTabSz="342900">
              <a:defRPr>
                <a:solidFill>
                  <a:schemeClr val="tx1"/>
                </a:solidFill>
                <a:latin typeface="Tahoma" panose="020B060403050404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fontAlgn="base">
              <a:spcBef>
                <a:spcPct val="0"/>
              </a:spcBef>
              <a:spcAft>
                <a:spcPct val="0"/>
              </a:spcAft>
            </a:pPr>
            <a:r>
              <a:rPr lang="en-GB" altLang="en-US" sz="900" b="1">
                <a:solidFill>
                  <a:srgbClr val="FF0000"/>
                </a:solidFill>
                <a:cs typeface="Tahoma" panose="020B0604030504040204" pitchFamily="34" charset="0"/>
              </a:rPr>
              <a:t>FUL NAME, BUSINESS ADDRESS AND STATE DESIGNATION</a:t>
            </a:r>
            <a:endParaRPr lang="en-ZA" altLang="en-US" sz="900" b="1">
              <a:solidFill>
                <a:srgbClr val="FF0000"/>
              </a:solidFill>
              <a:cs typeface="Tahoma" panose="020B0604030504040204" pitchFamily="34"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6169AED2-7E20-5BEB-A89A-73900B7A4572}"/>
              </a:ext>
            </a:extLst>
          </p:cNvPr>
          <p:cNvSpPr>
            <a:spLocks noGrp="1"/>
          </p:cNvSpPr>
          <p:nvPr>
            <p:ph type="title"/>
          </p:nvPr>
        </p:nvSpPr>
        <p:spPr>
          <a:xfrm>
            <a:off x="1887539" y="1049338"/>
            <a:ext cx="6135687" cy="539750"/>
          </a:xfrm>
        </p:spPr>
        <p:txBody>
          <a:bodyPr/>
          <a:lstStyle/>
          <a:p>
            <a:r>
              <a:rPr lang="en-ZA" altLang="en-US" sz="1800"/>
              <a:t>VALID B-BBEE CERETIFICATE</a:t>
            </a:r>
          </a:p>
        </p:txBody>
      </p:sp>
      <p:sp>
        <p:nvSpPr>
          <p:cNvPr id="5" name="TextBox 4">
            <a:extLst>
              <a:ext uri="{FF2B5EF4-FFF2-40B4-BE49-F238E27FC236}">
                <a16:creationId xmlns:a16="http://schemas.microsoft.com/office/drawing/2014/main" id="{420697EA-E5EA-B5B8-0AB9-91CD0D7895DF}"/>
              </a:ext>
            </a:extLst>
          </p:cNvPr>
          <p:cNvSpPr txBox="1"/>
          <p:nvPr/>
        </p:nvSpPr>
        <p:spPr>
          <a:xfrm>
            <a:off x="2781300" y="5759450"/>
            <a:ext cx="1303338" cy="300038"/>
          </a:xfrm>
          <a:prstGeom prst="rect">
            <a:avLst/>
          </a:prstGeom>
          <a:solidFill>
            <a:schemeClr val="bg1"/>
          </a:solidFill>
        </p:spPr>
        <p:txBody>
          <a:bodyPr>
            <a:spAutoFit/>
          </a:bodyPr>
          <a:lstStyle/>
          <a:p>
            <a:pPr defTabSz="342900">
              <a:defRPr/>
            </a:pPr>
            <a:endParaRPr lang="en-ZA" sz="1350" dirty="0">
              <a:solidFill>
                <a:prstClr val="black"/>
              </a:solidFill>
              <a:latin typeface="Tahoma"/>
              <a:cs typeface="Arial" panose="020B0604020202020204" pitchFamily="34" charset="0"/>
            </a:endParaRPr>
          </a:p>
        </p:txBody>
      </p:sp>
      <p:pic>
        <p:nvPicPr>
          <p:cNvPr id="14340" name="Picture 5" descr="Screen Clipping">
            <a:extLst>
              <a:ext uri="{FF2B5EF4-FFF2-40B4-BE49-F238E27FC236}">
                <a16:creationId xmlns:a16="http://schemas.microsoft.com/office/drawing/2014/main" id="{5DFD6326-4AD1-E748-2766-A7111C7CF4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5825" y="1812925"/>
            <a:ext cx="2800350" cy="356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131FC0C8-C0E3-9E50-44C4-7214B4320A57}"/>
              </a:ext>
            </a:extLst>
          </p:cNvPr>
          <p:cNvSpPr txBox="1"/>
          <p:nvPr/>
        </p:nvSpPr>
        <p:spPr>
          <a:xfrm>
            <a:off x="2620963" y="2114551"/>
            <a:ext cx="2705100" cy="646113"/>
          </a:xfrm>
          <a:prstGeom prst="rect">
            <a:avLst/>
          </a:prstGeom>
          <a:noFill/>
        </p:spPr>
        <p:txBody>
          <a:bodyPr>
            <a:spAutoFit/>
          </a:bodyPr>
          <a:lstStyle/>
          <a:p>
            <a:pPr defTabSz="342900">
              <a:defRPr/>
            </a:pPr>
            <a:r>
              <a:rPr lang="en-ZA" sz="900" b="1" dirty="0">
                <a:solidFill>
                  <a:srgbClr val="000000"/>
                </a:solidFill>
                <a:latin typeface="Tahoma"/>
                <a:cs typeface="Arial" panose="020B0604020202020204" pitchFamily="34" charset="0"/>
              </a:rPr>
              <a:t>Enterprise Name</a:t>
            </a:r>
          </a:p>
          <a:p>
            <a:pPr defTabSz="342900">
              <a:defRPr/>
            </a:pPr>
            <a:r>
              <a:rPr lang="en-ZA" sz="900" b="1" dirty="0">
                <a:solidFill>
                  <a:srgbClr val="000000"/>
                </a:solidFill>
                <a:latin typeface="Tahoma"/>
                <a:cs typeface="Arial" panose="020B0604020202020204" pitchFamily="34" charset="0"/>
              </a:rPr>
              <a:t>(Cross referenced to Tax Clearance Certificate &amp;</a:t>
            </a:r>
          </a:p>
          <a:p>
            <a:pPr defTabSz="342900">
              <a:defRPr/>
            </a:pPr>
            <a:r>
              <a:rPr lang="en-ZA" sz="900" b="1" dirty="0">
                <a:solidFill>
                  <a:srgbClr val="000000"/>
                </a:solidFill>
                <a:latin typeface="Tahoma"/>
                <a:cs typeface="Arial" panose="020B0604020202020204" pitchFamily="34" charset="0"/>
              </a:rPr>
              <a:t>Enterprise Registration No.) </a:t>
            </a:r>
          </a:p>
        </p:txBody>
      </p:sp>
      <p:sp>
        <p:nvSpPr>
          <p:cNvPr id="8" name="TextBox 7">
            <a:extLst>
              <a:ext uri="{FF2B5EF4-FFF2-40B4-BE49-F238E27FC236}">
                <a16:creationId xmlns:a16="http://schemas.microsoft.com/office/drawing/2014/main" id="{260F06A9-45F3-D836-152A-2E0D9B6D51F8}"/>
              </a:ext>
            </a:extLst>
          </p:cNvPr>
          <p:cNvSpPr txBox="1"/>
          <p:nvPr/>
        </p:nvSpPr>
        <p:spPr>
          <a:xfrm>
            <a:off x="7153276" y="2946400"/>
            <a:ext cx="1844675" cy="369888"/>
          </a:xfrm>
          <a:prstGeom prst="rect">
            <a:avLst/>
          </a:prstGeom>
          <a:noFill/>
        </p:spPr>
        <p:txBody>
          <a:bodyPr>
            <a:spAutoFit/>
          </a:bodyPr>
          <a:lstStyle/>
          <a:p>
            <a:pPr defTabSz="342900">
              <a:defRPr/>
            </a:pPr>
            <a:r>
              <a:rPr lang="en-ZA" sz="900" b="1" dirty="0">
                <a:solidFill>
                  <a:srgbClr val="000000"/>
                </a:solidFill>
                <a:latin typeface="Tahoma"/>
                <a:cs typeface="Arial" panose="020B0604020202020204" pitchFamily="34" charset="0"/>
              </a:rPr>
              <a:t>BBBEE level based on QSE/LE (Generic status)</a:t>
            </a:r>
          </a:p>
        </p:txBody>
      </p:sp>
      <p:sp>
        <p:nvSpPr>
          <p:cNvPr id="9" name="TextBox 8">
            <a:extLst>
              <a:ext uri="{FF2B5EF4-FFF2-40B4-BE49-F238E27FC236}">
                <a16:creationId xmlns:a16="http://schemas.microsoft.com/office/drawing/2014/main" id="{EF2DDEC4-1271-149E-DB22-B0C68D547245}"/>
              </a:ext>
            </a:extLst>
          </p:cNvPr>
          <p:cNvSpPr txBox="1"/>
          <p:nvPr/>
        </p:nvSpPr>
        <p:spPr>
          <a:xfrm>
            <a:off x="3146426" y="4097339"/>
            <a:ext cx="1844675" cy="230187"/>
          </a:xfrm>
          <a:prstGeom prst="rect">
            <a:avLst/>
          </a:prstGeom>
          <a:noFill/>
        </p:spPr>
        <p:txBody>
          <a:bodyPr>
            <a:spAutoFit/>
          </a:bodyPr>
          <a:lstStyle/>
          <a:p>
            <a:pPr defTabSz="342900">
              <a:defRPr/>
            </a:pPr>
            <a:r>
              <a:rPr lang="en-ZA" sz="900" b="1" dirty="0">
                <a:solidFill>
                  <a:srgbClr val="000000"/>
                </a:solidFill>
                <a:latin typeface="Tahoma"/>
                <a:cs typeface="Arial" panose="020B0604020202020204" pitchFamily="34" charset="0"/>
              </a:rPr>
              <a:t>Elements verified </a:t>
            </a:r>
          </a:p>
        </p:txBody>
      </p:sp>
      <p:sp>
        <p:nvSpPr>
          <p:cNvPr id="10" name="TextBox 9">
            <a:extLst>
              <a:ext uri="{FF2B5EF4-FFF2-40B4-BE49-F238E27FC236}">
                <a16:creationId xmlns:a16="http://schemas.microsoft.com/office/drawing/2014/main" id="{E6BC074A-15D9-B281-781C-014345D9D05F}"/>
              </a:ext>
            </a:extLst>
          </p:cNvPr>
          <p:cNvSpPr txBox="1"/>
          <p:nvPr/>
        </p:nvSpPr>
        <p:spPr>
          <a:xfrm>
            <a:off x="7927976" y="4929188"/>
            <a:ext cx="1844675" cy="368300"/>
          </a:xfrm>
          <a:prstGeom prst="rect">
            <a:avLst/>
          </a:prstGeom>
          <a:noFill/>
        </p:spPr>
        <p:txBody>
          <a:bodyPr>
            <a:spAutoFit/>
          </a:bodyPr>
          <a:lstStyle/>
          <a:p>
            <a:pPr defTabSz="342900">
              <a:defRPr/>
            </a:pPr>
            <a:r>
              <a:rPr lang="en-ZA" sz="900" b="1" dirty="0">
                <a:solidFill>
                  <a:srgbClr val="000000"/>
                </a:solidFill>
                <a:latin typeface="Tahoma"/>
                <a:cs typeface="Arial" panose="020B0604020202020204" pitchFamily="34" charset="0"/>
              </a:rPr>
              <a:t>Accreditation agency and BVA Number</a:t>
            </a:r>
          </a:p>
        </p:txBody>
      </p:sp>
      <p:sp>
        <p:nvSpPr>
          <p:cNvPr id="11" name="Oval 10">
            <a:extLst>
              <a:ext uri="{FF2B5EF4-FFF2-40B4-BE49-F238E27FC236}">
                <a16:creationId xmlns:a16="http://schemas.microsoft.com/office/drawing/2014/main" id="{3EBEE343-4213-C8C1-8FE5-68D15762E235}"/>
              </a:ext>
            </a:extLst>
          </p:cNvPr>
          <p:cNvSpPr/>
          <p:nvPr/>
        </p:nvSpPr>
        <p:spPr>
          <a:xfrm>
            <a:off x="4814889" y="1916114"/>
            <a:ext cx="2598737" cy="669925"/>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2" name="Oval 11">
            <a:extLst>
              <a:ext uri="{FF2B5EF4-FFF2-40B4-BE49-F238E27FC236}">
                <a16:creationId xmlns:a16="http://schemas.microsoft.com/office/drawing/2014/main" id="{CE05820F-23E7-3C70-0EB9-9D02EB159FC9}"/>
              </a:ext>
            </a:extLst>
          </p:cNvPr>
          <p:cNvSpPr/>
          <p:nvPr/>
        </p:nvSpPr>
        <p:spPr>
          <a:xfrm>
            <a:off x="6621463" y="3984626"/>
            <a:ext cx="792162" cy="385763"/>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3" name="Oval 12">
            <a:extLst>
              <a:ext uri="{FF2B5EF4-FFF2-40B4-BE49-F238E27FC236}">
                <a16:creationId xmlns:a16="http://schemas.microsoft.com/office/drawing/2014/main" id="{F60B3553-68BD-41F8-8881-E679A495B139}"/>
              </a:ext>
            </a:extLst>
          </p:cNvPr>
          <p:cNvSpPr/>
          <p:nvPr/>
        </p:nvSpPr>
        <p:spPr>
          <a:xfrm>
            <a:off x="4959350" y="2914651"/>
            <a:ext cx="2019300" cy="569913"/>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4" name="Oval 13">
            <a:extLst>
              <a:ext uri="{FF2B5EF4-FFF2-40B4-BE49-F238E27FC236}">
                <a16:creationId xmlns:a16="http://schemas.microsoft.com/office/drawing/2014/main" id="{E8CFAE77-547C-2D3C-4474-31AB7B71C783}"/>
              </a:ext>
            </a:extLst>
          </p:cNvPr>
          <p:cNvSpPr/>
          <p:nvPr/>
        </p:nvSpPr>
        <p:spPr>
          <a:xfrm>
            <a:off x="6515100" y="4670425"/>
            <a:ext cx="1244600" cy="769938"/>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5" name="TextBox 14">
            <a:extLst>
              <a:ext uri="{FF2B5EF4-FFF2-40B4-BE49-F238E27FC236}">
                <a16:creationId xmlns:a16="http://schemas.microsoft.com/office/drawing/2014/main" id="{2817DD98-85A6-846C-7B6E-541EA2CD16F3}"/>
              </a:ext>
            </a:extLst>
          </p:cNvPr>
          <p:cNvSpPr txBox="1"/>
          <p:nvPr/>
        </p:nvSpPr>
        <p:spPr>
          <a:xfrm>
            <a:off x="7612064" y="3984626"/>
            <a:ext cx="1844675" cy="231775"/>
          </a:xfrm>
          <a:prstGeom prst="rect">
            <a:avLst/>
          </a:prstGeom>
          <a:noFill/>
        </p:spPr>
        <p:txBody>
          <a:bodyPr>
            <a:spAutoFit/>
          </a:bodyPr>
          <a:lstStyle/>
          <a:p>
            <a:pPr defTabSz="342900">
              <a:defRPr/>
            </a:pPr>
            <a:r>
              <a:rPr lang="en-ZA" sz="900" b="1" dirty="0">
                <a:solidFill>
                  <a:srgbClr val="000000"/>
                </a:solidFill>
                <a:latin typeface="Tahoma"/>
                <a:cs typeface="Arial" panose="020B0604020202020204" pitchFamily="34" charset="0"/>
              </a:rPr>
              <a:t>Validity Period </a:t>
            </a:r>
          </a:p>
        </p:txBody>
      </p:sp>
      <p:sp>
        <p:nvSpPr>
          <p:cNvPr id="16" name="Rectangle 15">
            <a:extLst>
              <a:ext uri="{FF2B5EF4-FFF2-40B4-BE49-F238E27FC236}">
                <a16:creationId xmlns:a16="http://schemas.microsoft.com/office/drawing/2014/main" id="{0158B2FB-6821-50B9-7E9C-4E317047ABDD}"/>
              </a:ext>
            </a:extLst>
          </p:cNvPr>
          <p:cNvSpPr/>
          <p:nvPr/>
        </p:nvSpPr>
        <p:spPr>
          <a:xfrm>
            <a:off x="7613225" y="1395865"/>
            <a:ext cx="2088887" cy="1177245"/>
          </a:xfrm>
          <a:prstGeom prst="rect">
            <a:avLst/>
          </a:prstGeom>
          <a:solidFill>
            <a:schemeClr val="accent3">
              <a:lumMod val="20000"/>
              <a:lumOff val="80000"/>
            </a:schemeClr>
          </a:solidFill>
          <a:ln>
            <a:solidFill>
              <a:schemeClr val="accent1">
                <a:lumMod val="75000"/>
              </a:schemeClr>
            </a:solidFill>
          </a:ln>
        </p:spPr>
        <p:txBody>
          <a:bodyPr lIns="68580" tIns="34290" rIns="68580" bIns="34290">
            <a:spAutoFit/>
          </a:bodyPr>
          <a:lstStyle/>
          <a:p>
            <a:pPr algn="ctr" defTabSz="342900">
              <a:defRPr/>
            </a:pPr>
            <a:r>
              <a:rPr lang="en-US" sz="2400" b="1" dirty="0">
                <a:ln w="9525">
                  <a:solidFill>
                    <a:srgbClr val="FFFFFF"/>
                  </a:solidFill>
                  <a:prstDash val="solid"/>
                </a:ln>
                <a:solidFill>
                  <a:srgbClr val="7D8F28"/>
                </a:solidFill>
                <a:effectLst>
                  <a:outerShdw blurRad="12700" dist="38100" dir="2700000" algn="tl" rotWithShape="0">
                    <a:srgbClr val="7D8F28">
                      <a:lumMod val="60000"/>
                      <a:lumOff val="40000"/>
                    </a:srgbClr>
                  </a:outerShdw>
                </a:effectLst>
                <a:latin typeface="Tahoma"/>
                <a:cs typeface="Arial" panose="020B0604020202020204" pitchFamily="34" charset="0"/>
              </a:rPr>
              <a:t>Example:</a:t>
            </a:r>
          </a:p>
          <a:p>
            <a:pPr algn="ctr" defTabSz="342900">
              <a:defRPr/>
            </a:pPr>
            <a:r>
              <a:rPr lang="en-US" sz="2400" b="1" dirty="0">
                <a:ln w="9525">
                  <a:solidFill>
                    <a:srgbClr val="FFFFFF"/>
                  </a:solidFill>
                  <a:prstDash val="solid"/>
                </a:ln>
                <a:solidFill>
                  <a:srgbClr val="7D8F28"/>
                </a:solidFill>
                <a:effectLst>
                  <a:outerShdw blurRad="12700" dist="38100" dir="2700000" algn="tl" rotWithShape="0">
                    <a:srgbClr val="7D8F28">
                      <a:lumMod val="60000"/>
                      <a:lumOff val="40000"/>
                    </a:srgbClr>
                  </a:outerShdw>
                </a:effectLst>
                <a:latin typeface="Tahoma"/>
                <a:cs typeface="Arial" panose="020B0604020202020204" pitchFamily="34" charset="0"/>
              </a:rPr>
              <a:t>VALID B-BBEE</a:t>
            </a:r>
          </a:p>
        </p:txBody>
      </p:sp>
      <p:sp>
        <p:nvSpPr>
          <p:cNvPr id="17" name="Right Arrow 16">
            <a:extLst>
              <a:ext uri="{FF2B5EF4-FFF2-40B4-BE49-F238E27FC236}">
                <a16:creationId xmlns:a16="http://schemas.microsoft.com/office/drawing/2014/main" id="{6CAFBFFF-CC89-7BA5-5BE9-6DA43EC19066}"/>
              </a:ext>
            </a:extLst>
          </p:cNvPr>
          <p:cNvSpPr/>
          <p:nvPr/>
        </p:nvSpPr>
        <p:spPr>
          <a:xfrm>
            <a:off x="2578101" y="1679576"/>
            <a:ext cx="2263775" cy="1520825"/>
          </a:xfrm>
          <a:prstGeom prst="rightArrow">
            <a:avLst>
              <a:gd name="adj1" fmla="val 50000"/>
              <a:gd name="adj2" fmla="val 32589"/>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8" name="Right Arrow 17">
            <a:extLst>
              <a:ext uri="{FF2B5EF4-FFF2-40B4-BE49-F238E27FC236}">
                <a16:creationId xmlns:a16="http://schemas.microsoft.com/office/drawing/2014/main" id="{A88E132C-607C-650E-671F-E0D7FB76A34C}"/>
              </a:ext>
            </a:extLst>
          </p:cNvPr>
          <p:cNvSpPr/>
          <p:nvPr/>
        </p:nvSpPr>
        <p:spPr>
          <a:xfrm flipH="1">
            <a:off x="6978651" y="2503489"/>
            <a:ext cx="2392363" cy="1190625"/>
          </a:xfrm>
          <a:prstGeom prst="rightArrow">
            <a:avLst>
              <a:gd name="adj1" fmla="val 38332"/>
              <a:gd name="adj2" fmla="val 50000"/>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r>
              <a:rPr lang="en-US" sz="1350" dirty="0">
                <a:solidFill>
                  <a:srgbClr val="FFFFFF"/>
                </a:solidFill>
                <a:latin typeface="Tahoma"/>
              </a:rPr>
              <a:t>a</a:t>
            </a:r>
            <a:endParaRPr lang="en-ZA" sz="1350" dirty="0">
              <a:solidFill>
                <a:srgbClr val="FFFFFF"/>
              </a:solidFill>
              <a:latin typeface="Tahoma"/>
            </a:endParaRPr>
          </a:p>
        </p:txBody>
      </p:sp>
      <p:sp>
        <p:nvSpPr>
          <p:cNvPr id="19" name="Right Arrow 18">
            <a:extLst>
              <a:ext uri="{FF2B5EF4-FFF2-40B4-BE49-F238E27FC236}">
                <a16:creationId xmlns:a16="http://schemas.microsoft.com/office/drawing/2014/main" id="{0687A641-29CE-67AF-43BB-DA6ED56BD61D}"/>
              </a:ext>
            </a:extLst>
          </p:cNvPr>
          <p:cNvSpPr/>
          <p:nvPr/>
        </p:nvSpPr>
        <p:spPr>
          <a:xfrm>
            <a:off x="3146426" y="3482976"/>
            <a:ext cx="1431925" cy="1446213"/>
          </a:xfrm>
          <a:prstGeom prst="rightArrow">
            <a:avLst>
              <a:gd name="adj1" fmla="val 23419"/>
              <a:gd name="adj2" fmla="val 29767"/>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20" name="Right Arrow 19">
            <a:extLst>
              <a:ext uri="{FF2B5EF4-FFF2-40B4-BE49-F238E27FC236}">
                <a16:creationId xmlns:a16="http://schemas.microsoft.com/office/drawing/2014/main" id="{BE1404EF-74C1-9917-6897-D07E64A18DE4}"/>
              </a:ext>
            </a:extLst>
          </p:cNvPr>
          <p:cNvSpPr/>
          <p:nvPr/>
        </p:nvSpPr>
        <p:spPr>
          <a:xfrm flipH="1">
            <a:off x="7445376" y="3594101"/>
            <a:ext cx="1281113" cy="1019175"/>
          </a:xfrm>
          <a:prstGeom prst="rightArrow">
            <a:avLst>
              <a:gd name="adj1" fmla="val 31039"/>
              <a:gd name="adj2" fmla="val 50729"/>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r>
              <a:rPr lang="en-US" sz="1350" dirty="0">
                <a:solidFill>
                  <a:srgbClr val="FFFFFF"/>
                </a:solidFill>
                <a:latin typeface="Tahoma"/>
              </a:rPr>
              <a:t>a</a:t>
            </a:r>
            <a:endParaRPr lang="en-ZA" sz="1350" dirty="0">
              <a:solidFill>
                <a:srgbClr val="FFFFFF"/>
              </a:solidFill>
              <a:latin typeface="Tahoma"/>
            </a:endParaRPr>
          </a:p>
        </p:txBody>
      </p:sp>
      <p:sp>
        <p:nvSpPr>
          <p:cNvPr id="21" name="Right Arrow 20">
            <a:extLst>
              <a:ext uri="{FF2B5EF4-FFF2-40B4-BE49-F238E27FC236}">
                <a16:creationId xmlns:a16="http://schemas.microsoft.com/office/drawing/2014/main" id="{9A18AC94-983D-8CB5-5716-E73EFE39A09C}"/>
              </a:ext>
            </a:extLst>
          </p:cNvPr>
          <p:cNvSpPr/>
          <p:nvPr/>
        </p:nvSpPr>
        <p:spPr>
          <a:xfrm flipH="1">
            <a:off x="7745413" y="4592638"/>
            <a:ext cx="1803400" cy="1111250"/>
          </a:xfrm>
          <a:prstGeom prst="rightArrow">
            <a:avLst>
              <a:gd name="adj1" fmla="val 33956"/>
              <a:gd name="adj2" fmla="val 59481"/>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r>
              <a:rPr lang="en-US" sz="1350" dirty="0">
                <a:solidFill>
                  <a:srgbClr val="FFFFFF"/>
                </a:solidFill>
                <a:latin typeface="Tahoma"/>
              </a:rPr>
              <a:t>a</a:t>
            </a:r>
            <a:endParaRPr lang="en-ZA" sz="1350" dirty="0">
              <a:solidFill>
                <a:srgbClr val="FFFFFF"/>
              </a:solidFill>
              <a:latin typeface="Tahoma"/>
            </a:endParaRPr>
          </a:p>
        </p:txBody>
      </p:sp>
      <p:sp>
        <p:nvSpPr>
          <p:cNvPr id="22" name="Rectangle 21">
            <a:extLst>
              <a:ext uri="{FF2B5EF4-FFF2-40B4-BE49-F238E27FC236}">
                <a16:creationId xmlns:a16="http://schemas.microsoft.com/office/drawing/2014/main" id="{F321717E-F43F-485E-1F0C-0A45576E0BF3}"/>
              </a:ext>
            </a:extLst>
          </p:cNvPr>
          <p:cNvSpPr/>
          <p:nvPr/>
        </p:nvSpPr>
        <p:spPr>
          <a:xfrm>
            <a:off x="4954589" y="2251076"/>
            <a:ext cx="1666875" cy="138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r>
              <a:rPr lang="en-US" sz="900" b="1" dirty="0">
                <a:solidFill>
                  <a:srgbClr val="000000"/>
                </a:solidFill>
                <a:latin typeface="Tahoma"/>
              </a:rPr>
              <a:t>COMPANY NAME</a:t>
            </a:r>
            <a:endParaRPr lang="en-ZA" sz="900" b="1" dirty="0">
              <a:solidFill>
                <a:srgbClr val="000000"/>
              </a:solidFill>
              <a:latin typeface="Tahom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ZA" altLang="en-US" dirty="0"/>
              <a:t>Purpose of The Briefing Session</a:t>
            </a:r>
          </a:p>
        </p:txBody>
      </p:sp>
      <p:sp>
        <p:nvSpPr>
          <p:cNvPr id="6148"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CC0000"/>
              </a:buClr>
              <a:buFont typeface="Wingdings" panose="05000000000000000000" pitchFamily="2" charset="2"/>
              <a:buChar char="§"/>
              <a:defRPr sz="2000">
                <a:solidFill>
                  <a:schemeClr val="tx1"/>
                </a:solidFill>
                <a:latin typeface="Tahoma" panose="020B0604030504040204" pitchFamily="34" charset="0"/>
              </a:defRPr>
            </a:lvl1pPr>
            <a:lvl2pPr marL="742950" indent="-28575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2pPr>
            <a:lvl3pPr marL="11430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3pPr>
            <a:lvl4pPr marL="16002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4pPr>
            <a:lvl5pPr marL="20574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5pPr>
            <a:lvl6pPr marL="25146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6pPr>
            <a:lvl7pPr marL="29718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7pPr>
            <a:lvl8pPr marL="34290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8pPr>
            <a:lvl9pPr marL="38862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9pPr>
          </a:lstStyle>
          <a:p>
            <a:pPr>
              <a:spcBef>
                <a:spcPct val="0"/>
              </a:spcBef>
              <a:buClrTx/>
              <a:buFontTx/>
              <a:buNone/>
            </a:pPr>
            <a:fld id="{616C79FC-13B0-4726-97C9-3FA538063CEE}" type="slidenum">
              <a:rPr lang="en-US" altLang="en-US" sz="1200">
                <a:solidFill>
                  <a:schemeClr val="bg1"/>
                </a:solidFill>
              </a:rPr>
              <a:pPr>
                <a:spcBef>
                  <a:spcPct val="0"/>
                </a:spcBef>
                <a:buClrTx/>
                <a:buFontTx/>
                <a:buNone/>
              </a:pPr>
              <a:t>3</a:t>
            </a:fld>
            <a:endParaRPr lang="en-US" altLang="en-US" sz="1200" dirty="0">
              <a:solidFill>
                <a:schemeClr val="bg1"/>
              </a:solidFill>
            </a:endParaRPr>
          </a:p>
        </p:txBody>
      </p:sp>
      <p:grpSp>
        <p:nvGrpSpPr>
          <p:cNvPr id="6" name="Group 5"/>
          <p:cNvGrpSpPr/>
          <p:nvPr/>
        </p:nvGrpSpPr>
        <p:grpSpPr>
          <a:xfrm>
            <a:off x="507592" y="1763661"/>
            <a:ext cx="11227208" cy="3879882"/>
            <a:chOff x="-3173041" y="1727126"/>
            <a:chExt cx="11227208" cy="3879882"/>
          </a:xfrm>
        </p:grpSpPr>
        <p:grpSp>
          <p:nvGrpSpPr>
            <p:cNvPr id="7" name="Group 6"/>
            <p:cNvGrpSpPr/>
            <p:nvPr/>
          </p:nvGrpSpPr>
          <p:grpSpPr>
            <a:xfrm>
              <a:off x="3190416" y="1727126"/>
              <a:ext cx="4863751" cy="3879882"/>
              <a:chOff x="3190416" y="1739900"/>
              <a:chExt cx="4863751" cy="3879882"/>
            </a:xfrm>
          </p:grpSpPr>
          <p:grpSp>
            <p:nvGrpSpPr>
              <p:cNvPr id="14" name="Group 13"/>
              <p:cNvGrpSpPr/>
              <p:nvPr/>
            </p:nvGrpSpPr>
            <p:grpSpPr>
              <a:xfrm>
                <a:off x="3190416" y="1739900"/>
                <a:ext cx="2009561" cy="3879882"/>
                <a:chOff x="3190416" y="1739900"/>
                <a:chExt cx="2009561" cy="3879882"/>
              </a:xfrm>
            </p:grpSpPr>
            <p:grpSp>
              <p:nvGrpSpPr>
                <p:cNvPr id="29" name="Group 28"/>
                <p:cNvGrpSpPr/>
                <p:nvPr/>
              </p:nvGrpSpPr>
              <p:grpSpPr>
                <a:xfrm>
                  <a:off x="3190416" y="1739900"/>
                  <a:ext cx="1894718" cy="1722487"/>
                  <a:chOff x="3190416" y="1739900"/>
                  <a:chExt cx="1894718" cy="1722487"/>
                </a:xfrm>
              </p:grpSpPr>
              <p:sp>
                <p:nvSpPr>
                  <p:cNvPr id="74" name="Freeform 73"/>
                  <p:cNvSpPr/>
                  <p:nvPr/>
                </p:nvSpPr>
                <p:spPr>
                  <a:xfrm rot="14267453">
                    <a:off x="3699528" y="2076782"/>
                    <a:ext cx="1722487" cy="1048724"/>
                  </a:xfrm>
                  <a:custGeom>
                    <a:avLst/>
                    <a:gdLst>
                      <a:gd name="connsiteX0" fmla="*/ 1105924 w 1689906"/>
                      <a:gd name="connsiteY0" fmla="*/ 1028887 h 1028887"/>
                      <a:gd name="connsiteX1" fmla="*/ 0 w 1689906"/>
                      <a:gd name="connsiteY1" fmla="*/ 1028887 h 1028887"/>
                      <a:gd name="connsiteX2" fmla="*/ 0 w 1689906"/>
                      <a:gd name="connsiteY2" fmla="*/ 838387 h 1028887"/>
                      <a:gd name="connsiteX3" fmla="*/ 1000575 w 1689906"/>
                      <a:gd name="connsiteY3" fmla="*/ 838387 h 1028887"/>
                      <a:gd name="connsiteX4" fmla="*/ 1528722 w 1689906"/>
                      <a:gd name="connsiteY4" fmla="*/ 0 h 1028887"/>
                      <a:gd name="connsiteX5" fmla="*/ 1689906 w 1689906"/>
                      <a:gd name="connsiteY5" fmla="*/ 101538 h 1028887"/>
                      <a:gd name="connsiteX6" fmla="*/ 1106059 w 1689906"/>
                      <a:gd name="connsiteY6" fmla="*/ 1028344 h 1028887"/>
                      <a:gd name="connsiteX7" fmla="*/ 1105924 w 1689906"/>
                      <a:gd name="connsiteY7" fmla="*/ 1028259 h 102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9906" h="1028887">
                        <a:moveTo>
                          <a:pt x="1105924" y="1028887"/>
                        </a:moveTo>
                        <a:lnTo>
                          <a:pt x="0" y="1028887"/>
                        </a:lnTo>
                        <a:lnTo>
                          <a:pt x="0" y="838387"/>
                        </a:lnTo>
                        <a:lnTo>
                          <a:pt x="1000575" y="838387"/>
                        </a:lnTo>
                        <a:lnTo>
                          <a:pt x="1528722" y="0"/>
                        </a:lnTo>
                        <a:lnTo>
                          <a:pt x="1689906" y="101538"/>
                        </a:lnTo>
                        <a:lnTo>
                          <a:pt x="1106059" y="1028344"/>
                        </a:lnTo>
                        <a:lnTo>
                          <a:pt x="1105924" y="1028259"/>
                        </a:lnTo>
                        <a:close/>
                      </a:path>
                    </a:pathLst>
                  </a:custGeom>
                  <a:solidFill>
                    <a:srgbClr val="1FA9DD"/>
                  </a:solidFill>
                  <a:ln>
                    <a:noFill/>
                  </a:ln>
                  <a:effectLst>
                    <a:innerShdw blurRad="114300">
                      <a:schemeClr val="tx1">
                        <a:lumMod val="75000"/>
                        <a:lumOff val="2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75" name="Group 74"/>
                  <p:cNvGrpSpPr/>
                  <p:nvPr/>
                </p:nvGrpSpPr>
                <p:grpSpPr>
                  <a:xfrm>
                    <a:off x="3190416" y="1838741"/>
                    <a:ext cx="722441" cy="721485"/>
                    <a:chOff x="3190416" y="1838741"/>
                    <a:chExt cx="722441" cy="721485"/>
                  </a:xfrm>
                </p:grpSpPr>
                <p:grpSp>
                  <p:nvGrpSpPr>
                    <p:cNvPr id="76" name="Group 75"/>
                    <p:cNvGrpSpPr/>
                    <p:nvPr/>
                  </p:nvGrpSpPr>
                  <p:grpSpPr>
                    <a:xfrm>
                      <a:off x="3190416" y="1838741"/>
                      <a:ext cx="722441" cy="721485"/>
                      <a:chOff x="1898526" y="3458319"/>
                      <a:chExt cx="1361197" cy="1359396"/>
                    </a:xfrm>
                  </p:grpSpPr>
                  <p:sp>
                    <p:nvSpPr>
                      <p:cNvPr id="78" name="Freeform 15"/>
                      <p:cNvSpPr>
                        <a:spLocks/>
                      </p:cNvSpPr>
                      <p:nvPr/>
                    </p:nvSpPr>
                    <p:spPr bwMode="auto">
                      <a:xfrm>
                        <a:off x="1898526" y="3458319"/>
                        <a:ext cx="1361197" cy="1359396"/>
                      </a:xfrm>
                      <a:custGeom>
                        <a:avLst/>
                        <a:gdLst>
                          <a:gd name="T0" fmla="*/ 270 w 677"/>
                          <a:gd name="T1" fmla="*/ 38 h 676"/>
                          <a:gd name="T2" fmla="*/ 639 w 677"/>
                          <a:gd name="T3" fmla="*/ 270 h 676"/>
                          <a:gd name="T4" fmla="*/ 407 w 677"/>
                          <a:gd name="T5" fmla="*/ 638 h 676"/>
                          <a:gd name="T6" fmla="*/ 38 w 677"/>
                          <a:gd name="T7" fmla="*/ 407 h 676"/>
                          <a:gd name="T8" fmla="*/ 270 w 677"/>
                          <a:gd name="T9" fmla="*/ 38 h 676"/>
                        </a:gdLst>
                        <a:ahLst/>
                        <a:cxnLst>
                          <a:cxn ang="0">
                            <a:pos x="T0" y="T1"/>
                          </a:cxn>
                          <a:cxn ang="0">
                            <a:pos x="T2" y="T3"/>
                          </a:cxn>
                          <a:cxn ang="0">
                            <a:pos x="T4" y="T5"/>
                          </a:cxn>
                          <a:cxn ang="0">
                            <a:pos x="T6" y="T7"/>
                          </a:cxn>
                          <a:cxn ang="0">
                            <a:pos x="T8" y="T9"/>
                          </a:cxn>
                        </a:cxnLst>
                        <a:rect l="0" t="0" r="r" b="b"/>
                        <a:pathLst>
                          <a:path w="677" h="676">
                            <a:moveTo>
                              <a:pt x="270" y="38"/>
                            </a:moveTo>
                            <a:cubicBezTo>
                              <a:pt x="436" y="0"/>
                              <a:pt x="601" y="104"/>
                              <a:pt x="639" y="270"/>
                            </a:cubicBezTo>
                            <a:cubicBezTo>
                              <a:pt x="677" y="436"/>
                              <a:pt x="573" y="601"/>
                              <a:pt x="407" y="638"/>
                            </a:cubicBezTo>
                            <a:cubicBezTo>
                              <a:pt x="241" y="676"/>
                              <a:pt x="76" y="572"/>
                              <a:pt x="38" y="407"/>
                            </a:cubicBezTo>
                            <a:cubicBezTo>
                              <a:pt x="0" y="241"/>
                              <a:pt x="104" y="76"/>
                              <a:pt x="270" y="38"/>
                            </a:cubicBezTo>
                            <a:close/>
                          </a:path>
                        </a:pathLst>
                      </a:custGeom>
                      <a:solidFill>
                        <a:srgbClr val="60C3E6"/>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nvGrpSpPr>
                      <p:cNvPr id="79" name="Group 78"/>
                      <p:cNvGrpSpPr/>
                      <p:nvPr/>
                    </p:nvGrpSpPr>
                    <p:grpSpPr>
                      <a:xfrm>
                        <a:off x="2122038" y="3680932"/>
                        <a:ext cx="914174" cy="914172"/>
                        <a:chOff x="2095398" y="4203505"/>
                        <a:chExt cx="914174" cy="914172"/>
                      </a:xfrm>
                    </p:grpSpPr>
                    <p:sp>
                      <p:nvSpPr>
                        <p:cNvPr id="80" name="Oval 79"/>
                        <p:cNvSpPr/>
                        <p:nvPr/>
                      </p:nvSpPr>
                      <p:spPr>
                        <a:xfrm>
                          <a:off x="2095398" y="4203505"/>
                          <a:ext cx="914174" cy="914172"/>
                        </a:xfrm>
                        <a:prstGeom prst="ellipse">
                          <a:avLst/>
                        </a:prstGeom>
                        <a:solidFill>
                          <a:srgbClr val="21A3D4"/>
                        </a:solidFill>
                        <a:ln>
                          <a:noFill/>
                        </a:ln>
                        <a:effectLst>
                          <a:outerShdw blurRad="50800" sx="101000" sy="101000" algn="ctr" rotWithShape="0">
                            <a:srgbClr val="2496C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grpSp>
                      <p:nvGrpSpPr>
                        <p:cNvPr id="81" name="Group 80"/>
                        <p:cNvGrpSpPr/>
                        <p:nvPr/>
                      </p:nvGrpSpPr>
                      <p:grpSpPr>
                        <a:xfrm>
                          <a:off x="2234781" y="4342890"/>
                          <a:ext cx="635416" cy="635410"/>
                          <a:chOff x="1937040" y="4134145"/>
                          <a:chExt cx="704277" cy="704271"/>
                        </a:xfrm>
                      </p:grpSpPr>
                      <p:sp>
                        <p:nvSpPr>
                          <p:cNvPr id="82" name="Oval 81"/>
                          <p:cNvSpPr/>
                          <p:nvPr/>
                        </p:nvSpPr>
                        <p:spPr>
                          <a:xfrm>
                            <a:off x="2083594" y="4280694"/>
                            <a:ext cx="411163" cy="411163"/>
                          </a:xfrm>
                          <a:prstGeom prst="ellipse">
                            <a:avLst/>
                          </a:prstGeom>
                          <a:solidFill>
                            <a:schemeClr val="tx1">
                              <a:lumMod val="65000"/>
                              <a:lumOff val="35000"/>
                              <a:alpha val="1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83" name="Oval 82"/>
                          <p:cNvSpPr/>
                          <p:nvPr/>
                        </p:nvSpPr>
                        <p:spPr>
                          <a:xfrm>
                            <a:off x="1937040" y="4134145"/>
                            <a:ext cx="704277" cy="704271"/>
                          </a:xfrm>
                          <a:prstGeom prst="ellipse">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grpSp>
                  </p:grpSp>
                </p:grpSp>
                <p:sp>
                  <p:nvSpPr>
                    <p:cNvPr id="77" name="TextBox 76"/>
                    <p:cNvSpPr txBox="1"/>
                    <p:nvPr/>
                  </p:nvSpPr>
                  <p:spPr>
                    <a:xfrm>
                      <a:off x="3372862" y="2060984"/>
                      <a:ext cx="357548" cy="276999"/>
                    </a:xfrm>
                    <a:prstGeom prst="rect">
                      <a:avLst/>
                    </a:prstGeom>
                    <a:noFill/>
                  </p:spPr>
                  <p:txBody>
                    <a:bodyPr wrap="square" rtlCol="0">
                      <a:spAutoFit/>
                    </a:bodyPr>
                    <a:lstStyle/>
                    <a:p>
                      <a:pPr algn="ctr"/>
                      <a:r>
                        <a:rPr lang="en-US" sz="1200" dirty="0">
                          <a:solidFill>
                            <a:schemeClr val="tx1">
                              <a:lumMod val="50000"/>
                              <a:lumOff val="50000"/>
                            </a:schemeClr>
                          </a:solidFill>
                          <a:latin typeface="Arial" panose="020B0604020202020204" pitchFamily="34" charset="0"/>
                          <a:cs typeface="Arial" panose="020B0604020202020204" pitchFamily="34" charset="0"/>
                        </a:rPr>
                        <a:t>01</a:t>
                      </a:r>
                    </a:p>
                  </p:txBody>
                </p:sp>
              </p:grpSp>
            </p:grpSp>
            <p:grpSp>
              <p:nvGrpSpPr>
                <p:cNvPr id="31" name="Group 30"/>
                <p:cNvGrpSpPr/>
                <p:nvPr/>
              </p:nvGrpSpPr>
              <p:grpSpPr>
                <a:xfrm>
                  <a:off x="3190416" y="3313648"/>
                  <a:ext cx="2009561" cy="721485"/>
                  <a:chOff x="3190416" y="3313648"/>
                  <a:chExt cx="2009561" cy="721485"/>
                </a:xfrm>
              </p:grpSpPr>
              <p:sp>
                <p:nvSpPr>
                  <p:cNvPr id="54" name="Rectangle 53"/>
                  <p:cNvSpPr/>
                  <p:nvPr/>
                </p:nvSpPr>
                <p:spPr>
                  <a:xfrm>
                    <a:off x="3776689" y="3607713"/>
                    <a:ext cx="1423288" cy="169214"/>
                  </a:xfrm>
                  <a:prstGeom prst="rect">
                    <a:avLst/>
                  </a:prstGeom>
                  <a:solidFill>
                    <a:srgbClr val="DBB832"/>
                  </a:solidFill>
                  <a:ln>
                    <a:noFill/>
                  </a:ln>
                  <a:effectLst>
                    <a:innerShdw blurRad="114300">
                      <a:schemeClr val="tx1">
                        <a:lumMod val="75000"/>
                        <a:lumOff val="2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55" name="Group 54"/>
                  <p:cNvGrpSpPr/>
                  <p:nvPr/>
                </p:nvGrpSpPr>
                <p:grpSpPr>
                  <a:xfrm>
                    <a:off x="3190416" y="3313648"/>
                    <a:ext cx="722441" cy="721485"/>
                    <a:chOff x="3190416" y="3313648"/>
                    <a:chExt cx="722441" cy="721485"/>
                  </a:xfrm>
                </p:grpSpPr>
                <p:grpSp>
                  <p:nvGrpSpPr>
                    <p:cNvPr id="56" name="Group 55"/>
                    <p:cNvGrpSpPr/>
                    <p:nvPr/>
                  </p:nvGrpSpPr>
                  <p:grpSpPr>
                    <a:xfrm>
                      <a:off x="3190416" y="3313648"/>
                      <a:ext cx="722441" cy="721485"/>
                      <a:chOff x="1898526" y="3458319"/>
                      <a:chExt cx="1361197" cy="1359396"/>
                    </a:xfrm>
                  </p:grpSpPr>
                  <p:sp>
                    <p:nvSpPr>
                      <p:cNvPr id="58" name="Freeform 15"/>
                      <p:cNvSpPr>
                        <a:spLocks/>
                      </p:cNvSpPr>
                      <p:nvPr/>
                    </p:nvSpPr>
                    <p:spPr bwMode="auto">
                      <a:xfrm>
                        <a:off x="1898526" y="3458319"/>
                        <a:ext cx="1361197" cy="1359396"/>
                      </a:xfrm>
                      <a:custGeom>
                        <a:avLst/>
                        <a:gdLst>
                          <a:gd name="T0" fmla="*/ 270 w 677"/>
                          <a:gd name="T1" fmla="*/ 38 h 676"/>
                          <a:gd name="T2" fmla="*/ 639 w 677"/>
                          <a:gd name="T3" fmla="*/ 270 h 676"/>
                          <a:gd name="T4" fmla="*/ 407 w 677"/>
                          <a:gd name="T5" fmla="*/ 638 h 676"/>
                          <a:gd name="T6" fmla="*/ 38 w 677"/>
                          <a:gd name="T7" fmla="*/ 407 h 676"/>
                          <a:gd name="T8" fmla="*/ 270 w 677"/>
                          <a:gd name="T9" fmla="*/ 38 h 676"/>
                        </a:gdLst>
                        <a:ahLst/>
                        <a:cxnLst>
                          <a:cxn ang="0">
                            <a:pos x="T0" y="T1"/>
                          </a:cxn>
                          <a:cxn ang="0">
                            <a:pos x="T2" y="T3"/>
                          </a:cxn>
                          <a:cxn ang="0">
                            <a:pos x="T4" y="T5"/>
                          </a:cxn>
                          <a:cxn ang="0">
                            <a:pos x="T6" y="T7"/>
                          </a:cxn>
                          <a:cxn ang="0">
                            <a:pos x="T8" y="T9"/>
                          </a:cxn>
                        </a:cxnLst>
                        <a:rect l="0" t="0" r="r" b="b"/>
                        <a:pathLst>
                          <a:path w="677" h="676">
                            <a:moveTo>
                              <a:pt x="270" y="38"/>
                            </a:moveTo>
                            <a:cubicBezTo>
                              <a:pt x="436" y="0"/>
                              <a:pt x="601" y="104"/>
                              <a:pt x="639" y="270"/>
                            </a:cubicBezTo>
                            <a:cubicBezTo>
                              <a:pt x="677" y="436"/>
                              <a:pt x="573" y="601"/>
                              <a:pt x="407" y="638"/>
                            </a:cubicBezTo>
                            <a:cubicBezTo>
                              <a:pt x="241" y="676"/>
                              <a:pt x="76" y="572"/>
                              <a:pt x="38" y="407"/>
                            </a:cubicBezTo>
                            <a:cubicBezTo>
                              <a:pt x="0" y="241"/>
                              <a:pt x="104" y="76"/>
                              <a:pt x="270" y="38"/>
                            </a:cubicBezTo>
                            <a:close/>
                          </a:path>
                        </a:pathLst>
                      </a:custGeom>
                      <a:solidFill>
                        <a:srgbClr val="E5CA69"/>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nvGrpSpPr>
                      <p:cNvPr id="59" name="Group 58"/>
                      <p:cNvGrpSpPr/>
                      <p:nvPr/>
                    </p:nvGrpSpPr>
                    <p:grpSpPr>
                      <a:xfrm>
                        <a:off x="2122038" y="3680932"/>
                        <a:ext cx="914174" cy="914172"/>
                        <a:chOff x="2095398" y="4203505"/>
                        <a:chExt cx="914174" cy="914172"/>
                      </a:xfrm>
                    </p:grpSpPr>
                    <p:sp>
                      <p:nvSpPr>
                        <p:cNvPr id="60" name="Oval 59"/>
                        <p:cNvSpPr/>
                        <p:nvPr/>
                      </p:nvSpPr>
                      <p:spPr>
                        <a:xfrm>
                          <a:off x="2095398" y="4203505"/>
                          <a:ext cx="914174" cy="914172"/>
                        </a:xfrm>
                        <a:prstGeom prst="ellipse">
                          <a:avLst/>
                        </a:prstGeom>
                        <a:solidFill>
                          <a:srgbClr val="DBB832"/>
                        </a:solidFill>
                        <a:ln>
                          <a:noFill/>
                        </a:ln>
                        <a:effectLst>
                          <a:outerShdw blurRad="50800" sx="101000" sy="101000" algn="ctr" rotWithShape="0">
                            <a:srgbClr val="BB9A2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grpSp>
                      <p:nvGrpSpPr>
                        <p:cNvPr id="61" name="Group 60"/>
                        <p:cNvGrpSpPr/>
                        <p:nvPr/>
                      </p:nvGrpSpPr>
                      <p:grpSpPr>
                        <a:xfrm>
                          <a:off x="2234781" y="4342890"/>
                          <a:ext cx="635416" cy="635410"/>
                          <a:chOff x="1937040" y="4134145"/>
                          <a:chExt cx="704277" cy="704271"/>
                        </a:xfrm>
                      </p:grpSpPr>
                      <p:sp>
                        <p:nvSpPr>
                          <p:cNvPr id="62" name="Oval 61"/>
                          <p:cNvSpPr/>
                          <p:nvPr/>
                        </p:nvSpPr>
                        <p:spPr>
                          <a:xfrm>
                            <a:off x="2083594" y="4280694"/>
                            <a:ext cx="411163" cy="411163"/>
                          </a:xfrm>
                          <a:prstGeom prst="ellipse">
                            <a:avLst/>
                          </a:prstGeom>
                          <a:solidFill>
                            <a:schemeClr val="tx1">
                              <a:lumMod val="65000"/>
                              <a:lumOff val="35000"/>
                              <a:alpha val="1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63" name="Oval 62"/>
                          <p:cNvSpPr/>
                          <p:nvPr/>
                        </p:nvSpPr>
                        <p:spPr>
                          <a:xfrm>
                            <a:off x="1937040" y="4134145"/>
                            <a:ext cx="704277" cy="704271"/>
                          </a:xfrm>
                          <a:prstGeom prst="ellipse">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grpSp>
                  </p:grpSp>
                </p:grpSp>
                <p:sp>
                  <p:nvSpPr>
                    <p:cNvPr id="57" name="TextBox 56"/>
                    <p:cNvSpPr txBox="1"/>
                    <p:nvPr/>
                  </p:nvSpPr>
                  <p:spPr>
                    <a:xfrm>
                      <a:off x="3322276" y="3535891"/>
                      <a:ext cx="458720" cy="276999"/>
                    </a:xfrm>
                    <a:prstGeom prst="rect">
                      <a:avLst/>
                    </a:prstGeom>
                    <a:noFill/>
                  </p:spPr>
                  <p:txBody>
                    <a:bodyPr wrap="square" rtlCol="0">
                      <a:spAutoFit/>
                    </a:bodyPr>
                    <a:lstStyle/>
                    <a:p>
                      <a:pPr algn="ctr"/>
                      <a:r>
                        <a:rPr lang="en-US" sz="1200" dirty="0">
                          <a:solidFill>
                            <a:schemeClr val="tx1">
                              <a:lumMod val="50000"/>
                              <a:lumOff val="50000"/>
                            </a:schemeClr>
                          </a:solidFill>
                          <a:latin typeface="Arial" panose="020B0604020202020204" pitchFamily="34" charset="0"/>
                          <a:cs typeface="Arial" panose="020B0604020202020204" pitchFamily="34" charset="0"/>
                        </a:rPr>
                        <a:t>02</a:t>
                      </a:r>
                    </a:p>
                  </p:txBody>
                </p:sp>
              </p:grpSp>
            </p:grpSp>
            <p:grpSp>
              <p:nvGrpSpPr>
                <p:cNvPr id="33" name="Group 32"/>
                <p:cNvGrpSpPr/>
                <p:nvPr/>
              </p:nvGrpSpPr>
              <p:grpSpPr>
                <a:xfrm>
                  <a:off x="3190416" y="3897295"/>
                  <a:ext cx="1894718" cy="1722487"/>
                  <a:chOff x="3190416" y="3897295"/>
                  <a:chExt cx="1894718" cy="1722487"/>
                </a:xfrm>
              </p:grpSpPr>
              <p:sp>
                <p:nvSpPr>
                  <p:cNvPr id="34" name="Freeform 33"/>
                  <p:cNvSpPr/>
                  <p:nvPr/>
                </p:nvSpPr>
                <p:spPr>
                  <a:xfrm rot="7332547" flipV="1">
                    <a:off x="3699528" y="4234177"/>
                    <a:ext cx="1722487" cy="1048724"/>
                  </a:xfrm>
                  <a:custGeom>
                    <a:avLst/>
                    <a:gdLst>
                      <a:gd name="connsiteX0" fmla="*/ 1105924 w 1689906"/>
                      <a:gd name="connsiteY0" fmla="*/ 1028887 h 1028887"/>
                      <a:gd name="connsiteX1" fmla="*/ 0 w 1689906"/>
                      <a:gd name="connsiteY1" fmla="*/ 1028887 h 1028887"/>
                      <a:gd name="connsiteX2" fmla="*/ 0 w 1689906"/>
                      <a:gd name="connsiteY2" fmla="*/ 838387 h 1028887"/>
                      <a:gd name="connsiteX3" fmla="*/ 1000575 w 1689906"/>
                      <a:gd name="connsiteY3" fmla="*/ 838387 h 1028887"/>
                      <a:gd name="connsiteX4" fmla="*/ 1528722 w 1689906"/>
                      <a:gd name="connsiteY4" fmla="*/ 0 h 1028887"/>
                      <a:gd name="connsiteX5" fmla="*/ 1689906 w 1689906"/>
                      <a:gd name="connsiteY5" fmla="*/ 101538 h 1028887"/>
                      <a:gd name="connsiteX6" fmla="*/ 1106059 w 1689906"/>
                      <a:gd name="connsiteY6" fmla="*/ 1028344 h 1028887"/>
                      <a:gd name="connsiteX7" fmla="*/ 1105924 w 1689906"/>
                      <a:gd name="connsiteY7" fmla="*/ 1028259 h 102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9906" h="1028887">
                        <a:moveTo>
                          <a:pt x="1105924" y="1028887"/>
                        </a:moveTo>
                        <a:lnTo>
                          <a:pt x="0" y="1028887"/>
                        </a:lnTo>
                        <a:lnTo>
                          <a:pt x="0" y="838387"/>
                        </a:lnTo>
                        <a:lnTo>
                          <a:pt x="1000575" y="838387"/>
                        </a:lnTo>
                        <a:lnTo>
                          <a:pt x="1528722" y="0"/>
                        </a:lnTo>
                        <a:lnTo>
                          <a:pt x="1689906" y="101538"/>
                        </a:lnTo>
                        <a:lnTo>
                          <a:pt x="1106059" y="1028344"/>
                        </a:lnTo>
                        <a:lnTo>
                          <a:pt x="1105924" y="1028259"/>
                        </a:lnTo>
                        <a:close/>
                      </a:path>
                    </a:pathLst>
                  </a:custGeom>
                  <a:solidFill>
                    <a:srgbClr val="FF0000"/>
                  </a:solidFill>
                  <a:ln>
                    <a:noFill/>
                  </a:ln>
                  <a:effectLst>
                    <a:innerShdw blurRad="114300">
                      <a:schemeClr val="tx1">
                        <a:lumMod val="75000"/>
                        <a:lumOff val="2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35" name="Group 34"/>
                  <p:cNvGrpSpPr/>
                  <p:nvPr/>
                </p:nvGrpSpPr>
                <p:grpSpPr>
                  <a:xfrm>
                    <a:off x="3190416" y="4788553"/>
                    <a:ext cx="722441" cy="721485"/>
                    <a:chOff x="3190416" y="4788553"/>
                    <a:chExt cx="722441" cy="721485"/>
                  </a:xfrm>
                </p:grpSpPr>
                <p:grpSp>
                  <p:nvGrpSpPr>
                    <p:cNvPr id="36" name="Group 35"/>
                    <p:cNvGrpSpPr/>
                    <p:nvPr/>
                  </p:nvGrpSpPr>
                  <p:grpSpPr>
                    <a:xfrm>
                      <a:off x="3190416" y="4788553"/>
                      <a:ext cx="722441" cy="721485"/>
                      <a:chOff x="3190416" y="4788553"/>
                      <a:chExt cx="722441" cy="721485"/>
                    </a:xfrm>
                  </p:grpSpPr>
                  <p:sp>
                    <p:nvSpPr>
                      <p:cNvPr id="38" name="Freeform 15"/>
                      <p:cNvSpPr>
                        <a:spLocks/>
                      </p:cNvSpPr>
                      <p:nvPr/>
                    </p:nvSpPr>
                    <p:spPr bwMode="auto">
                      <a:xfrm>
                        <a:off x="3190416" y="4788553"/>
                        <a:ext cx="722441" cy="721485"/>
                      </a:xfrm>
                      <a:custGeom>
                        <a:avLst/>
                        <a:gdLst>
                          <a:gd name="T0" fmla="*/ 270 w 677"/>
                          <a:gd name="T1" fmla="*/ 38 h 676"/>
                          <a:gd name="T2" fmla="*/ 639 w 677"/>
                          <a:gd name="T3" fmla="*/ 270 h 676"/>
                          <a:gd name="T4" fmla="*/ 407 w 677"/>
                          <a:gd name="T5" fmla="*/ 638 h 676"/>
                          <a:gd name="T6" fmla="*/ 38 w 677"/>
                          <a:gd name="T7" fmla="*/ 407 h 676"/>
                          <a:gd name="T8" fmla="*/ 270 w 677"/>
                          <a:gd name="T9" fmla="*/ 38 h 676"/>
                        </a:gdLst>
                        <a:ahLst/>
                        <a:cxnLst>
                          <a:cxn ang="0">
                            <a:pos x="T0" y="T1"/>
                          </a:cxn>
                          <a:cxn ang="0">
                            <a:pos x="T2" y="T3"/>
                          </a:cxn>
                          <a:cxn ang="0">
                            <a:pos x="T4" y="T5"/>
                          </a:cxn>
                          <a:cxn ang="0">
                            <a:pos x="T6" y="T7"/>
                          </a:cxn>
                          <a:cxn ang="0">
                            <a:pos x="T8" y="T9"/>
                          </a:cxn>
                        </a:cxnLst>
                        <a:rect l="0" t="0" r="r" b="b"/>
                        <a:pathLst>
                          <a:path w="677" h="676">
                            <a:moveTo>
                              <a:pt x="270" y="38"/>
                            </a:moveTo>
                            <a:cubicBezTo>
                              <a:pt x="436" y="0"/>
                              <a:pt x="601" y="104"/>
                              <a:pt x="639" y="270"/>
                            </a:cubicBezTo>
                            <a:cubicBezTo>
                              <a:pt x="677" y="436"/>
                              <a:pt x="573" y="601"/>
                              <a:pt x="407" y="638"/>
                            </a:cubicBezTo>
                            <a:cubicBezTo>
                              <a:pt x="241" y="676"/>
                              <a:pt x="76" y="572"/>
                              <a:pt x="38" y="407"/>
                            </a:cubicBezTo>
                            <a:cubicBezTo>
                              <a:pt x="0" y="241"/>
                              <a:pt x="104" y="76"/>
                              <a:pt x="270" y="38"/>
                            </a:cubicBezTo>
                            <a:close/>
                          </a:path>
                        </a:pathLst>
                      </a:custGeom>
                      <a:solidFill>
                        <a:schemeClr val="accent5">
                          <a:lumMod val="60000"/>
                          <a:lumOff val="4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nvGrpSpPr>
                      <p:cNvPr id="39" name="Group 38"/>
                      <p:cNvGrpSpPr/>
                      <p:nvPr/>
                    </p:nvGrpSpPr>
                    <p:grpSpPr>
                      <a:xfrm>
                        <a:off x="3309043" y="4906702"/>
                        <a:ext cx="485188" cy="485187"/>
                        <a:chOff x="2095398" y="4203505"/>
                        <a:chExt cx="914174" cy="914172"/>
                      </a:xfrm>
                    </p:grpSpPr>
                    <p:sp>
                      <p:nvSpPr>
                        <p:cNvPr id="40" name="Oval 39"/>
                        <p:cNvSpPr/>
                        <p:nvPr/>
                      </p:nvSpPr>
                      <p:spPr>
                        <a:xfrm>
                          <a:off x="2095398" y="4203505"/>
                          <a:ext cx="914174" cy="914172"/>
                        </a:xfrm>
                        <a:prstGeom prst="ellipse">
                          <a:avLst/>
                        </a:prstGeom>
                        <a:solidFill>
                          <a:schemeClr val="accent5">
                            <a:lumMod val="75000"/>
                          </a:schemeClr>
                        </a:solidFill>
                        <a:ln>
                          <a:noFill/>
                        </a:ln>
                        <a:effectLst>
                          <a:outerShdw blurRad="63500" sx="102000" sy="102000" algn="ctr" rotWithShape="0">
                            <a:srgbClr val="55627D"/>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grpSp>
                      <p:nvGrpSpPr>
                        <p:cNvPr id="41" name="Group 40"/>
                        <p:cNvGrpSpPr/>
                        <p:nvPr/>
                      </p:nvGrpSpPr>
                      <p:grpSpPr>
                        <a:xfrm>
                          <a:off x="2234781" y="4342890"/>
                          <a:ext cx="635416" cy="635410"/>
                          <a:chOff x="1937040" y="4134145"/>
                          <a:chExt cx="704277" cy="704271"/>
                        </a:xfrm>
                      </p:grpSpPr>
                      <p:sp>
                        <p:nvSpPr>
                          <p:cNvPr id="42" name="Oval 41"/>
                          <p:cNvSpPr/>
                          <p:nvPr/>
                        </p:nvSpPr>
                        <p:spPr>
                          <a:xfrm>
                            <a:off x="2083594" y="4280694"/>
                            <a:ext cx="411163" cy="411163"/>
                          </a:xfrm>
                          <a:prstGeom prst="ellipse">
                            <a:avLst/>
                          </a:prstGeom>
                          <a:solidFill>
                            <a:schemeClr val="tx1">
                              <a:lumMod val="65000"/>
                              <a:lumOff val="35000"/>
                              <a:alpha val="1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43" name="Oval 42"/>
                          <p:cNvSpPr/>
                          <p:nvPr/>
                        </p:nvSpPr>
                        <p:spPr>
                          <a:xfrm>
                            <a:off x="1937040" y="4134145"/>
                            <a:ext cx="704277" cy="704271"/>
                          </a:xfrm>
                          <a:prstGeom prst="ellipse">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grpSp>
                  </p:grpSp>
                </p:grpSp>
                <p:sp>
                  <p:nvSpPr>
                    <p:cNvPr id="37" name="TextBox 36"/>
                    <p:cNvSpPr txBox="1"/>
                    <p:nvPr/>
                  </p:nvSpPr>
                  <p:spPr>
                    <a:xfrm>
                      <a:off x="3322276" y="5010796"/>
                      <a:ext cx="458720" cy="276999"/>
                    </a:xfrm>
                    <a:prstGeom prst="rect">
                      <a:avLst/>
                    </a:prstGeom>
                    <a:noFill/>
                  </p:spPr>
                  <p:txBody>
                    <a:bodyPr wrap="square" rtlCol="0">
                      <a:spAutoFit/>
                    </a:bodyPr>
                    <a:lstStyle/>
                    <a:p>
                      <a:pPr algn="ctr"/>
                      <a:r>
                        <a:rPr lang="en-US" sz="1200" dirty="0">
                          <a:solidFill>
                            <a:schemeClr val="tx1">
                              <a:lumMod val="50000"/>
                              <a:lumOff val="50000"/>
                            </a:schemeClr>
                          </a:solidFill>
                          <a:latin typeface="Arial" panose="020B0604020202020204" pitchFamily="34" charset="0"/>
                          <a:cs typeface="Arial" panose="020B0604020202020204" pitchFamily="34" charset="0"/>
                        </a:rPr>
                        <a:t>03</a:t>
                      </a:r>
                    </a:p>
                  </p:txBody>
                </p:sp>
              </p:grpSp>
            </p:grpSp>
          </p:grpSp>
          <p:grpSp>
            <p:nvGrpSpPr>
              <p:cNvPr id="15" name="Group 14"/>
              <p:cNvGrpSpPr/>
              <p:nvPr/>
            </p:nvGrpSpPr>
            <p:grpSpPr>
              <a:xfrm>
                <a:off x="4923868" y="2902640"/>
                <a:ext cx="3130299" cy="1554403"/>
                <a:chOff x="4632343" y="2743200"/>
                <a:chExt cx="3751804" cy="1863022"/>
              </a:xfrm>
            </p:grpSpPr>
            <p:grpSp>
              <p:nvGrpSpPr>
                <p:cNvPr id="16" name="Group 15"/>
                <p:cNvGrpSpPr/>
                <p:nvPr/>
              </p:nvGrpSpPr>
              <p:grpSpPr>
                <a:xfrm>
                  <a:off x="5259181" y="3133699"/>
                  <a:ext cx="3124966" cy="1082025"/>
                  <a:chOff x="5259181" y="3151528"/>
                  <a:chExt cx="3124966" cy="1082025"/>
                </a:xfrm>
              </p:grpSpPr>
              <p:sp>
                <p:nvSpPr>
                  <p:cNvPr id="27" name="Pentagon 26"/>
                  <p:cNvSpPr/>
                  <p:nvPr/>
                </p:nvSpPr>
                <p:spPr>
                  <a:xfrm>
                    <a:off x="5259181" y="3151528"/>
                    <a:ext cx="2862450" cy="1082025"/>
                  </a:xfrm>
                  <a:prstGeom prst="homePlate">
                    <a:avLst>
                      <a:gd name="adj" fmla="val 37156"/>
                    </a:avLst>
                  </a:prstGeom>
                  <a:gradFill>
                    <a:gsLst>
                      <a:gs pos="0">
                        <a:schemeClr val="bg1">
                          <a:lumMod val="95000"/>
                        </a:schemeClr>
                      </a:gs>
                      <a:gs pos="100000">
                        <a:schemeClr val="bg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anose="020B0604020202020204" pitchFamily="34" charset="0"/>
                      <a:cs typeface="Arial" panose="020B0604020202020204" pitchFamily="34" charset="0"/>
                    </a:endParaRPr>
                  </a:p>
                </p:txBody>
              </p:sp>
              <p:sp>
                <p:nvSpPr>
                  <p:cNvPr id="28" name="Chevron 27"/>
                  <p:cNvSpPr/>
                  <p:nvPr/>
                </p:nvSpPr>
                <p:spPr>
                  <a:xfrm>
                    <a:off x="7773049" y="3151740"/>
                    <a:ext cx="611098" cy="1081600"/>
                  </a:xfrm>
                  <a:prstGeom prst="chevron">
                    <a:avLst>
                      <a:gd name="adj" fmla="val 64106"/>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rial" panose="020B0604020202020204" pitchFamily="34" charset="0"/>
                      <a:cs typeface="Arial" panose="020B0604020202020204" pitchFamily="34" charset="0"/>
                    </a:endParaRPr>
                  </a:p>
                </p:txBody>
              </p:sp>
            </p:grpSp>
            <p:grpSp>
              <p:nvGrpSpPr>
                <p:cNvPr id="17" name="Group 16"/>
                <p:cNvGrpSpPr/>
                <p:nvPr/>
              </p:nvGrpSpPr>
              <p:grpSpPr>
                <a:xfrm>
                  <a:off x="4632343" y="2743200"/>
                  <a:ext cx="1863028" cy="1863022"/>
                  <a:chOff x="3325050" y="2362197"/>
                  <a:chExt cx="2519452" cy="2519450"/>
                </a:xfrm>
              </p:grpSpPr>
              <p:sp>
                <p:nvSpPr>
                  <p:cNvPr id="18" name="Donut 17"/>
                  <p:cNvSpPr/>
                  <p:nvPr/>
                </p:nvSpPr>
                <p:spPr>
                  <a:xfrm>
                    <a:off x="3325050" y="2362197"/>
                    <a:ext cx="2519452" cy="2519450"/>
                  </a:xfrm>
                  <a:prstGeom prst="donut">
                    <a:avLst>
                      <a:gd name="adj" fmla="val 13467"/>
                    </a:avLst>
                  </a:prstGeom>
                  <a:gradFill>
                    <a:gsLst>
                      <a:gs pos="0">
                        <a:schemeClr val="bg1">
                          <a:lumMod val="85000"/>
                        </a:schemeClr>
                      </a:gs>
                      <a:gs pos="100000">
                        <a:schemeClr val="bg1">
                          <a:lumMod val="6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grpSp>
                <p:nvGrpSpPr>
                  <p:cNvPr id="19" name="Group 18"/>
                  <p:cNvGrpSpPr/>
                  <p:nvPr/>
                </p:nvGrpSpPr>
                <p:grpSpPr>
                  <a:xfrm>
                    <a:off x="3646520" y="2683669"/>
                    <a:ext cx="1876512" cy="1876507"/>
                    <a:chOff x="3827108" y="2893116"/>
                    <a:chExt cx="1489784" cy="1489784"/>
                  </a:xfrm>
                </p:grpSpPr>
                <p:grpSp>
                  <p:nvGrpSpPr>
                    <p:cNvPr id="20" name="Group 19"/>
                    <p:cNvGrpSpPr/>
                    <p:nvPr/>
                  </p:nvGrpSpPr>
                  <p:grpSpPr>
                    <a:xfrm>
                      <a:off x="3827108" y="2893116"/>
                      <a:ext cx="1489784" cy="1489784"/>
                      <a:chOff x="3669441" y="626322"/>
                      <a:chExt cx="1828584" cy="1828585"/>
                    </a:xfrm>
                  </p:grpSpPr>
                  <p:sp>
                    <p:nvSpPr>
                      <p:cNvPr id="25" name="Oval 24"/>
                      <p:cNvSpPr/>
                      <p:nvPr/>
                    </p:nvSpPr>
                    <p:spPr>
                      <a:xfrm>
                        <a:off x="3669441" y="626322"/>
                        <a:ext cx="1828584" cy="1828585"/>
                      </a:xfrm>
                      <a:prstGeom prst="ellipse">
                        <a:avLst/>
                      </a:prstGeom>
                      <a:gradFill flip="none" rotWithShape="1">
                        <a:gsLst>
                          <a:gs pos="0">
                            <a:schemeClr val="bg1">
                              <a:lumMod val="85000"/>
                            </a:schemeClr>
                          </a:gs>
                          <a:gs pos="100000">
                            <a:schemeClr val="bg1">
                              <a:lumMod val="95000"/>
                            </a:schemeClr>
                          </a:gs>
                        </a:gsLst>
                        <a:lin ang="5400000" scaled="1"/>
                        <a:tileRect/>
                      </a:grad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prstClr val="white"/>
                          </a:solidFill>
                          <a:latin typeface="Arial" panose="020B0604020202020204" pitchFamily="34" charset="0"/>
                          <a:cs typeface="Arial" panose="020B0604020202020204" pitchFamily="34" charset="0"/>
                        </a:endParaRPr>
                      </a:p>
                    </p:txBody>
                  </p:sp>
                  <p:sp>
                    <p:nvSpPr>
                      <p:cNvPr id="26" name="Oval 25"/>
                      <p:cNvSpPr/>
                      <p:nvPr/>
                    </p:nvSpPr>
                    <p:spPr>
                      <a:xfrm>
                        <a:off x="3805119" y="762000"/>
                        <a:ext cx="1557230" cy="1557228"/>
                      </a:xfrm>
                      <a:prstGeom prst="ellipse">
                        <a:avLst/>
                      </a:prstGeom>
                      <a:gradFill flip="none" rotWithShape="1">
                        <a:gsLst>
                          <a:gs pos="0">
                            <a:schemeClr val="bg1"/>
                          </a:gs>
                          <a:gs pos="100000">
                            <a:schemeClr val="bg1">
                              <a:lumMod val="85000"/>
                            </a:schemeClr>
                          </a:gs>
                        </a:gsLst>
                        <a:lin ang="5400000" scaled="1"/>
                        <a:tileRect/>
                      </a:grad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prstClr val="white"/>
                          </a:solidFill>
                          <a:latin typeface="Arial" panose="020B0604020202020204" pitchFamily="34" charset="0"/>
                          <a:cs typeface="Arial" panose="020B0604020202020204" pitchFamily="34" charset="0"/>
                        </a:endParaRPr>
                      </a:p>
                    </p:txBody>
                  </p:sp>
                </p:grpSp>
                <p:grpSp>
                  <p:nvGrpSpPr>
                    <p:cNvPr id="21" name="Group 20"/>
                    <p:cNvGrpSpPr/>
                    <p:nvPr/>
                  </p:nvGrpSpPr>
                  <p:grpSpPr>
                    <a:xfrm>
                      <a:off x="4155082" y="3416759"/>
                      <a:ext cx="833836" cy="442498"/>
                      <a:chOff x="977493" y="2928553"/>
                      <a:chExt cx="6154689" cy="3266187"/>
                    </a:xfrm>
                    <a:solidFill>
                      <a:schemeClr val="tx1">
                        <a:lumMod val="50000"/>
                        <a:lumOff val="50000"/>
                      </a:schemeClr>
                    </a:solidFill>
                  </p:grpSpPr>
                  <p:sp>
                    <p:nvSpPr>
                      <p:cNvPr id="22" name="Freeform 21"/>
                      <p:cNvSpPr/>
                      <p:nvPr/>
                    </p:nvSpPr>
                    <p:spPr>
                      <a:xfrm>
                        <a:off x="2742340" y="3299904"/>
                        <a:ext cx="2630875" cy="2894836"/>
                      </a:xfrm>
                      <a:custGeom>
                        <a:avLst/>
                        <a:gdLst>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1668636 w 2630875"/>
                          <a:gd name="connsiteY7" fmla="*/ 1386916 h 2894836"/>
                          <a:gd name="connsiteX8" fmla="*/ 1389479 w 2630875"/>
                          <a:gd name="connsiteY8" fmla="*/ 1562971 h 2894836"/>
                          <a:gd name="connsiteX9" fmla="*/ 1442629 w 2630875"/>
                          <a:gd name="connsiteY9" fmla="*/ 1740748 h 2894836"/>
                          <a:gd name="connsiteX10" fmla="*/ 1376299 w 2630875"/>
                          <a:gd name="connsiteY10" fmla="*/ 1841672 h 2894836"/>
                          <a:gd name="connsiteX11" fmla="*/ 1451180 w 2630875"/>
                          <a:gd name="connsiteY11" fmla="*/ 2080547 h 2894836"/>
                          <a:gd name="connsiteX12" fmla="*/ 1450502 w 2630875"/>
                          <a:gd name="connsiteY12" fmla="*/ 2118317 h 2894836"/>
                          <a:gd name="connsiteX13" fmla="*/ 1283538 w 2630875"/>
                          <a:gd name="connsiteY13" fmla="*/ 25 h 2894836"/>
                          <a:gd name="connsiteX14" fmla="*/ 1331158 w 2630875"/>
                          <a:gd name="connsiteY14" fmla="*/ 25 h 2894836"/>
                          <a:gd name="connsiteX15" fmla="*/ 1592806 w 2630875"/>
                          <a:gd name="connsiteY15" fmla="*/ 54192 h 2894836"/>
                          <a:gd name="connsiteX16" fmla="*/ 1795962 w 2630875"/>
                          <a:gd name="connsiteY16" fmla="*/ 644311 h 2894836"/>
                          <a:gd name="connsiteX17" fmla="*/ 1732046 w 2630875"/>
                          <a:gd name="connsiteY17" fmla="*/ 920311 h 2894836"/>
                          <a:gd name="connsiteX18" fmla="*/ 1616637 w 2630875"/>
                          <a:gd name="connsiteY18" fmla="*/ 1137957 h 2894836"/>
                          <a:gd name="connsiteX19" fmla="*/ 1730892 w 2630875"/>
                          <a:gd name="connsiteY19" fmla="*/ 1304039 h 2894836"/>
                          <a:gd name="connsiteX20" fmla="*/ 1741961 w 2630875"/>
                          <a:gd name="connsiteY20" fmla="*/ 1311359 h 2894836"/>
                          <a:gd name="connsiteX21" fmla="*/ 1742708 w 2630875"/>
                          <a:gd name="connsiteY21" fmla="*/ 1311364 h 2894836"/>
                          <a:gd name="connsiteX22" fmla="*/ 1810497 w 2630875"/>
                          <a:gd name="connsiteY22" fmla="*/ 1337061 h 2894836"/>
                          <a:gd name="connsiteX23" fmla="*/ 1979925 w 2630875"/>
                          <a:gd name="connsiteY23" fmla="*/ 1379925 h 2894836"/>
                          <a:gd name="connsiteX24" fmla="*/ 2609014 w 2630875"/>
                          <a:gd name="connsiteY24" fmla="*/ 1974584 h 2894836"/>
                          <a:gd name="connsiteX25" fmla="*/ 2609014 w 2630875"/>
                          <a:gd name="connsiteY25" fmla="*/ 2775365 h 2894836"/>
                          <a:gd name="connsiteX26" fmla="*/ 21862 w 2630875"/>
                          <a:gd name="connsiteY26" fmla="*/ 2775365 h 2894836"/>
                          <a:gd name="connsiteX27" fmla="*/ 21862 w 2630875"/>
                          <a:gd name="connsiteY27" fmla="*/ 1974584 h 2894836"/>
                          <a:gd name="connsiteX28" fmla="*/ 650950 w 2630875"/>
                          <a:gd name="connsiteY28" fmla="*/ 1379925 h 2894836"/>
                          <a:gd name="connsiteX29" fmla="*/ 827556 w 2630875"/>
                          <a:gd name="connsiteY29" fmla="*/ 1341238 h 2894836"/>
                          <a:gd name="connsiteX30" fmla="*/ 846277 w 2630875"/>
                          <a:gd name="connsiteY30" fmla="*/ 1329161 h 2894836"/>
                          <a:gd name="connsiteX31" fmla="*/ 845839 w 2630875"/>
                          <a:gd name="connsiteY31" fmla="*/ 1329146 h 2894836"/>
                          <a:gd name="connsiteX32" fmla="*/ 883804 w 2630875"/>
                          <a:gd name="connsiteY32" fmla="*/ 1304039 h 2894836"/>
                          <a:gd name="connsiteX33" fmla="*/ 998059 w 2630875"/>
                          <a:gd name="connsiteY33" fmla="*/ 1137957 h 2894836"/>
                          <a:gd name="connsiteX34" fmla="*/ 882650 w 2630875"/>
                          <a:gd name="connsiteY34" fmla="*/ 920311 h 2894836"/>
                          <a:gd name="connsiteX35" fmla="*/ 818734 w 2630875"/>
                          <a:gd name="connsiteY35" fmla="*/ 644311 h 2894836"/>
                          <a:gd name="connsiteX36" fmla="*/ 1021890 w 2630875"/>
                          <a:gd name="connsiteY36" fmla="*/ 54192 h 2894836"/>
                          <a:gd name="connsiteX37" fmla="*/ 1283538 w 2630875"/>
                          <a:gd name="connsiteY37"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741961 w 2630875"/>
                          <a:gd name="connsiteY22" fmla="*/ 1311359 h 2894836"/>
                          <a:gd name="connsiteX23" fmla="*/ 1742708 w 2630875"/>
                          <a:gd name="connsiteY23" fmla="*/ 1311364 h 2894836"/>
                          <a:gd name="connsiteX24" fmla="*/ 1810497 w 2630875"/>
                          <a:gd name="connsiteY24" fmla="*/ 1337061 h 2894836"/>
                          <a:gd name="connsiteX25" fmla="*/ 1979925 w 2630875"/>
                          <a:gd name="connsiteY25" fmla="*/ 1379925 h 2894836"/>
                          <a:gd name="connsiteX26" fmla="*/ 2609014 w 2630875"/>
                          <a:gd name="connsiteY26" fmla="*/ 1974584 h 2894836"/>
                          <a:gd name="connsiteX27" fmla="*/ 2609014 w 2630875"/>
                          <a:gd name="connsiteY27" fmla="*/ 2775365 h 2894836"/>
                          <a:gd name="connsiteX28" fmla="*/ 21862 w 2630875"/>
                          <a:gd name="connsiteY28" fmla="*/ 2775365 h 2894836"/>
                          <a:gd name="connsiteX29" fmla="*/ 21862 w 2630875"/>
                          <a:gd name="connsiteY29" fmla="*/ 1974584 h 2894836"/>
                          <a:gd name="connsiteX30" fmla="*/ 650950 w 2630875"/>
                          <a:gd name="connsiteY30" fmla="*/ 1379925 h 2894836"/>
                          <a:gd name="connsiteX31" fmla="*/ 827556 w 2630875"/>
                          <a:gd name="connsiteY31" fmla="*/ 1341238 h 2894836"/>
                          <a:gd name="connsiteX32" fmla="*/ 846277 w 2630875"/>
                          <a:gd name="connsiteY32" fmla="*/ 1329161 h 2894836"/>
                          <a:gd name="connsiteX33" fmla="*/ 883804 w 2630875"/>
                          <a:gd name="connsiteY33" fmla="*/ 1304039 h 2894836"/>
                          <a:gd name="connsiteX34" fmla="*/ 998059 w 2630875"/>
                          <a:gd name="connsiteY34" fmla="*/ 1137957 h 2894836"/>
                          <a:gd name="connsiteX35" fmla="*/ 882650 w 2630875"/>
                          <a:gd name="connsiteY35" fmla="*/ 920311 h 2894836"/>
                          <a:gd name="connsiteX36" fmla="*/ 818734 w 2630875"/>
                          <a:gd name="connsiteY36" fmla="*/ 644311 h 2894836"/>
                          <a:gd name="connsiteX37" fmla="*/ 1021890 w 2630875"/>
                          <a:gd name="connsiteY37" fmla="*/ 54192 h 2894836"/>
                          <a:gd name="connsiteX38" fmla="*/ 1283538 w 2630875"/>
                          <a:gd name="connsiteY38"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741961 w 2630875"/>
                          <a:gd name="connsiteY22" fmla="*/ 1311359 h 2894836"/>
                          <a:gd name="connsiteX23" fmla="*/ 1742708 w 2630875"/>
                          <a:gd name="connsiteY23" fmla="*/ 1311364 h 2894836"/>
                          <a:gd name="connsiteX24" fmla="*/ 1810497 w 2630875"/>
                          <a:gd name="connsiteY24" fmla="*/ 1337061 h 2894836"/>
                          <a:gd name="connsiteX25" fmla="*/ 1979925 w 2630875"/>
                          <a:gd name="connsiteY25" fmla="*/ 1379925 h 2894836"/>
                          <a:gd name="connsiteX26" fmla="*/ 2609014 w 2630875"/>
                          <a:gd name="connsiteY26" fmla="*/ 1974584 h 2894836"/>
                          <a:gd name="connsiteX27" fmla="*/ 2609014 w 2630875"/>
                          <a:gd name="connsiteY27" fmla="*/ 2775365 h 2894836"/>
                          <a:gd name="connsiteX28" fmla="*/ 21862 w 2630875"/>
                          <a:gd name="connsiteY28" fmla="*/ 2775365 h 2894836"/>
                          <a:gd name="connsiteX29" fmla="*/ 21862 w 2630875"/>
                          <a:gd name="connsiteY29" fmla="*/ 1974584 h 2894836"/>
                          <a:gd name="connsiteX30" fmla="*/ 650950 w 2630875"/>
                          <a:gd name="connsiteY30" fmla="*/ 1379925 h 2894836"/>
                          <a:gd name="connsiteX31" fmla="*/ 827556 w 2630875"/>
                          <a:gd name="connsiteY31" fmla="*/ 1341238 h 2894836"/>
                          <a:gd name="connsiteX32" fmla="*/ 883804 w 2630875"/>
                          <a:gd name="connsiteY32" fmla="*/ 1304039 h 2894836"/>
                          <a:gd name="connsiteX33" fmla="*/ 998059 w 2630875"/>
                          <a:gd name="connsiteY33" fmla="*/ 1137957 h 2894836"/>
                          <a:gd name="connsiteX34" fmla="*/ 882650 w 2630875"/>
                          <a:gd name="connsiteY34" fmla="*/ 920311 h 2894836"/>
                          <a:gd name="connsiteX35" fmla="*/ 818734 w 2630875"/>
                          <a:gd name="connsiteY35" fmla="*/ 644311 h 2894836"/>
                          <a:gd name="connsiteX36" fmla="*/ 1021890 w 2630875"/>
                          <a:gd name="connsiteY36" fmla="*/ 54192 h 2894836"/>
                          <a:gd name="connsiteX37" fmla="*/ 1283538 w 2630875"/>
                          <a:gd name="connsiteY37"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741961 w 2630875"/>
                          <a:gd name="connsiteY22" fmla="*/ 1311359 h 2894836"/>
                          <a:gd name="connsiteX23" fmla="*/ 1810497 w 2630875"/>
                          <a:gd name="connsiteY23" fmla="*/ 1337061 h 2894836"/>
                          <a:gd name="connsiteX24" fmla="*/ 1979925 w 2630875"/>
                          <a:gd name="connsiteY24" fmla="*/ 1379925 h 2894836"/>
                          <a:gd name="connsiteX25" fmla="*/ 2609014 w 2630875"/>
                          <a:gd name="connsiteY25" fmla="*/ 1974584 h 2894836"/>
                          <a:gd name="connsiteX26" fmla="*/ 2609014 w 2630875"/>
                          <a:gd name="connsiteY26" fmla="*/ 2775365 h 2894836"/>
                          <a:gd name="connsiteX27" fmla="*/ 21862 w 2630875"/>
                          <a:gd name="connsiteY27" fmla="*/ 2775365 h 2894836"/>
                          <a:gd name="connsiteX28" fmla="*/ 21862 w 2630875"/>
                          <a:gd name="connsiteY28" fmla="*/ 1974584 h 2894836"/>
                          <a:gd name="connsiteX29" fmla="*/ 650950 w 2630875"/>
                          <a:gd name="connsiteY29" fmla="*/ 1379925 h 2894836"/>
                          <a:gd name="connsiteX30" fmla="*/ 827556 w 2630875"/>
                          <a:gd name="connsiteY30" fmla="*/ 1341238 h 2894836"/>
                          <a:gd name="connsiteX31" fmla="*/ 883804 w 2630875"/>
                          <a:gd name="connsiteY31" fmla="*/ 1304039 h 2894836"/>
                          <a:gd name="connsiteX32" fmla="*/ 998059 w 2630875"/>
                          <a:gd name="connsiteY32" fmla="*/ 1137957 h 2894836"/>
                          <a:gd name="connsiteX33" fmla="*/ 882650 w 2630875"/>
                          <a:gd name="connsiteY33" fmla="*/ 920311 h 2894836"/>
                          <a:gd name="connsiteX34" fmla="*/ 818734 w 2630875"/>
                          <a:gd name="connsiteY34" fmla="*/ 644311 h 2894836"/>
                          <a:gd name="connsiteX35" fmla="*/ 1021890 w 2630875"/>
                          <a:gd name="connsiteY35" fmla="*/ 54192 h 2894836"/>
                          <a:gd name="connsiteX36" fmla="*/ 1283538 w 2630875"/>
                          <a:gd name="connsiteY36"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810497 w 2630875"/>
                          <a:gd name="connsiteY22" fmla="*/ 1337061 h 2894836"/>
                          <a:gd name="connsiteX23" fmla="*/ 1979925 w 2630875"/>
                          <a:gd name="connsiteY23" fmla="*/ 1379925 h 2894836"/>
                          <a:gd name="connsiteX24" fmla="*/ 2609014 w 2630875"/>
                          <a:gd name="connsiteY24" fmla="*/ 1974584 h 2894836"/>
                          <a:gd name="connsiteX25" fmla="*/ 2609014 w 2630875"/>
                          <a:gd name="connsiteY25" fmla="*/ 2775365 h 2894836"/>
                          <a:gd name="connsiteX26" fmla="*/ 21862 w 2630875"/>
                          <a:gd name="connsiteY26" fmla="*/ 2775365 h 2894836"/>
                          <a:gd name="connsiteX27" fmla="*/ 21862 w 2630875"/>
                          <a:gd name="connsiteY27" fmla="*/ 1974584 h 2894836"/>
                          <a:gd name="connsiteX28" fmla="*/ 650950 w 2630875"/>
                          <a:gd name="connsiteY28" fmla="*/ 1379925 h 2894836"/>
                          <a:gd name="connsiteX29" fmla="*/ 827556 w 2630875"/>
                          <a:gd name="connsiteY29" fmla="*/ 1341238 h 2894836"/>
                          <a:gd name="connsiteX30" fmla="*/ 883804 w 2630875"/>
                          <a:gd name="connsiteY30" fmla="*/ 1304039 h 2894836"/>
                          <a:gd name="connsiteX31" fmla="*/ 998059 w 2630875"/>
                          <a:gd name="connsiteY31" fmla="*/ 1137957 h 2894836"/>
                          <a:gd name="connsiteX32" fmla="*/ 882650 w 2630875"/>
                          <a:gd name="connsiteY32" fmla="*/ 920311 h 2894836"/>
                          <a:gd name="connsiteX33" fmla="*/ 818734 w 2630875"/>
                          <a:gd name="connsiteY33" fmla="*/ 644311 h 2894836"/>
                          <a:gd name="connsiteX34" fmla="*/ 1021890 w 2630875"/>
                          <a:gd name="connsiteY34" fmla="*/ 54192 h 2894836"/>
                          <a:gd name="connsiteX35" fmla="*/ 1283538 w 2630875"/>
                          <a:gd name="connsiteY35"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27556 w 2630875"/>
                          <a:gd name="connsiteY28" fmla="*/ 1341238 h 2894836"/>
                          <a:gd name="connsiteX29" fmla="*/ 883804 w 2630875"/>
                          <a:gd name="connsiteY29" fmla="*/ 1304039 h 2894836"/>
                          <a:gd name="connsiteX30" fmla="*/ 998059 w 2630875"/>
                          <a:gd name="connsiteY30" fmla="*/ 1137957 h 2894836"/>
                          <a:gd name="connsiteX31" fmla="*/ 882650 w 2630875"/>
                          <a:gd name="connsiteY31" fmla="*/ 920311 h 2894836"/>
                          <a:gd name="connsiteX32" fmla="*/ 818734 w 2630875"/>
                          <a:gd name="connsiteY32" fmla="*/ 644311 h 2894836"/>
                          <a:gd name="connsiteX33" fmla="*/ 1021890 w 2630875"/>
                          <a:gd name="connsiteY33" fmla="*/ 54192 h 2894836"/>
                          <a:gd name="connsiteX34" fmla="*/ 1283538 w 2630875"/>
                          <a:gd name="connsiteY34"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27556 w 2630875"/>
                          <a:gd name="connsiteY28" fmla="*/ 1341238 h 2894836"/>
                          <a:gd name="connsiteX29" fmla="*/ 883804 w 2630875"/>
                          <a:gd name="connsiteY29" fmla="*/ 1304039 h 2894836"/>
                          <a:gd name="connsiteX30" fmla="*/ 998059 w 2630875"/>
                          <a:gd name="connsiteY30" fmla="*/ 1137957 h 2894836"/>
                          <a:gd name="connsiteX31" fmla="*/ 882650 w 2630875"/>
                          <a:gd name="connsiteY31" fmla="*/ 920311 h 2894836"/>
                          <a:gd name="connsiteX32" fmla="*/ 818734 w 2630875"/>
                          <a:gd name="connsiteY32" fmla="*/ 644311 h 2894836"/>
                          <a:gd name="connsiteX33" fmla="*/ 1021890 w 2630875"/>
                          <a:gd name="connsiteY33" fmla="*/ 54192 h 2894836"/>
                          <a:gd name="connsiteX34" fmla="*/ 1283538 w 2630875"/>
                          <a:gd name="connsiteY34"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27556 w 2630875"/>
                          <a:gd name="connsiteY28" fmla="*/ 1341238 h 2894836"/>
                          <a:gd name="connsiteX29" fmla="*/ 883804 w 2630875"/>
                          <a:gd name="connsiteY29" fmla="*/ 1304039 h 2894836"/>
                          <a:gd name="connsiteX30" fmla="*/ 998059 w 2630875"/>
                          <a:gd name="connsiteY30" fmla="*/ 1137957 h 2894836"/>
                          <a:gd name="connsiteX31" fmla="*/ 882650 w 2630875"/>
                          <a:gd name="connsiteY31" fmla="*/ 920311 h 2894836"/>
                          <a:gd name="connsiteX32" fmla="*/ 818734 w 2630875"/>
                          <a:gd name="connsiteY32" fmla="*/ 644311 h 2894836"/>
                          <a:gd name="connsiteX33" fmla="*/ 1021890 w 2630875"/>
                          <a:gd name="connsiteY33" fmla="*/ 54192 h 2894836"/>
                          <a:gd name="connsiteX34" fmla="*/ 1283538 w 2630875"/>
                          <a:gd name="connsiteY34"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 name="connsiteX0" fmla="*/ 977638 w 2630875"/>
                          <a:gd name="connsiteY0" fmla="*/ 1406288 h 2894836"/>
                          <a:gd name="connsiteX1" fmla="*/ 1180240 w 2630875"/>
                          <a:gd name="connsiteY1" fmla="*/ 2093909 h 2894836"/>
                          <a:gd name="connsiteX2" fmla="*/ 1178876 w 2630875"/>
                          <a:gd name="connsiteY2" fmla="*/ 2075852 h 2894836"/>
                          <a:gd name="connsiteX3" fmla="*/ 1262617 w 2630875"/>
                          <a:gd name="connsiteY3" fmla="*/ 1841078 h 2894836"/>
                          <a:gd name="connsiteX4" fmla="*/ 1187593 w 2630875"/>
                          <a:gd name="connsiteY4" fmla="*/ 1716736 h 2894836"/>
                          <a:gd name="connsiteX5" fmla="*/ 1222903 w 2630875"/>
                          <a:gd name="connsiteY5" fmla="*/ 1648336 h 2894836"/>
                          <a:gd name="connsiteX6" fmla="*/ 1263496 w 2630875"/>
                          <a:gd name="connsiteY6" fmla="*/ 1565705 h 2894836"/>
                          <a:gd name="connsiteX7" fmla="*/ 977638 w 2630875"/>
                          <a:gd name="connsiteY7" fmla="*/ 1406288 h 2894836"/>
                          <a:gd name="connsiteX8" fmla="*/ 1668636 w 2630875"/>
                          <a:gd name="connsiteY8" fmla="*/ 1386916 h 2894836"/>
                          <a:gd name="connsiteX9" fmla="*/ 1389479 w 2630875"/>
                          <a:gd name="connsiteY9" fmla="*/ 1562971 h 2894836"/>
                          <a:gd name="connsiteX10" fmla="*/ 1442629 w 2630875"/>
                          <a:gd name="connsiteY10" fmla="*/ 1740748 h 2894836"/>
                          <a:gd name="connsiteX11" fmla="*/ 1376299 w 2630875"/>
                          <a:gd name="connsiteY11" fmla="*/ 1841672 h 2894836"/>
                          <a:gd name="connsiteX12" fmla="*/ 1451180 w 2630875"/>
                          <a:gd name="connsiteY12" fmla="*/ 2080547 h 2894836"/>
                          <a:gd name="connsiteX13" fmla="*/ 1450502 w 2630875"/>
                          <a:gd name="connsiteY13" fmla="*/ 2118317 h 2894836"/>
                          <a:gd name="connsiteX14" fmla="*/ 1668636 w 2630875"/>
                          <a:gd name="connsiteY14" fmla="*/ 1386916 h 2894836"/>
                          <a:gd name="connsiteX15" fmla="*/ 1283538 w 2630875"/>
                          <a:gd name="connsiteY15" fmla="*/ 25 h 2894836"/>
                          <a:gd name="connsiteX16" fmla="*/ 1331158 w 2630875"/>
                          <a:gd name="connsiteY16" fmla="*/ 25 h 2894836"/>
                          <a:gd name="connsiteX17" fmla="*/ 1592806 w 2630875"/>
                          <a:gd name="connsiteY17" fmla="*/ 54192 h 2894836"/>
                          <a:gd name="connsiteX18" fmla="*/ 1795962 w 2630875"/>
                          <a:gd name="connsiteY18" fmla="*/ 644311 h 2894836"/>
                          <a:gd name="connsiteX19" fmla="*/ 1732046 w 2630875"/>
                          <a:gd name="connsiteY19" fmla="*/ 920311 h 2894836"/>
                          <a:gd name="connsiteX20" fmla="*/ 1616637 w 2630875"/>
                          <a:gd name="connsiteY20" fmla="*/ 1137957 h 2894836"/>
                          <a:gd name="connsiteX21" fmla="*/ 1730892 w 2630875"/>
                          <a:gd name="connsiteY21" fmla="*/ 1304039 h 2894836"/>
                          <a:gd name="connsiteX22" fmla="*/ 1979925 w 2630875"/>
                          <a:gd name="connsiteY22" fmla="*/ 1379925 h 2894836"/>
                          <a:gd name="connsiteX23" fmla="*/ 2609014 w 2630875"/>
                          <a:gd name="connsiteY23" fmla="*/ 1974584 h 2894836"/>
                          <a:gd name="connsiteX24" fmla="*/ 2609014 w 2630875"/>
                          <a:gd name="connsiteY24" fmla="*/ 2775365 h 2894836"/>
                          <a:gd name="connsiteX25" fmla="*/ 21862 w 2630875"/>
                          <a:gd name="connsiteY25" fmla="*/ 2775365 h 2894836"/>
                          <a:gd name="connsiteX26" fmla="*/ 21862 w 2630875"/>
                          <a:gd name="connsiteY26" fmla="*/ 1974584 h 2894836"/>
                          <a:gd name="connsiteX27" fmla="*/ 650950 w 2630875"/>
                          <a:gd name="connsiteY27" fmla="*/ 1379925 h 2894836"/>
                          <a:gd name="connsiteX28" fmla="*/ 883804 w 2630875"/>
                          <a:gd name="connsiteY28" fmla="*/ 1304039 h 2894836"/>
                          <a:gd name="connsiteX29" fmla="*/ 998059 w 2630875"/>
                          <a:gd name="connsiteY29" fmla="*/ 1137957 h 2894836"/>
                          <a:gd name="connsiteX30" fmla="*/ 882650 w 2630875"/>
                          <a:gd name="connsiteY30" fmla="*/ 920311 h 2894836"/>
                          <a:gd name="connsiteX31" fmla="*/ 818734 w 2630875"/>
                          <a:gd name="connsiteY31" fmla="*/ 644311 h 2894836"/>
                          <a:gd name="connsiteX32" fmla="*/ 1021890 w 2630875"/>
                          <a:gd name="connsiteY32" fmla="*/ 54192 h 2894836"/>
                          <a:gd name="connsiteX33" fmla="*/ 1283538 w 2630875"/>
                          <a:gd name="connsiteY33" fmla="*/ 25 h 289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0875" h="2894836">
                            <a:moveTo>
                              <a:pt x="977638" y="1406288"/>
                            </a:moveTo>
                            <a:lnTo>
                              <a:pt x="1180240" y="2093909"/>
                            </a:lnTo>
                            <a:cubicBezTo>
                              <a:pt x="1179785" y="2087891"/>
                              <a:pt x="1179332" y="2081870"/>
                              <a:pt x="1178876" y="2075852"/>
                            </a:cubicBezTo>
                            <a:cubicBezTo>
                              <a:pt x="1226860" y="1948787"/>
                              <a:pt x="1240997" y="1915365"/>
                              <a:pt x="1262617" y="1841078"/>
                            </a:cubicBezTo>
                            <a:cubicBezTo>
                              <a:pt x="1255539" y="1808534"/>
                              <a:pt x="1224300" y="1764784"/>
                              <a:pt x="1187593" y="1716736"/>
                            </a:cubicBezTo>
                            <a:cubicBezTo>
                              <a:pt x="1200556" y="1695609"/>
                              <a:pt x="1210845" y="1674065"/>
                              <a:pt x="1222903" y="1648336"/>
                            </a:cubicBezTo>
                            <a:lnTo>
                              <a:pt x="1263496" y="1565705"/>
                            </a:lnTo>
                            <a:lnTo>
                              <a:pt x="977638" y="1406288"/>
                            </a:lnTo>
                            <a:close/>
                            <a:moveTo>
                              <a:pt x="1668636" y="1386916"/>
                            </a:moveTo>
                            <a:lnTo>
                              <a:pt x="1389479" y="1562971"/>
                            </a:lnTo>
                            <a:cubicBezTo>
                              <a:pt x="1411441" y="1609284"/>
                              <a:pt x="1433639" y="1679847"/>
                              <a:pt x="1442629" y="1740748"/>
                            </a:cubicBezTo>
                            <a:cubicBezTo>
                              <a:pt x="1429262" y="1767423"/>
                              <a:pt x="1396018" y="1805873"/>
                              <a:pt x="1376299" y="1841672"/>
                            </a:cubicBezTo>
                            <a:cubicBezTo>
                              <a:pt x="1397057" y="1934311"/>
                              <a:pt x="1419816" y="1977711"/>
                              <a:pt x="1451180" y="2080547"/>
                            </a:cubicBezTo>
                            <a:cubicBezTo>
                              <a:pt x="1450955" y="2093136"/>
                              <a:pt x="1450727" y="2105728"/>
                              <a:pt x="1450502" y="2118317"/>
                            </a:cubicBezTo>
                            <a:lnTo>
                              <a:pt x="1668636" y="1386916"/>
                            </a:lnTo>
                            <a:close/>
                            <a:moveTo>
                              <a:pt x="1283538" y="25"/>
                            </a:moveTo>
                            <a:lnTo>
                              <a:pt x="1331158" y="25"/>
                            </a:lnTo>
                            <a:cubicBezTo>
                              <a:pt x="1419260" y="-604"/>
                              <a:pt x="1513004" y="10441"/>
                              <a:pt x="1592806" y="54192"/>
                            </a:cubicBezTo>
                            <a:cubicBezTo>
                              <a:pt x="1661640" y="98783"/>
                              <a:pt x="1856226" y="239308"/>
                              <a:pt x="1795962" y="644311"/>
                            </a:cubicBezTo>
                            <a:cubicBezTo>
                              <a:pt x="1910601" y="688259"/>
                              <a:pt x="1851349" y="879726"/>
                              <a:pt x="1732046" y="920311"/>
                            </a:cubicBezTo>
                            <a:cubicBezTo>
                              <a:pt x="1610209" y="1017528"/>
                              <a:pt x="1616604" y="1088509"/>
                              <a:pt x="1616637" y="1137957"/>
                            </a:cubicBezTo>
                            <a:cubicBezTo>
                              <a:pt x="1621609" y="1205686"/>
                              <a:pt x="1680094" y="1261392"/>
                              <a:pt x="1730892" y="1304039"/>
                            </a:cubicBezTo>
                            <a:cubicBezTo>
                              <a:pt x="1825122" y="1360188"/>
                              <a:pt x="1896914" y="1363045"/>
                              <a:pt x="1979925" y="1379925"/>
                            </a:cubicBezTo>
                            <a:cubicBezTo>
                              <a:pt x="2416649" y="1499445"/>
                              <a:pt x="2584527" y="1722184"/>
                              <a:pt x="2609014" y="1974584"/>
                            </a:cubicBezTo>
                            <a:cubicBezTo>
                              <a:pt x="2634843" y="2202766"/>
                              <a:pt x="2641305" y="2585933"/>
                              <a:pt x="2609014" y="2775365"/>
                            </a:cubicBezTo>
                            <a:cubicBezTo>
                              <a:pt x="2197197" y="2934660"/>
                              <a:pt x="478885" y="2934660"/>
                              <a:pt x="21862" y="2775365"/>
                            </a:cubicBezTo>
                            <a:cubicBezTo>
                              <a:pt x="-10430" y="2585933"/>
                              <a:pt x="-3968" y="2202766"/>
                              <a:pt x="21862" y="1974584"/>
                            </a:cubicBezTo>
                            <a:cubicBezTo>
                              <a:pt x="46348" y="1722184"/>
                              <a:pt x="214226" y="1499445"/>
                              <a:pt x="650950" y="1379925"/>
                            </a:cubicBezTo>
                            <a:cubicBezTo>
                              <a:pt x="734178" y="1354630"/>
                              <a:pt x="808990" y="1351774"/>
                              <a:pt x="883804" y="1304039"/>
                            </a:cubicBezTo>
                            <a:cubicBezTo>
                              <a:pt x="934602" y="1261392"/>
                              <a:pt x="985520" y="1213677"/>
                              <a:pt x="998059" y="1137957"/>
                            </a:cubicBezTo>
                            <a:cubicBezTo>
                              <a:pt x="998092" y="1088509"/>
                              <a:pt x="1004487" y="1017528"/>
                              <a:pt x="882650" y="920311"/>
                            </a:cubicBezTo>
                            <a:cubicBezTo>
                              <a:pt x="763347" y="879726"/>
                              <a:pt x="704095" y="688259"/>
                              <a:pt x="818734" y="644311"/>
                            </a:cubicBezTo>
                            <a:cubicBezTo>
                              <a:pt x="758470" y="239308"/>
                              <a:pt x="953056" y="98783"/>
                              <a:pt x="1021890" y="54192"/>
                            </a:cubicBezTo>
                            <a:cubicBezTo>
                              <a:pt x="1101692" y="10441"/>
                              <a:pt x="1195436" y="-604"/>
                              <a:pt x="1283538" y="2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1" dirty="0">
                          <a:solidFill>
                            <a:prstClr val="white"/>
                          </a:solidFill>
                          <a:latin typeface="Arial" panose="020B0604020202020204" pitchFamily="34" charset="0"/>
                          <a:cs typeface="Arial" panose="020B0604020202020204" pitchFamily="34" charset="0"/>
                        </a:endParaRPr>
                      </a:p>
                    </p:txBody>
                  </p:sp>
                  <p:sp>
                    <p:nvSpPr>
                      <p:cNvPr id="23" name="Freeform 22"/>
                      <p:cNvSpPr/>
                      <p:nvPr/>
                    </p:nvSpPr>
                    <p:spPr>
                      <a:xfrm>
                        <a:off x="977493" y="2928553"/>
                        <a:ext cx="2451800" cy="2894837"/>
                      </a:xfrm>
                      <a:custGeom>
                        <a:avLst/>
                        <a:gdLst>
                          <a:gd name="connsiteX0" fmla="*/ 977638 w 2451800"/>
                          <a:gd name="connsiteY0" fmla="*/ 1406288 h 2894837"/>
                          <a:gd name="connsiteX1" fmla="*/ 1180240 w 2451800"/>
                          <a:gd name="connsiteY1" fmla="*/ 2093909 h 2894837"/>
                          <a:gd name="connsiteX2" fmla="*/ 1178876 w 2451800"/>
                          <a:gd name="connsiteY2" fmla="*/ 2075852 h 2894837"/>
                          <a:gd name="connsiteX3" fmla="*/ 1262617 w 2451800"/>
                          <a:gd name="connsiteY3" fmla="*/ 1841078 h 2894837"/>
                          <a:gd name="connsiteX4" fmla="*/ 1187593 w 2451800"/>
                          <a:gd name="connsiteY4" fmla="*/ 1716736 h 2894837"/>
                          <a:gd name="connsiteX5" fmla="*/ 1222903 w 2451800"/>
                          <a:gd name="connsiteY5" fmla="*/ 1648336 h 2894837"/>
                          <a:gd name="connsiteX6" fmla="*/ 1263496 w 2451800"/>
                          <a:gd name="connsiteY6" fmla="*/ 1565705 h 2894837"/>
                          <a:gd name="connsiteX7" fmla="*/ 1668636 w 2451800"/>
                          <a:gd name="connsiteY7" fmla="*/ 1386916 h 2894837"/>
                          <a:gd name="connsiteX8" fmla="*/ 1389479 w 2451800"/>
                          <a:gd name="connsiteY8" fmla="*/ 1562971 h 2894837"/>
                          <a:gd name="connsiteX9" fmla="*/ 1442629 w 2451800"/>
                          <a:gd name="connsiteY9" fmla="*/ 1740748 h 2894837"/>
                          <a:gd name="connsiteX10" fmla="*/ 1376299 w 2451800"/>
                          <a:gd name="connsiteY10" fmla="*/ 1841672 h 2894837"/>
                          <a:gd name="connsiteX11" fmla="*/ 1451180 w 2451800"/>
                          <a:gd name="connsiteY11" fmla="*/ 2080547 h 2894837"/>
                          <a:gd name="connsiteX12" fmla="*/ 1450502 w 2451800"/>
                          <a:gd name="connsiteY12" fmla="*/ 2118317 h 2894837"/>
                          <a:gd name="connsiteX13" fmla="*/ 1283538 w 2451800"/>
                          <a:gd name="connsiteY13" fmla="*/ 25 h 2894837"/>
                          <a:gd name="connsiteX14" fmla="*/ 1331158 w 2451800"/>
                          <a:gd name="connsiteY14" fmla="*/ 25 h 2894837"/>
                          <a:gd name="connsiteX15" fmla="*/ 1592806 w 2451800"/>
                          <a:gd name="connsiteY15" fmla="*/ 54192 h 2894837"/>
                          <a:gd name="connsiteX16" fmla="*/ 1795962 w 2451800"/>
                          <a:gd name="connsiteY16" fmla="*/ 644311 h 2894837"/>
                          <a:gd name="connsiteX17" fmla="*/ 1732046 w 2451800"/>
                          <a:gd name="connsiteY17" fmla="*/ 920311 h 2894837"/>
                          <a:gd name="connsiteX18" fmla="*/ 1616637 w 2451800"/>
                          <a:gd name="connsiteY18" fmla="*/ 1137957 h 2894837"/>
                          <a:gd name="connsiteX19" fmla="*/ 1730892 w 2451800"/>
                          <a:gd name="connsiteY19" fmla="*/ 1304039 h 2894837"/>
                          <a:gd name="connsiteX20" fmla="*/ 1979925 w 2451800"/>
                          <a:gd name="connsiteY20" fmla="*/ 1379925 h 2894837"/>
                          <a:gd name="connsiteX21" fmla="*/ 2449059 w 2451800"/>
                          <a:gd name="connsiteY21" fmla="*/ 1627425 h 2894837"/>
                          <a:gd name="connsiteX22" fmla="*/ 2451800 w 2451800"/>
                          <a:gd name="connsiteY22" fmla="*/ 1630767 h 2894837"/>
                          <a:gd name="connsiteX23" fmla="*/ 2359861 w 2451800"/>
                          <a:gd name="connsiteY23" fmla="*/ 1651312 h 2894837"/>
                          <a:gd name="connsiteX24" fmla="*/ 1677816 w 2451800"/>
                          <a:gd name="connsiteY24" fmla="*/ 2308987 h 2894837"/>
                          <a:gd name="connsiteX25" fmla="*/ 1654186 w 2451800"/>
                          <a:gd name="connsiteY25" fmla="*/ 2767879 h 2894837"/>
                          <a:gd name="connsiteX26" fmla="*/ 1655046 w 2451800"/>
                          <a:gd name="connsiteY26" fmla="*/ 2888776 h 2894837"/>
                          <a:gd name="connsiteX27" fmla="*/ 1332390 w 2451800"/>
                          <a:gd name="connsiteY27" fmla="*/ 2894837 h 2894837"/>
                          <a:gd name="connsiteX28" fmla="*/ 21862 w 2451800"/>
                          <a:gd name="connsiteY28" fmla="*/ 2775365 h 2894837"/>
                          <a:gd name="connsiteX29" fmla="*/ 21862 w 2451800"/>
                          <a:gd name="connsiteY29" fmla="*/ 1974584 h 2894837"/>
                          <a:gd name="connsiteX30" fmla="*/ 650950 w 2451800"/>
                          <a:gd name="connsiteY30" fmla="*/ 1379925 h 2894837"/>
                          <a:gd name="connsiteX31" fmla="*/ 883804 w 2451800"/>
                          <a:gd name="connsiteY31" fmla="*/ 1304039 h 2894837"/>
                          <a:gd name="connsiteX32" fmla="*/ 998059 w 2451800"/>
                          <a:gd name="connsiteY32" fmla="*/ 1137957 h 2894837"/>
                          <a:gd name="connsiteX33" fmla="*/ 882650 w 2451800"/>
                          <a:gd name="connsiteY33" fmla="*/ 920311 h 2894837"/>
                          <a:gd name="connsiteX34" fmla="*/ 818734 w 2451800"/>
                          <a:gd name="connsiteY34" fmla="*/ 644311 h 2894837"/>
                          <a:gd name="connsiteX35" fmla="*/ 1021890 w 2451800"/>
                          <a:gd name="connsiteY35" fmla="*/ 54192 h 2894837"/>
                          <a:gd name="connsiteX36" fmla="*/ 1283538 w 2451800"/>
                          <a:gd name="connsiteY36" fmla="*/ 25 h 289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51800" h="2894837">
                            <a:moveTo>
                              <a:pt x="977638" y="1406288"/>
                            </a:moveTo>
                            <a:lnTo>
                              <a:pt x="1180240" y="2093909"/>
                            </a:lnTo>
                            <a:cubicBezTo>
                              <a:pt x="1179785" y="2087891"/>
                              <a:pt x="1179332" y="2081870"/>
                              <a:pt x="1178876" y="2075852"/>
                            </a:cubicBezTo>
                            <a:cubicBezTo>
                              <a:pt x="1226860" y="1948787"/>
                              <a:pt x="1240997" y="1915365"/>
                              <a:pt x="1262617" y="1841078"/>
                            </a:cubicBezTo>
                            <a:cubicBezTo>
                              <a:pt x="1255539" y="1808534"/>
                              <a:pt x="1224300" y="1764784"/>
                              <a:pt x="1187593" y="1716736"/>
                            </a:cubicBezTo>
                            <a:cubicBezTo>
                              <a:pt x="1200556" y="1695609"/>
                              <a:pt x="1210845" y="1674065"/>
                              <a:pt x="1222903" y="1648336"/>
                            </a:cubicBezTo>
                            <a:lnTo>
                              <a:pt x="1263496" y="1565705"/>
                            </a:lnTo>
                            <a:close/>
                            <a:moveTo>
                              <a:pt x="1668636" y="1386916"/>
                            </a:moveTo>
                            <a:lnTo>
                              <a:pt x="1389479" y="1562971"/>
                            </a:lnTo>
                            <a:cubicBezTo>
                              <a:pt x="1411441" y="1609284"/>
                              <a:pt x="1433639" y="1679847"/>
                              <a:pt x="1442629" y="1740748"/>
                            </a:cubicBezTo>
                            <a:cubicBezTo>
                              <a:pt x="1429262" y="1767423"/>
                              <a:pt x="1396018" y="1805873"/>
                              <a:pt x="1376299" y="1841672"/>
                            </a:cubicBezTo>
                            <a:cubicBezTo>
                              <a:pt x="1397057" y="1934311"/>
                              <a:pt x="1419816" y="1977711"/>
                              <a:pt x="1451180" y="2080547"/>
                            </a:cubicBezTo>
                            <a:cubicBezTo>
                              <a:pt x="1450955" y="2093136"/>
                              <a:pt x="1450727" y="2105728"/>
                              <a:pt x="1450502" y="2118317"/>
                            </a:cubicBezTo>
                            <a:close/>
                            <a:moveTo>
                              <a:pt x="1283538" y="25"/>
                            </a:moveTo>
                            <a:lnTo>
                              <a:pt x="1331158" y="25"/>
                            </a:lnTo>
                            <a:cubicBezTo>
                              <a:pt x="1419260" y="-604"/>
                              <a:pt x="1513004" y="10441"/>
                              <a:pt x="1592806" y="54192"/>
                            </a:cubicBezTo>
                            <a:cubicBezTo>
                              <a:pt x="1661640" y="98783"/>
                              <a:pt x="1856226" y="239308"/>
                              <a:pt x="1795962" y="644311"/>
                            </a:cubicBezTo>
                            <a:cubicBezTo>
                              <a:pt x="1910601" y="688259"/>
                              <a:pt x="1851349" y="879726"/>
                              <a:pt x="1732046" y="920311"/>
                            </a:cubicBezTo>
                            <a:cubicBezTo>
                              <a:pt x="1610209" y="1017528"/>
                              <a:pt x="1616604" y="1088509"/>
                              <a:pt x="1616637" y="1137957"/>
                            </a:cubicBezTo>
                            <a:cubicBezTo>
                              <a:pt x="1621609" y="1205686"/>
                              <a:pt x="1680094" y="1261392"/>
                              <a:pt x="1730892" y="1304039"/>
                            </a:cubicBezTo>
                            <a:cubicBezTo>
                              <a:pt x="1825122" y="1360188"/>
                              <a:pt x="1896914" y="1363045"/>
                              <a:pt x="1979925" y="1379925"/>
                            </a:cubicBezTo>
                            <a:cubicBezTo>
                              <a:pt x="2198287" y="1439685"/>
                              <a:pt x="2349438" y="1525250"/>
                              <a:pt x="2449059" y="1627425"/>
                            </a:cubicBezTo>
                            <a:lnTo>
                              <a:pt x="2451800" y="1630767"/>
                            </a:lnTo>
                            <a:lnTo>
                              <a:pt x="2359861" y="1651312"/>
                            </a:lnTo>
                            <a:cubicBezTo>
                              <a:pt x="1886374" y="1783497"/>
                              <a:pt x="1704364" y="2029840"/>
                              <a:pt x="1677816" y="2308987"/>
                            </a:cubicBezTo>
                            <a:cubicBezTo>
                              <a:pt x="1663814" y="2435169"/>
                              <a:pt x="1655062" y="2604202"/>
                              <a:pt x="1654186" y="2767879"/>
                            </a:cubicBezTo>
                            <a:lnTo>
                              <a:pt x="1655046" y="2888776"/>
                            </a:lnTo>
                            <a:lnTo>
                              <a:pt x="1332390" y="2894837"/>
                            </a:lnTo>
                            <a:cubicBezTo>
                              <a:pt x="794207" y="2894837"/>
                              <a:pt x="250374" y="2855013"/>
                              <a:pt x="21862" y="2775365"/>
                            </a:cubicBezTo>
                            <a:cubicBezTo>
                              <a:pt x="-10430" y="2585933"/>
                              <a:pt x="-3968" y="2202766"/>
                              <a:pt x="21862" y="1974584"/>
                            </a:cubicBezTo>
                            <a:cubicBezTo>
                              <a:pt x="46348" y="1722184"/>
                              <a:pt x="214226" y="1499445"/>
                              <a:pt x="650950" y="1379925"/>
                            </a:cubicBezTo>
                            <a:cubicBezTo>
                              <a:pt x="734178" y="1354630"/>
                              <a:pt x="808990" y="1351774"/>
                              <a:pt x="883804" y="1304039"/>
                            </a:cubicBezTo>
                            <a:cubicBezTo>
                              <a:pt x="934602" y="1261392"/>
                              <a:pt x="985520" y="1213677"/>
                              <a:pt x="998059" y="1137957"/>
                            </a:cubicBezTo>
                            <a:cubicBezTo>
                              <a:pt x="998092" y="1088509"/>
                              <a:pt x="1004487" y="1017528"/>
                              <a:pt x="882650" y="920311"/>
                            </a:cubicBezTo>
                            <a:cubicBezTo>
                              <a:pt x="763347" y="879726"/>
                              <a:pt x="704095" y="688259"/>
                              <a:pt x="818734" y="644311"/>
                            </a:cubicBezTo>
                            <a:cubicBezTo>
                              <a:pt x="758470" y="239308"/>
                              <a:pt x="953056" y="98783"/>
                              <a:pt x="1021890" y="54192"/>
                            </a:cubicBezTo>
                            <a:cubicBezTo>
                              <a:pt x="1101692" y="10441"/>
                              <a:pt x="1195436" y="-604"/>
                              <a:pt x="1283538" y="2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1" dirty="0">
                          <a:solidFill>
                            <a:prstClr val="white"/>
                          </a:solidFill>
                          <a:latin typeface="Arial" panose="020B0604020202020204" pitchFamily="34" charset="0"/>
                          <a:cs typeface="Arial" panose="020B0604020202020204" pitchFamily="34" charset="0"/>
                        </a:endParaRPr>
                      </a:p>
                    </p:txBody>
                  </p:sp>
                  <p:sp>
                    <p:nvSpPr>
                      <p:cNvPr id="24" name="Freeform 23"/>
                      <p:cNvSpPr/>
                      <p:nvPr/>
                    </p:nvSpPr>
                    <p:spPr>
                      <a:xfrm>
                        <a:off x="4683702" y="2928553"/>
                        <a:ext cx="2448480" cy="2894837"/>
                      </a:xfrm>
                      <a:custGeom>
                        <a:avLst/>
                        <a:gdLst>
                          <a:gd name="connsiteX0" fmla="*/ 795243 w 2448480"/>
                          <a:gd name="connsiteY0" fmla="*/ 1406288 h 2894837"/>
                          <a:gd name="connsiteX1" fmla="*/ 997845 w 2448480"/>
                          <a:gd name="connsiteY1" fmla="*/ 2093909 h 2894837"/>
                          <a:gd name="connsiteX2" fmla="*/ 996481 w 2448480"/>
                          <a:gd name="connsiteY2" fmla="*/ 2075852 h 2894837"/>
                          <a:gd name="connsiteX3" fmla="*/ 1080222 w 2448480"/>
                          <a:gd name="connsiteY3" fmla="*/ 1841078 h 2894837"/>
                          <a:gd name="connsiteX4" fmla="*/ 1005198 w 2448480"/>
                          <a:gd name="connsiteY4" fmla="*/ 1716736 h 2894837"/>
                          <a:gd name="connsiteX5" fmla="*/ 1040508 w 2448480"/>
                          <a:gd name="connsiteY5" fmla="*/ 1648336 h 2894837"/>
                          <a:gd name="connsiteX6" fmla="*/ 1081101 w 2448480"/>
                          <a:gd name="connsiteY6" fmla="*/ 1565705 h 2894837"/>
                          <a:gd name="connsiteX7" fmla="*/ 1486241 w 2448480"/>
                          <a:gd name="connsiteY7" fmla="*/ 1386916 h 2894837"/>
                          <a:gd name="connsiteX8" fmla="*/ 1207084 w 2448480"/>
                          <a:gd name="connsiteY8" fmla="*/ 1562971 h 2894837"/>
                          <a:gd name="connsiteX9" fmla="*/ 1260234 w 2448480"/>
                          <a:gd name="connsiteY9" fmla="*/ 1740748 h 2894837"/>
                          <a:gd name="connsiteX10" fmla="*/ 1193904 w 2448480"/>
                          <a:gd name="connsiteY10" fmla="*/ 1841672 h 2894837"/>
                          <a:gd name="connsiteX11" fmla="*/ 1268785 w 2448480"/>
                          <a:gd name="connsiteY11" fmla="*/ 2080547 h 2894837"/>
                          <a:gd name="connsiteX12" fmla="*/ 1268107 w 2448480"/>
                          <a:gd name="connsiteY12" fmla="*/ 2118317 h 2894837"/>
                          <a:gd name="connsiteX13" fmla="*/ 1101143 w 2448480"/>
                          <a:gd name="connsiteY13" fmla="*/ 25 h 2894837"/>
                          <a:gd name="connsiteX14" fmla="*/ 1148763 w 2448480"/>
                          <a:gd name="connsiteY14" fmla="*/ 25 h 2894837"/>
                          <a:gd name="connsiteX15" fmla="*/ 1410411 w 2448480"/>
                          <a:gd name="connsiteY15" fmla="*/ 54192 h 2894837"/>
                          <a:gd name="connsiteX16" fmla="*/ 1613567 w 2448480"/>
                          <a:gd name="connsiteY16" fmla="*/ 644311 h 2894837"/>
                          <a:gd name="connsiteX17" fmla="*/ 1549651 w 2448480"/>
                          <a:gd name="connsiteY17" fmla="*/ 920311 h 2894837"/>
                          <a:gd name="connsiteX18" fmla="*/ 1434242 w 2448480"/>
                          <a:gd name="connsiteY18" fmla="*/ 1137957 h 2894837"/>
                          <a:gd name="connsiteX19" fmla="*/ 1548497 w 2448480"/>
                          <a:gd name="connsiteY19" fmla="*/ 1304039 h 2894837"/>
                          <a:gd name="connsiteX20" fmla="*/ 1797530 w 2448480"/>
                          <a:gd name="connsiteY20" fmla="*/ 1379925 h 2894837"/>
                          <a:gd name="connsiteX21" fmla="*/ 2426619 w 2448480"/>
                          <a:gd name="connsiteY21" fmla="*/ 1974584 h 2894837"/>
                          <a:gd name="connsiteX22" fmla="*/ 2426619 w 2448480"/>
                          <a:gd name="connsiteY22" fmla="*/ 2775365 h 2894837"/>
                          <a:gd name="connsiteX23" fmla="*/ 1149996 w 2448480"/>
                          <a:gd name="connsiteY23" fmla="*/ 2894837 h 2894837"/>
                          <a:gd name="connsiteX24" fmla="*/ 799319 w 2448480"/>
                          <a:gd name="connsiteY24" fmla="*/ 2888285 h 2894837"/>
                          <a:gd name="connsiteX25" fmla="*/ 800176 w 2448480"/>
                          <a:gd name="connsiteY25" fmla="*/ 2767879 h 2894837"/>
                          <a:gd name="connsiteX26" fmla="*/ 776546 w 2448480"/>
                          <a:gd name="connsiteY26" fmla="*/ 2308987 h 2894837"/>
                          <a:gd name="connsiteX27" fmla="*/ 94500 w 2448480"/>
                          <a:gd name="connsiteY27" fmla="*/ 1651312 h 2894837"/>
                          <a:gd name="connsiteX28" fmla="*/ 0 w 2448480"/>
                          <a:gd name="connsiteY28" fmla="*/ 1626924 h 2894837"/>
                          <a:gd name="connsiteX29" fmla="*/ 84044 w 2448480"/>
                          <a:gd name="connsiteY29" fmla="*/ 1554052 h 2894837"/>
                          <a:gd name="connsiteX30" fmla="*/ 468555 w 2448480"/>
                          <a:gd name="connsiteY30" fmla="*/ 1379925 h 2894837"/>
                          <a:gd name="connsiteX31" fmla="*/ 701409 w 2448480"/>
                          <a:gd name="connsiteY31" fmla="*/ 1304039 h 2894837"/>
                          <a:gd name="connsiteX32" fmla="*/ 815664 w 2448480"/>
                          <a:gd name="connsiteY32" fmla="*/ 1137957 h 2894837"/>
                          <a:gd name="connsiteX33" fmla="*/ 700255 w 2448480"/>
                          <a:gd name="connsiteY33" fmla="*/ 920311 h 2894837"/>
                          <a:gd name="connsiteX34" fmla="*/ 636339 w 2448480"/>
                          <a:gd name="connsiteY34" fmla="*/ 644311 h 2894837"/>
                          <a:gd name="connsiteX35" fmla="*/ 839495 w 2448480"/>
                          <a:gd name="connsiteY35" fmla="*/ 54192 h 2894837"/>
                          <a:gd name="connsiteX36" fmla="*/ 1101143 w 2448480"/>
                          <a:gd name="connsiteY36" fmla="*/ 25 h 289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48480" h="2894837">
                            <a:moveTo>
                              <a:pt x="795243" y="1406288"/>
                            </a:moveTo>
                            <a:lnTo>
                              <a:pt x="997845" y="2093909"/>
                            </a:lnTo>
                            <a:cubicBezTo>
                              <a:pt x="997390" y="2087891"/>
                              <a:pt x="996937" y="2081870"/>
                              <a:pt x="996481" y="2075852"/>
                            </a:cubicBezTo>
                            <a:cubicBezTo>
                              <a:pt x="1044465" y="1948787"/>
                              <a:pt x="1058602" y="1915365"/>
                              <a:pt x="1080222" y="1841078"/>
                            </a:cubicBezTo>
                            <a:cubicBezTo>
                              <a:pt x="1073144" y="1808534"/>
                              <a:pt x="1041905" y="1764784"/>
                              <a:pt x="1005198" y="1716736"/>
                            </a:cubicBezTo>
                            <a:cubicBezTo>
                              <a:pt x="1018161" y="1695609"/>
                              <a:pt x="1028450" y="1674065"/>
                              <a:pt x="1040508" y="1648336"/>
                            </a:cubicBezTo>
                            <a:lnTo>
                              <a:pt x="1081101" y="1565705"/>
                            </a:lnTo>
                            <a:close/>
                            <a:moveTo>
                              <a:pt x="1486241" y="1386916"/>
                            </a:moveTo>
                            <a:lnTo>
                              <a:pt x="1207084" y="1562971"/>
                            </a:lnTo>
                            <a:cubicBezTo>
                              <a:pt x="1229046" y="1609284"/>
                              <a:pt x="1251244" y="1679847"/>
                              <a:pt x="1260234" y="1740748"/>
                            </a:cubicBezTo>
                            <a:cubicBezTo>
                              <a:pt x="1246867" y="1767423"/>
                              <a:pt x="1213623" y="1805873"/>
                              <a:pt x="1193904" y="1841672"/>
                            </a:cubicBezTo>
                            <a:cubicBezTo>
                              <a:pt x="1214662" y="1934311"/>
                              <a:pt x="1237421" y="1977711"/>
                              <a:pt x="1268785" y="2080547"/>
                            </a:cubicBezTo>
                            <a:cubicBezTo>
                              <a:pt x="1268560" y="2093136"/>
                              <a:pt x="1268332" y="2105728"/>
                              <a:pt x="1268107" y="2118317"/>
                            </a:cubicBezTo>
                            <a:close/>
                            <a:moveTo>
                              <a:pt x="1101143" y="25"/>
                            </a:moveTo>
                            <a:lnTo>
                              <a:pt x="1148763" y="25"/>
                            </a:lnTo>
                            <a:cubicBezTo>
                              <a:pt x="1236865" y="-604"/>
                              <a:pt x="1330609" y="10441"/>
                              <a:pt x="1410411" y="54192"/>
                            </a:cubicBezTo>
                            <a:cubicBezTo>
                              <a:pt x="1479245" y="98783"/>
                              <a:pt x="1673831" y="239308"/>
                              <a:pt x="1613567" y="644311"/>
                            </a:cubicBezTo>
                            <a:cubicBezTo>
                              <a:pt x="1728206" y="688259"/>
                              <a:pt x="1668954" y="879726"/>
                              <a:pt x="1549651" y="920311"/>
                            </a:cubicBezTo>
                            <a:cubicBezTo>
                              <a:pt x="1427814" y="1017528"/>
                              <a:pt x="1434209" y="1088509"/>
                              <a:pt x="1434242" y="1137957"/>
                            </a:cubicBezTo>
                            <a:cubicBezTo>
                              <a:pt x="1439214" y="1205686"/>
                              <a:pt x="1497699" y="1261392"/>
                              <a:pt x="1548497" y="1304039"/>
                            </a:cubicBezTo>
                            <a:cubicBezTo>
                              <a:pt x="1642727" y="1360188"/>
                              <a:pt x="1714519" y="1363045"/>
                              <a:pt x="1797530" y="1379925"/>
                            </a:cubicBezTo>
                            <a:cubicBezTo>
                              <a:pt x="2234254" y="1499445"/>
                              <a:pt x="2402132" y="1722184"/>
                              <a:pt x="2426619" y="1974584"/>
                            </a:cubicBezTo>
                            <a:cubicBezTo>
                              <a:pt x="2452448" y="2202766"/>
                              <a:pt x="2458910" y="2585933"/>
                              <a:pt x="2426619" y="2775365"/>
                            </a:cubicBezTo>
                            <a:cubicBezTo>
                              <a:pt x="2220711" y="2855013"/>
                              <a:pt x="1688178" y="2894837"/>
                              <a:pt x="1149996" y="2894837"/>
                            </a:cubicBezTo>
                            <a:lnTo>
                              <a:pt x="799319" y="2888285"/>
                            </a:lnTo>
                            <a:lnTo>
                              <a:pt x="800176" y="2767879"/>
                            </a:lnTo>
                            <a:cubicBezTo>
                              <a:pt x="799300" y="2604202"/>
                              <a:pt x="790548" y="2435169"/>
                              <a:pt x="776546" y="2308987"/>
                            </a:cubicBezTo>
                            <a:cubicBezTo>
                              <a:pt x="749998" y="2029840"/>
                              <a:pt x="567988" y="1783497"/>
                              <a:pt x="94500" y="1651312"/>
                            </a:cubicBezTo>
                            <a:lnTo>
                              <a:pt x="0" y="1626924"/>
                            </a:lnTo>
                            <a:lnTo>
                              <a:pt x="84044" y="1554052"/>
                            </a:lnTo>
                            <a:cubicBezTo>
                              <a:pt x="178819" y="1484080"/>
                              <a:pt x="304784" y="1424745"/>
                              <a:pt x="468555" y="1379925"/>
                            </a:cubicBezTo>
                            <a:cubicBezTo>
                              <a:pt x="551783" y="1354630"/>
                              <a:pt x="626595" y="1351774"/>
                              <a:pt x="701409" y="1304039"/>
                            </a:cubicBezTo>
                            <a:cubicBezTo>
                              <a:pt x="752207" y="1261392"/>
                              <a:pt x="803125" y="1213677"/>
                              <a:pt x="815664" y="1137957"/>
                            </a:cubicBezTo>
                            <a:cubicBezTo>
                              <a:pt x="815697" y="1088509"/>
                              <a:pt x="822092" y="1017528"/>
                              <a:pt x="700255" y="920311"/>
                            </a:cubicBezTo>
                            <a:cubicBezTo>
                              <a:pt x="580952" y="879726"/>
                              <a:pt x="521700" y="688259"/>
                              <a:pt x="636339" y="644311"/>
                            </a:cubicBezTo>
                            <a:cubicBezTo>
                              <a:pt x="576075" y="239308"/>
                              <a:pt x="770661" y="98783"/>
                              <a:pt x="839495" y="54192"/>
                            </a:cubicBezTo>
                            <a:cubicBezTo>
                              <a:pt x="919297" y="10441"/>
                              <a:pt x="1013041" y="-604"/>
                              <a:pt x="1101143" y="2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1" dirty="0">
                          <a:solidFill>
                            <a:prstClr val="white"/>
                          </a:solidFill>
                          <a:latin typeface="Arial" panose="020B0604020202020204" pitchFamily="34" charset="0"/>
                          <a:cs typeface="Arial" panose="020B0604020202020204" pitchFamily="34" charset="0"/>
                        </a:endParaRPr>
                      </a:p>
                    </p:txBody>
                  </p:sp>
                </p:grpSp>
              </p:grpSp>
            </p:grpSp>
          </p:grpSp>
        </p:grpSp>
        <p:grpSp>
          <p:nvGrpSpPr>
            <p:cNvPr id="8" name="Group 7"/>
            <p:cNvGrpSpPr/>
            <p:nvPr/>
          </p:nvGrpSpPr>
          <p:grpSpPr>
            <a:xfrm>
              <a:off x="-3173041" y="1859660"/>
              <a:ext cx="6422511" cy="3698868"/>
              <a:chOff x="-4920078" y="1498467"/>
              <a:chExt cx="7697669" cy="4433260"/>
            </a:xfrm>
          </p:grpSpPr>
          <p:sp>
            <p:nvSpPr>
              <p:cNvPr id="9" name="Rectangle 8"/>
              <p:cNvSpPr/>
              <p:nvPr/>
            </p:nvSpPr>
            <p:spPr>
              <a:xfrm>
                <a:off x="-4920078" y="1498467"/>
                <a:ext cx="7649938" cy="885322"/>
              </a:xfrm>
              <a:prstGeom prst="rect">
                <a:avLst/>
              </a:prstGeom>
            </p:spPr>
            <p:txBody>
              <a:bodyPr wrap="square">
                <a:spAutoFit/>
              </a:bodyPr>
              <a:lstStyle/>
              <a:p>
                <a:pPr algn="just" defTabSz="914400">
                  <a:spcBef>
                    <a:spcPct val="0"/>
                  </a:spcBef>
                  <a:defRPr/>
                </a:pPr>
                <a:r>
                  <a:rPr lang="en-US" sz="1400" dirty="0">
                    <a:solidFill>
                      <a:srgbClr val="000000"/>
                    </a:solidFill>
                    <a:ea typeface="Tahoma" pitchFamily="34" charset="0"/>
                    <a:cs typeface="Tahoma" pitchFamily="34" charset="0"/>
                  </a:rPr>
                  <a:t>The purpose of this briefing session is to make sure that all Respondents understand what is expected of them with regards to the RFP process or any other areas that require clarity to the RFP. </a:t>
                </a:r>
              </a:p>
            </p:txBody>
          </p:sp>
          <p:sp>
            <p:nvSpPr>
              <p:cNvPr id="11" name="Rectangle 10"/>
              <p:cNvSpPr/>
              <p:nvPr/>
            </p:nvSpPr>
            <p:spPr>
              <a:xfrm>
                <a:off x="-4920078" y="3401545"/>
                <a:ext cx="7697669" cy="627103"/>
              </a:xfrm>
              <a:prstGeom prst="rect">
                <a:avLst/>
              </a:prstGeom>
            </p:spPr>
            <p:txBody>
              <a:bodyPr wrap="square">
                <a:spAutoFit/>
              </a:bodyPr>
              <a:lstStyle/>
              <a:p>
                <a:pPr algn="just" defTabSz="914400">
                  <a:spcBef>
                    <a:spcPct val="0"/>
                  </a:spcBef>
                  <a:defRPr/>
                </a:pPr>
                <a:r>
                  <a:rPr lang="en-US" sz="1400" dirty="0">
                    <a:solidFill>
                      <a:srgbClr val="000000"/>
                    </a:solidFill>
                    <a:ea typeface="Tahoma" pitchFamily="34" charset="0"/>
                    <a:cs typeface="Tahoma" pitchFamily="34" charset="0"/>
                  </a:rPr>
                  <a:t>Minutes/presentation of the briefing session will be distributed to </a:t>
                </a:r>
                <a:r>
                  <a:rPr lang="en-US" sz="1400" b="1" dirty="0">
                    <a:solidFill>
                      <a:srgbClr val="000000"/>
                    </a:solidFill>
                    <a:ea typeface="Tahoma" pitchFamily="34" charset="0"/>
                    <a:cs typeface="Tahoma" pitchFamily="34" charset="0"/>
                  </a:rPr>
                  <a:t>all Respondents </a:t>
                </a:r>
                <a:r>
                  <a:rPr lang="en-US" sz="1400" dirty="0">
                    <a:solidFill>
                      <a:srgbClr val="000000"/>
                    </a:solidFill>
                    <a:ea typeface="Tahoma" pitchFamily="34" charset="0"/>
                    <a:cs typeface="Tahoma" pitchFamily="34" charset="0"/>
                  </a:rPr>
                  <a:t>in attendance of the briefing session.</a:t>
                </a:r>
              </a:p>
            </p:txBody>
          </p:sp>
          <p:sp>
            <p:nvSpPr>
              <p:cNvPr id="13" name="Rectangle 12"/>
              <p:cNvSpPr/>
              <p:nvPr/>
            </p:nvSpPr>
            <p:spPr>
              <a:xfrm>
                <a:off x="-4911013" y="5046405"/>
                <a:ext cx="7617826" cy="885322"/>
              </a:xfrm>
              <a:prstGeom prst="rect">
                <a:avLst/>
              </a:prstGeom>
            </p:spPr>
            <p:txBody>
              <a:bodyPr wrap="square">
                <a:spAutoFit/>
              </a:bodyPr>
              <a:lstStyle/>
              <a:p>
                <a:pPr algn="just" defTabSz="914400">
                  <a:spcBef>
                    <a:spcPct val="0"/>
                  </a:spcBef>
                </a:pPr>
                <a:r>
                  <a:rPr lang="en-US" sz="1400" dirty="0">
                    <a:solidFill>
                      <a:srgbClr val="000000"/>
                    </a:solidFill>
                    <a:ea typeface="Tahoma" pitchFamily="34" charset="0"/>
                    <a:cs typeface="Tahoma" pitchFamily="34" charset="0"/>
                  </a:rPr>
                  <a:t>No questions will be taken during the presentation and will only be accepted under the ‘Questions and Answers’ session. However, all questions must be submitted in writing for a formal written response to be provided by TFR.</a:t>
                </a:r>
              </a:p>
            </p:txBody>
          </p:sp>
        </p:grpSp>
      </p:grpSp>
    </p:spTree>
    <p:extLst>
      <p:ext uri="{BB962C8B-B14F-4D97-AF65-F5344CB8AC3E}">
        <p14:creationId xmlns:p14="http://schemas.microsoft.com/office/powerpoint/2010/main" val="35879833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a:extLst>
              <a:ext uri="{FF2B5EF4-FFF2-40B4-BE49-F238E27FC236}">
                <a16:creationId xmlns:a16="http://schemas.microsoft.com/office/drawing/2014/main" id="{E3F49368-2D09-5C9F-3679-E3249326C1A0}"/>
              </a:ext>
            </a:extLst>
          </p:cNvPr>
          <p:cNvSpPr>
            <a:spLocks noGrp="1"/>
          </p:cNvSpPr>
          <p:nvPr>
            <p:ph type="title"/>
          </p:nvPr>
        </p:nvSpPr>
        <p:spPr>
          <a:xfrm>
            <a:off x="1792288" y="439738"/>
            <a:ext cx="7410450" cy="639762"/>
          </a:xfrm>
        </p:spPr>
        <p:txBody>
          <a:bodyPr/>
          <a:lstStyle/>
          <a:p>
            <a:r>
              <a:rPr lang="en-ZA" altLang="en-US" sz="1600"/>
              <a:t>CONDITIONS OF CONTRACT (JOB CREATION AND SUBCONTRACTING) </a:t>
            </a:r>
          </a:p>
        </p:txBody>
      </p:sp>
      <p:sp>
        <p:nvSpPr>
          <p:cNvPr id="3" name="Content Placeholder 2">
            <a:extLst>
              <a:ext uri="{FF2B5EF4-FFF2-40B4-BE49-F238E27FC236}">
                <a16:creationId xmlns:a16="http://schemas.microsoft.com/office/drawing/2014/main" id="{9EDFD9F4-130E-2F0D-87AC-0E535B71F673}"/>
              </a:ext>
            </a:extLst>
          </p:cNvPr>
          <p:cNvSpPr>
            <a:spLocks noGrp="1"/>
          </p:cNvSpPr>
          <p:nvPr>
            <p:ph idx="1"/>
          </p:nvPr>
        </p:nvSpPr>
        <p:spPr>
          <a:xfrm>
            <a:off x="1982789" y="1382714"/>
            <a:ext cx="8226425" cy="4814887"/>
          </a:xfrm>
        </p:spPr>
        <p:txBody>
          <a:bodyPr>
            <a:spAutoFit/>
          </a:bodyPr>
          <a:lstStyle/>
          <a:p>
            <a:pPr marL="457200" indent="-457200" algn="just">
              <a:buFont typeface="+mj-lt"/>
              <a:buAutoNum type="arabicPeriod"/>
              <a:defRPr/>
            </a:pPr>
            <a:r>
              <a:rPr lang="en-US" sz="1800" dirty="0"/>
              <a:t>Where Transnet has identified opportunities of economic transformation and empowerment, Transnet will incorporate a contractual obligation for the winning bidder to execute the identified transformation objective as a condition of contract.</a:t>
            </a:r>
          </a:p>
          <a:p>
            <a:pPr marL="457200" indent="-457200" algn="just">
              <a:buFont typeface="+mj-lt"/>
              <a:buAutoNum type="arabicPeriod"/>
              <a:defRPr/>
            </a:pPr>
            <a:endParaRPr lang="en-US" sz="1800" dirty="0"/>
          </a:p>
          <a:p>
            <a:pPr marL="457200" indent="-457200" algn="just">
              <a:buFont typeface="+mj-lt"/>
              <a:buAutoNum type="arabicPeriod"/>
              <a:defRPr/>
            </a:pPr>
            <a:r>
              <a:rPr lang="en-US" sz="1800" dirty="0"/>
              <a:t> Each bidder interested in participating in this tender should be cognizant that it is a condition of contract the winning bidder will be required to contract with Transnet on one or more of the following transformation initiatives: </a:t>
            </a:r>
          </a:p>
          <a:p>
            <a:pPr marL="457200" indent="-457200" algn="just">
              <a:buFont typeface="+mj-lt"/>
              <a:buAutoNum type="arabicPeriod"/>
              <a:defRPr/>
            </a:pPr>
            <a:endParaRPr lang="en-US" sz="1800" dirty="0"/>
          </a:p>
          <a:p>
            <a:pPr marL="812800" lvl="1" indent="-457200" algn="just">
              <a:buFont typeface="+mj-lt"/>
              <a:buAutoNum type="alphaUcPeriod"/>
              <a:defRPr/>
            </a:pPr>
            <a:r>
              <a:rPr lang="en-ZA" dirty="0">
                <a:solidFill>
                  <a:schemeClr val="tx1"/>
                </a:solidFill>
              </a:rPr>
              <a:t>Job creation and preservation (Page 50 of 53 of the RFP)</a:t>
            </a:r>
          </a:p>
          <a:p>
            <a:pPr marL="812800" lvl="1" indent="-457200" algn="just">
              <a:buFont typeface="+mj-lt"/>
              <a:buAutoNum type="alphaUcPeriod"/>
              <a:defRPr/>
            </a:pPr>
            <a:r>
              <a:rPr lang="en-ZA" dirty="0">
                <a:solidFill>
                  <a:schemeClr val="tx1"/>
                </a:solidFill>
              </a:rPr>
              <a:t>Subcontracting (Annexure K)</a:t>
            </a:r>
            <a:endParaRPr lang="en-US" dirty="0">
              <a:solidFill>
                <a:schemeClr val="tx1"/>
              </a:solidFill>
            </a:endParaRPr>
          </a:p>
          <a:p>
            <a:pPr marL="457200" indent="-457200" algn="just">
              <a:buFont typeface="+mj-lt"/>
              <a:buAutoNum type="arabicPeriod"/>
              <a:defRPr/>
            </a:pPr>
            <a:endParaRPr lang="en-US" sz="1800" dirty="0"/>
          </a:p>
          <a:p>
            <a:pPr marL="457200" indent="-457200" algn="just">
              <a:buFont typeface="+mj-lt"/>
              <a:buAutoNum type="arabicPeriod"/>
              <a:defRPr/>
            </a:pPr>
            <a:endParaRPr lang="en-US" sz="1800" dirty="0"/>
          </a:p>
          <a:p>
            <a:pPr marL="457200" indent="-457200" algn="just">
              <a:buFont typeface="+mj-lt"/>
              <a:buAutoNum type="arabicPeriod"/>
              <a:defRPr/>
            </a:pPr>
            <a:endParaRPr lang="en-US" sz="825" dirty="0"/>
          </a:p>
          <a:p>
            <a:pPr marL="457200" indent="-457200" algn="just">
              <a:buFont typeface="+mj-lt"/>
              <a:buAutoNum type="arabicPeriod"/>
              <a:defRPr/>
            </a:pPr>
            <a:endParaRPr lang="en-US" sz="825" dirty="0"/>
          </a:p>
          <a:p>
            <a:pPr marL="457200" indent="-457200" algn="just">
              <a:buFont typeface="+mj-lt"/>
              <a:buAutoNum type="arabicPeriod"/>
              <a:defRPr/>
            </a:pPr>
            <a:endParaRPr lang="en-ZA" sz="825"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066B1094-8438-3761-4962-82C47192F669}"/>
              </a:ext>
            </a:extLst>
          </p:cNvPr>
          <p:cNvSpPr>
            <a:spLocks noGrp="1"/>
          </p:cNvSpPr>
          <p:nvPr>
            <p:ph type="title"/>
          </p:nvPr>
        </p:nvSpPr>
        <p:spPr>
          <a:xfrm>
            <a:off x="1865313" y="398463"/>
            <a:ext cx="6870700" cy="844550"/>
          </a:xfrm>
        </p:spPr>
        <p:txBody>
          <a:bodyPr/>
          <a:lstStyle/>
          <a:p>
            <a:r>
              <a:rPr lang="en-ZA" altLang="en-US" sz="1600"/>
              <a:t>CONDITIONS OF CONTRACT (JOB CREATION)</a:t>
            </a:r>
            <a:br>
              <a:rPr lang="en-ZA" altLang="en-US" sz="1600"/>
            </a:br>
            <a:r>
              <a:rPr lang="en-ZA" altLang="en-US" sz="1600"/>
              <a:t>(Page 50 of 53 of the RFP)</a:t>
            </a:r>
            <a:br>
              <a:rPr lang="en-ZA" altLang="en-US" sz="1600">
                <a:solidFill>
                  <a:schemeClr val="tx1"/>
                </a:solidFill>
              </a:rPr>
            </a:br>
            <a:br>
              <a:rPr lang="en-ZA" altLang="en-US" sz="1600"/>
            </a:br>
            <a:endParaRPr lang="en-ZA" altLang="en-US" sz="1500"/>
          </a:p>
        </p:txBody>
      </p:sp>
      <p:sp>
        <p:nvSpPr>
          <p:cNvPr id="3" name="Content Placeholder 2">
            <a:extLst>
              <a:ext uri="{FF2B5EF4-FFF2-40B4-BE49-F238E27FC236}">
                <a16:creationId xmlns:a16="http://schemas.microsoft.com/office/drawing/2014/main" id="{B8361ADA-C5C5-ED03-2E3A-48C31E2C41C4}"/>
              </a:ext>
            </a:extLst>
          </p:cNvPr>
          <p:cNvSpPr>
            <a:spLocks noGrp="1"/>
          </p:cNvSpPr>
          <p:nvPr>
            <p:ph idx="1"/>
          </p:nvPr>
        </p:nvSpPr>
        <p:spPr>
          <a:xfrm>
            <a:off x="1792288" y="1309689"/>
            <a:ext cx="8228012" cy="6588125"/>
          </a:xfrm>
        </p:spPr>
        <p:txBody>
          <a:bodyPr>
            <a:spAutoFit/>
          </a:bodyPr>
          <a:lstStyle/>
          <a:p>
            <a:pPr marL="0" indent="0">
              <a:buNone/>
              <a:defRPr/>
            </a:pPr>
            <a:r>
              <a:rPr lang="en-ZA" sz="1300" b="1" dirty="0"/>
              <a:t>Job creation and preservation </a:t>
            </a:r>
          </a:p>
          <a:p>
            <a:pPr marL="0" indent="0">
              <a:buNone/>
              <a:defRPr/>
            </a:pPr>
            <a:endParaRPr lang="en-ZA" sz="1300" dirty="0"/>
          </a:p>
          <a:p>
            <a:pPr marL="0" indent="0">
              <a:buNone/>
              <a:defRPr/>
            </a:pPr>
            <a:r>
              <a:rPr lang="en-US" sz="1300" b="1" dirty="0"/>
              <a:t>Job Creation Plan </a:t>
            </a:r>
            <a:r>
              <a:rPr lang="en-US" sz="1300" dirty="0"/>
              <a:t>is required as an essential returnable document. </a:t>
            </a:r>
          </a:p>
          <a:p>
            <a:pPr marL="0" indent="0">
              <a:buNone/>
              <a:defRPr/>
            </a:pPr>
            <a:endParaRPr lang="en-US" sz="1300" dirty="0"/>
          </a:p>
          <a:p>
            <a:pPr marL="0" indent="0">
              <a:buNone/>
              <a:defRPr/>
            </a:pPr>
            <a:r>
              <a:rPr lang="en-ZA" sz="1300" b="1" dirty="0"/>
              <a:t>Note: </a:t>
            </a:r>
          </a:p>
          <a:p>
            <a:pPr marL="0" indent="0">
              <a:buNone/>
              <a:defRPr/>
            </a:pPr>
            <a:endParaRPr lang="en-ZA" sz="1300" dirty="0"/>
          </a:p>
          <a:p>
            <a:pPr>
              <a:defRPr/>
            </a:pPr>
            <a:r>
              <a:rPr lang="en-US" sz="1300" dirty="0"/>
              <a:t>Bidders are to note that job creation plan will not be for evaluation purpose but will be negotiated with the winning bidder at the time of award. </a:t>
            </a:r>
          </a:p>
          <a:p>
            <a:pPr marL="0" indent="0">
              <a:buNone/>
              <a:defRPr/>
            </a:pPr>
            <a:endParaRPr lang="en-US" sz="1300" dirty="0"/>
          </a:p>
          <a:p>
            <a:pPr>
              <a:defRPr/>
            </a:pPr>
            <a:r>
              <a:rPr lang="en-US" sz="1300" dirty="0"/>
              <a:t>The bidder must acknowledge its responsibility to actively support and implement initiatives that advance Broad-Based Black Economic Empowerment (B-BBEE), Job in alignment with applicable Government policies and Transnet’s strategic priorities. </a:t>
            </a:r>
          </a:p>
          <a:p>
            <a:pPr marL="0" indent="0">
              <a:buNone/>
              <a:defRPr/>
            </a:pPr>
            <a:endParaRPr lang="en-US" sz="1300" dirty="0"/>
          </a:p>
          <a:p>
            <a:pPr>
              <a:defRPr/>
            </a:pPr>
            <a:r>
              <a:rPr lang="en-US" sz="1300" dirty="0"/>
              <a:t>The bidder must submit a detailed plan on how to the initiatives will be implemented and will be monitored by ESD. Transnet Freight Rail reserves the right to negotiate these initiatives over and above the specific set above. </a:t>
            </a:r>
          </a:p>
          <a:p>
            <a:pPr marL="0" indent="0">
              <a:buNone/>
              <a:defRPr/>
            </a:pPr>
            <a:endParaRPr lang="en-US" sz="1300" dirty="0"/>
          </a:p>
          <a:p>
            <a:pPr>
              <a:defRPr/>
            </a:pPr>
            <a:r>
              <a:rPr lang="en-US" sz="1300" dirty="0"/>
              <a:t>A percentage of the contract value will be determined and reserved for the advancement of designated groups through job opportunities. The percentage determined shall not be lower than 10% of the total contract value. </a:t>
            </a:r>
          </a:p>
          <a:p>
            <a:pPr marL="0" indent="0">
              <a:buNone/>
              <a:defRPr/>
            </a:pPr>
            <a:endParaRPr lang="en-US" sz="1300" dirty="0"/>
          </a:p>
          <a:p>
            <a:pPr>
              <a:defRPr/>
            </a:pPr>
            <a:r>
              <a:rPr lang="en-US" sz="1300" dirty="0"/>
              <a:t>The bidders must note that </a:t>
            </a:r>
            <a:r>
              <a:rPr lang="en-US" sz="1300" b="1" dirty="0"/>
              <a:t>THE INCLUSION OF SUBCONTACTING AS A CONDITION OF CONTRACT REQUIREMENT CANNOT BE USED FOR PURPOSES OF EVALUATION. </a:t>
            </a:r>
            <a:endParaRPr lang="en-US" sz="1300" dirty="0"/>
          </a:p>
          <a:p>
            <a:pPr marL="457200" indent="-457200" algn="just">
              <a:buFont typeface="+mj-lt"/>
              <a:buAutoNum type="arabicPeriod"/>
              <a:defRPr/>
            </a:pPr>
            <a:endParaRPr lang="en-US" sz="1200" dirty="0"/>
          </a:p>
          <a:p>
            <a:pPr marL="457200" indent="-457200" algn="just">
              <a:buFont typeface="+mj-lt"/>
              <a:buAutoNum type="arabicPeriod"/>
              <a:defRPr/>
            </a:pPr>
            <a:endParaRPr lang="en-US" sz="1200" dirty="0"/>
          </a:p>
          <a:p>
            <a:pPr marL="457200" indent="-457200" algn="just">
              <a:buFont typeface="+mj-lt"/>
              <a:buAutoNum type="arabicPeriod"/>
              <a:defRPr/>
            </a:pPr>
            <a:endParaRPr lang="en-US" sz="1200" dirty="0"/>
          </a:p>
          <a:p>
            <a:pPr marL="457200" indent="-457200" algn="just">
              <a:buFont typeface="+mj-lt"/>
              <a:buAutoNum type="arabicPeriod"/>
              <a:defRPr/>
            </a:pPr>
            <a:endParaRPr lang="en-US" sz="1200" dirty="0"/>
          </a:p>
          <a:p>
            <a:pPr marL="457200" indent="-457200" algn="just">
              <a:buFont typeface="+mj-lt"/>
              <a:buAutoNum type="arabicPeriod"/>
              <a:defRPr/>
            </a:pPr>
            <a:endParaRPr lang="en-US" sz="800" dirty="0"/>
          </a:p>
          <a:p>
            <a:pPr marL="457200" indent="-457200" algn="just">
              <a:buFont typeface="+mj-lt"/>
              <a:buAutoNum type="arabicPeriod"/>
              <a:defRPr/>
            </a:pPr>
            <a:endParaRPr lang="en-US" sz="800" dirty="0"/>
          </a:p>
          <a:p>
            <a:pPr marL="457200" indent="-457200" algn="just">
              <a:buFont typeface="+mj-lt"/>
              <a:buAutoNum type="arabicPeriod"/>
              <a:defRPr/>
            </a:pPr>
            <a:endParaRPr lang="en-ZA" sz="825"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171FEA68-13D1-E089-25DE-53C9D246F6C0}"/>
              </a:ext>
            </a:extLst>
          </p:cNvPr>
          <p:cNvSpPr>
            <a:spLocks noGrp="1"/>
          </p:cNvSpPr>
          <p:nvPr>
            <p:ph type="title"/>
          </p:nvPr>
        </p:nvSpPr>
        <p:spPr>
          <a:xfrm>
            <a:off x="1792288" y="261939"/>
            <a:ext cx="6870700" cy="854075"/>
          </a:xfrm>
        </p:spPr>
        <p:txBody>
          <a:bodyPr/>
          <a:lstStyle/>
          <a:p>
            <a:r>
              <a:rPr lang="en-ZA" altLang="en-US" sz="1600"/>
              <a:t>CONDITIONS OF CONTRACT (POSSIBLE SUBCONTRATING OPPORTUNITIES) ANNEXURE K </a:t>
            </a:r>
            <a:br>
              <a:rPr lang="en-ZA" altLang="en-US"/>
            </a:br>
            <a:endParaRPr lang="en-ZA" altLang="en-US" sz="1500"/>
          </a:p>
        </p:txBody>
      </p:sp>
      <p:sp>
        <p:nvSpPr>
          <p:cNvPr id="3" name="Content Placeholder 2">
            <a:extLst>
              <a:ext uri="{FF2B5EF4-FFF2-40B4-BE49-F238E27FC236}">
                <a16:creationId xmlns:a16="http://schemas.microsoft.com/office/drawing/2014/main" id="{4907DB08-6EA5-26CA-847F-F6493AC0D422}"/>
              </a:ext>
            </a:extLst>
          </p:cNvPr>
          <p:cNvSpPr>
            <a:spLocks noGrp="1"/>
          </p:cNvSpPr>
          <p:nvPr>
            <p:ph idx="1"/>
          </p:nvPr>
        </p:nvSpPr>
        <p:spPr>
          <a:xfrm>
            <a:off x="1719263" y="688976"/>
            <a:ext cx="8228012" cy="6208713"/>
          </a:xfrm>
        </p:spPr>
        <p:txBody>
          <a:bodyPr>
            <a:spAutoFit/>
          </a:bodyPr>
          <a:lstStyle/>
          <a:p>
            <a:pPr marL="0" indent="0">
              <a:buNone/>
              <a:defRPr/>
            </a:pPr>
            <a:endParaRPr lang="en-ZA" sz="1300" dirty="0"/>
          </a:p>
          <a:p>
            <a:pPr>
              <a:defRPr/>
            </a:pPr>
            <a:r>
              <a:rPr lang="en-US" sz="1300" dirty="0"/>
              <a:t>The bidder will be required to sub-contract a minimum of 30%. </a:t>
            </a:r>
          </a:p>
          <a:p>
            <a:pPr>
              <a:defRPr/>
            </a:pPr>
            <a:endParaRPr lang="en-US" sz="1300" dirty="0"/>
          </a:p>
          <a:p>
            <a:pPr>
              <a:defRPr/>
            </a:pPr>
            <a:r>
              <a:rPr lang="en-US" sz="1300" dirty="0"/>
              <a:t>The bidder must submit a detailed plan on how to the initiatives will be implemented and will be monitored by ESD.</a:t>
            </a:r>
          </a:p>
          <a:p>
            <a:pPr>
              <a:defRPr/>
            </a:pPr>
            <a:endParaRPr lang="en-US" sz="1300" dirty="0"/>
          </a:p>
          <a:p>
            <a:pPr>
              <a:defRPr/>
            </a:pPr>
            <a:r>
              <a:rPr lang="en-US" sz="1300" dirty="0"/>
              <a:t>Transnet Freight Rail reserves the right to negotiate these initiatives over and above the specific set above. </a:t>
            </a:r>
          </a:p>
          <a:p>
            <a:pPr>
              <a:defRPr/>
            </a:pPr>
            <a:endParaRPr lang="en-US" sz="1300" dirty="0"/>
          </a:p>
          <a:p>
            <a:pPr>
              <a:defRPr/>
            </a:pPr>
            <a:r>
              <a:rPr lang="en-US" sz="1300" dirty="0"/>
              <a:t>Subcontracting as a condition of contract for contracts </a:t>
            </a:r>
            <a:r>
              <a:rPr lang="en-US" sz="1300" b="1" dirty="0"/>
              <a:t>above 10 million</a:t>
            </a:r>
            <a:r>
              <a:rPr lang="en-US" sz="1300" dirty="0"/>
              <a:t>: A minimum of 30% mandatory subcontracting to contracts with a total value of 10 million and above. </a:t>
            </a:r>
          </a:p>
          <a:p>
            <a:pPr>
              <a:defRPr/>
            </a:pPr>
            <a:endParaRPr lang="en-US" sz="1300" dirty="0"/>
          </a:p>
          <a:p>
            <a:pPr>
              <a:defRPr/>
            </a:pPr>
            <a:r>
              <a:rPr lang="en-US" sz="1300" dirty="0"/>
              <a:t>If an opportunity has been identified to apply subcontracting as a condition of the contract to advance certain designated groups in a transaction. A subcontracting a minimum 30% to an EME (Exempted Micro Enterprise) and QSE (Qualifying Small Enterprise) which is: </a:t>
            </a:r>
          </a:p>
          <a:p>
            <a:pPr marL="0" indent="0">
              <a:buNone/>
              <a:defRPr/>
            </a:pPr>
            <a:endParaRPr lang="en-US" sz="1300" dirty="0"/>
          </a:p>
          <a:p>
            <a:pPr lvl="1">
              <a:buFont typeface="Arial" panose="020B0604020202020204" pitchFamily="34" charset="0"/>
              <a:buChar char="•"/>
              <a:defRPr/>
            </a:pPr>
            <a:r>
              <a:rPr lang="en-US" sz="1300" dirty="0"/>
              <a:t>At least 51% owned by black people </a:t>
            </a:r>
          </a:p>
          <a:p>
            <a:pPr lvl="1">
              <a:buFont typeface="Arial" panose="020B0604020202020204" pitchFamily="34" charset="0"/>
              <a:buChar char="•"/>
              <a:defRPr/>
            </a:pPr>
            <a:r>
              <a:rPr lang="en-US" sz="1300" dirty="0"/>
              <a:t>At least 51% owned by black people who are youth </a:t>
            </a:r>
          </a:p>
          <a:p>
            <a:pPr lvl="1">
              <a:buFont typeface="Arial" panose="020B0604020202020204" pitchFamily="34" charset="0"/>
              <a:buChar char="•"/>
              <a:defRPr/>
            </a:pPr>
            <a:r>
              <a:rPr lang="en-US" sz="1300" dirty="0"/>
              <a:t>At least 51% owned by black people who are women </a:t>
            </a:r>
          </a:p>
          <a:p>
            <a:pPr lvl="1">
              <a:buFont typeface="Arial" panose="020B0604020202020204" pitchFamily="34" charset="0"/>
              <a:buChar char="•"/>
              <a:defRPr/>
            </a:pPr>
            <a:r>
              <a:rPr lang="en-US" sz="1300" dirty="0"/>
              <a:t>At least 51% owned by black people with disabilities </a:t>
            </a:r>
          </a:p>
          <a:p>
            <a:pPr lvl="1">
              <a:buFont typeface="Arial" panose="020B0604020202020204" pitchFamily="34" charset="0"/>
              <a:buChar char="•"/>
              <a:defRPr/>
            </a:pPr>
            <a:r>
              <a:rPr lang="en-US" sz="1300" dirty="0"/>
              <a:t>51% owned by black people living in the rural or underdevelopment areas or townships </a:t>
            </a:r>
          </a:p>
          <a:p>
            <a:pPr lvl="1">
              <a:buFont typeface="Arial" panose="020B0604020202020204" pitchFamily="34" charset="0"/>
              <a:buChar char="•"/>
              <a:defRPr/>
            </a:pPr>
            <a:r>
              <a:rPr lang="en-US" sz="1300" dirty="0"/>
              <a:t>A co-operative which is at least 51% owned by black people </a:t>
            </a:r>
          </a:p>
          <a:p>
            <a:pPr lvl="1">
              <a:buFont typeface="Arial" panose="020B0604020202020204" pitchFamily="34" charset="0"/>
              <a:buChar char="•"/>
              <a:defRPr/>
            </a:pPr>
            <a:endParaRPr lang="en-US" sz="1300" dirty="0"/>
          </a:p>
          <a:p>
            <a:pPr>
              <a:defRPr/>
            </a:pPr>
            <a:r>
              <a:rPr lang="en-US" sz="1300" dirty="0"/>
              <a:t>The bidders must note that </a:t>
            </a:r>
            <a:r>
              <a:rPr lang="en-US" sz="1300" b="1" dirty="0"/>
              <a:t>THE INCLUSION OF SUBCONTACTING AS A CONDITION OF CONTRACT REQUIREMENT CANNOT BE USED FOR PURPOSES OF EVALUATION. </a:t>
            </a:r>
            <a:endParaRPr lang="en-US" sz="1300" dirty="0"/>
          </a:p>
          <a:p>
            <a:pPr marL="457200" indent="-457200" algn="just">
              <a:buFont typeface="+mj-lt"/>
              <a:buAutoNum type="arabicPeriod"/>
              <a:defRPr/>
            </a:pPr>
            <a:endParaRPr lang="en-US" sz="800" dirty="0"/>
          </a:p>
          <a:p>
            <a:pPr marL="457200" indent="-457200" algn="just">
              <a:buFont typeface="+mj-lt"/>
              <a:buAutoNum type="arabicPeriod"/>
              <a:defRPr/>
            </a:pPr>
            <a:endParaRPr lang="en-US" sz="800" dirty="0"/>
          </a:p>
          <a:p>
            <a:pPr marL="457200" indent="-457200" algn="just">
              <a:buFont typeface="+mj-lt"/>
              <a:buAutoNum type="arabicPeriod"/>
              <a:defRPr/>
            </a:pPr>
            <a:endParaRPr lang="en-US" sz="800" dirty="0"/>
          </a:p>
          <a:p>
            <a:pPr marL="457200" indent="-457200" algn="just">
              <a:buFont typeface="+mj-lt"/>
              <a:buAutoNum type="arabicPeriod"/>
              <a:defRPr/>
            </a:pPr>
            <a:endParaRPr lang="en-ZA" sz="825"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4E41224A-92D4-C42F-AA3F-09A5BF213A72}"/>
              </a:ext>
            </a:extLst>
          </p:cNvPr>
          <p:cNvSpPr>
            <a:spLocks noGrp="1"/>
          </p:cNvSpPr>
          <p:nvPr>
            <p:ph type="title"/>
          </p:nvPr>
        </p:nvSpPr>
        <p:spPr>
          <a:xfrm>
            <a:off x="1792288" y="439739"/>
            <a:ext cx="7224712" cy="854075"/>
          </a:xfrm>
        </p:spPr>
        <p:txBody>
          <a:bodyPr/>
          <a:lstStyle/>
          <a:p>
            <a:r>
              <a:rPr lang="en-US" altLang="en-US"/>
              <a:t>SUBCONTRACTING SPECIFIC GOALS POINTS CLAIM FORM AS PAGE 47 OF 53, SECTION 9</a:t>
            </a:r>
            <a:br>
              <a:rPr lang="en-ZA" altLang="en-US"/>
            </a:br>
            <a:endParaRPr lang="en-ZA" altLang="en-US" sz="1500"/>
          </a:p>
        </p:txBody>
      </p:sp>
      <p:sp>
        <p:nvSpPr>
          <p:cNvPr id="3" name="Content Placeholder 2">
            <a:extLst>
              <a:ext uri="{FF2B5EF4-FFF2-40B4-BE49-F238E27FC236}">
                <a16:creationId xmlns:a16="http://schemas.microsoft.com/office/drawing/2014/main" id="{B8874424-8B2A-DDE9-67FC-723BC539E036}"/>
              </a:ext>
            </a:extLst>
          </p:cNvPr>
          <p:cNvSpPr>
            <a:spLocks noGrp="1"/>
          </p:cNvSpPr>
          <p:nvPr>
            <p:ph idx="1"/>
          </p:nvPr>
        </p:nvSpPr>
        <p:spPr>
          <a:xfrm>
            <a:off x="1719263" y="1082676"/>
            <a:ext cx="8228012" cy="887413"/>
          </a:xfrm>
        </p:spPr>
        <p:txBody>
          <a:bodyPr>
            <a:spAutoFit/>
          </a:bodyPr>
          <a:lstStyle/>
          <a:p>
            <a:pPr marL="0" indent="0" algn="just">
              <a:buNone/>
              <a:defRPr/>
            </a:pPr>
            <a:endParaRPr lang="en-US" sz="1300" dirty="0"/>
          </a:p>
          <a:p>
            <a:pPr marL="457200" indent="-457200" algn="just">
              <a:buFont typeface="+mj-lt"/>
              <a:buAutoNum type="arabicPeriod"/>
              <a:defRPr/>
            </a:pPr>
            <a:endParaRPr lang="en-US" sz="800" dirty="0"/>
          </a:p>
          <a:p>
            <a:pPr marL="457200" indent="-457200" algn="just">
              <a:buFont typeface="+mj-lt"/>
              <a:buAutoNum type="arabicPeriod"/>
              <a:defRPr/>
            </a:pPr>
            <a:endParaRPr lang="en-US" sz="800" dirty="0"/>
          </a:p>
          <a:p>
            <a:pPr marL="457200" indent="-457200" algn="just">
              <a:buFont typeface="+mj-lt"/>
              <a:buAutoNum type="arabicPeriod"/>
              <a:defRPr/>
            </a:pPr>
            <a:endParaRPr lang="en-US" sz="800" dirty="0"/>
          </a:p>
          <a:p>
            <a:pPr marL="457200" indent="-457200" algn="just">
              <a:buFont typeface="+mj-lt"/>
              <a:buAutoNum type="arabicPeriod"/>
              <a:defRPr/>
            </a:pPr>
            <a:endParaRPr lang="en-ZA" sz="825" dirty="0"/>
          </a:p>
        </p:txBody>
      </p:sp>
      <p:pic>
        <p:nvPicPr>
          <p:cNvPr id="18436" name="Picture 5">
            <a:extLst>
              <a:ext uri="{FF2B5EF4-FFF2-40B4-BE49-F238E27FC236}">
                <a16:creationId xmlns:a16="http://schemas.microsoft.com/office/drawing/2014/main" id="{4530FE64-0671-988A-3243-8EAF25615C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5475" y="1293814"/>
            <a:ext cx="8051800" cy="257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7" name="Picture 7">
            <a:extLst>
              <a:ext uri="{FF2B5EF4-FFF2-40B4-BE49-F238E27FC236}">
                <a16:creationId xmlns:a16="http://schemas.microsoft.com/office/drawing/2014/main" id="{742D8B5B-87B9-A5CB-6B3E-FB2B956368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5475" y="3873500"/>
            <a:ext cx="8129588" cy="227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80A40E09-B06D-B0E4-644B-4D85C0C2BA92}"/>
              </a:ext>
            </a:extLst>
          </p:cNvPr>
          <p:cNvSpPr>
            <a:spLocks noGrp="1"/>
          </p:cNvSpPr>
          <p:nvPr>
            <p:ph type="title"/>
          </p:nvPr>
        </p:nvSpPr>
        <p:spPr/>
        <p:txBody>
          <a:bodyPr/>
          <a:lstStyle/>
          <a:p>
            <a:r>
              <a:rPr lang="en-US" altLang="en-US" sz="1800"/>
              <a:t>EVALUATIONS &amp; MAXIMUM POINTS</a:t>
            </a:r>
            <a:endParaRPr lang="en-ZA" altLang="en-US" sz="1800"/>
          </a:p>
        </p:txBody>
      </p:sp>
      <p:sp>
        <p:nvSpPr>
          <p:cNvPr id="3" name="Content Placeholder 2">
            <a:extLst>
              <a:ext uri="{FF2B5EF4-FFF2-40B4-BE49-F238E27FC236}">
                <a16:creationId xmlns:a16="http://schemas.microsoft.com/office/drawing/2014/main" id="{89DB24A9-CE67-5724-E462-28EDED9DFD3A}"/>
              </a:ext>
            </a:extLst>
          </p:cNvPr>
          <p:cNvSpPr>
            <a:spLocks noGrp="1"/>
          </p:cNvSpPr>
          <p:nvPr>
            <p:ph idx="1"/>
          </p:nvPr>
        </p:nvSpPr>
        <p:spPr>
          <a:xfrm>
            <a:off x="1941513" y="1712914"/>
            <a:ext cx="8228012" cy="371475"/>
          </a:xfrm>
        </p:spPr>
        <p:txBody>
          <a:bodyPr>
            <a:spAutoFit/>
          </a:bodyPr>
          <a:lstStyle/>
          <a:p>
            <a:pPr marL="128588" indent="-128588" defTabSz="342900">
              <a:buFont typeface="Arial" panose="020B0604020202020204" pitchFamily="34" charset="0"/>
              <a:buChar char="•"/>
              <a:defRPr/>
            </a:pPr>
            <a:endParaRPr lang="en-US" sz="825" dirty="0"/>
          </a:p>
          <a:p>
            <a:pPr marL="128588" indent="-128588" defTabSz="342900">
              <a:buFont typeface="Arial" panose="020B0604020202020204" pitchFamily="34" charset="0"/>
              <a:buChar char="•"/>
              <a:defRPr/>
            </a:pPr>
            <a:endParaRPr lang="en-US" sz="825" dirty="0"/>
          </a:p>
        </p:txBody>
      </p:sp>
      <p:graphicFrame>
        <p:nvGraphicFramePr>
          <p:cNvPr id="2" name="Table 1">
            <a:extLst>
              <a:ext uri="{FF2B5EF4-FFF2-40B4-BE49-F238E27FC236}">
                <a16:creationId xmlns:a16="http://schemas.microsoft.com/office/drawing/2014/main" id="{E9C1BC7D-74B8-9451-74A5-09B6E7A046DF}"/>
              </a:ext>
            </a:extLst>
          </p:cNvPr>
          <p:cNvGraphicFramePr>
            <a:graphicFrameLocks noGrp="1"/>
          </p:cNvGraphicFramePr>
          <p:nvPr/>
        </p:nvGraphicFramePr>
        <p:xfrm>
          <a:off x="2022475" y="1273176"/>
          <a:ext cx="7724776" cy="4722813"/>
        </p:xfrm>
        <a:graphic>
          <a:graphicData uri="http://schemas.openxmlformats.org/drawingml/2006/table">
            <a:tbl>
              <a:tblPr firstRow="1" firstCol="1" bandRow="1">
                <a:tableStyleId>{5C22544A-7EE6-4342-B048-85BDC9FD1C3A}</a:tableStyleId>
              </a:tblPr>
              <a:tblGrid>
                <a:gridCol w="3533702">
                  <a:extLst>
                    <a:ext uri="{9D8B030D-6E8A-4147-A177-3AD203B41FA5}">
                      <a16:colId xmlns:a16="http://schemas.microsoft.com/office/drawing/2014/main" val="20000"/>
                    </a:ext>
                  </a:extLst>
                </a:gridCol>
                <a:gridCol w="2095537">
                  <a:extLst>
                    <a:ext uri="{9D8B030D-6E8A-4147-A177-3AD203B41FA5}">
                      <a16:colId xmlns:a16="http://schemas.microsoft.com/office/drawing/2014/main" val="20001"/>
                    </a:ext>
                  </a:extLst>
                </a:gridCol>
                <a:gridCol w="2095537">
                  <a:extLst>
                    <a:ext uri="{9D8B030D-6E8A-4147-A177-3AD203B41FA5}">
                      <a16:colId xmlns:a16="http://schemas.microsoft.com/office/drawing/2014/main" val="20002"/>
                    </a:ext>
                  </a:extLst>
                </a:gridCol>
              </a:tblGrid>
              <a:tr h="747511">
                <a:tc>
                  <a:txBody>
                    <a:bodyPr/>
                    <a:lstStyle/>
                    <a:p>
                      <a:pPr>
                        <a:lnSpc>
                          <a:spcPct val="150000"/>
                        </a:lnSpc>
                        <a:spcAft>
                          <a:spcPts val="600"/>
                        </a:spcAft>
                      </a:pPr>
                      <a:r>
                        <a:rPr lang="en-ZA" sz="1600" b="1" dirty="0">
                          <a:effectLst/>
                        </a:rPr>
                        <a:t>Selected Specific Goal</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marL="0" marR="0" lvl="0" indent="0" algn="ctr" defTabSz="457200" rtl="0" eaLnBrk="1" fontAlgn="auto" latinLnBrk="0" hangingPunct="1">
                        <a:lnSpc>
                          <a:spcPct val="150000"/>
                        </a:lnSpc>
                        <a:spcBef>
                          <a:spcPts val="0"/>
                        </a:spcBef>
                        <a:spcAft>
                          <a:spcPts val="600"/>
                        </a:spcAft>
                        <a:buClrTx/>
                        <a:buSzTx/>
                        <a:buFontTx/>
                        <a:buNone/>
                        <a:tabLst/>
                        <a:defRPr/>
                      </a:pPr>
                      <a:r>
                        <a:rPr lang="en-ZA" sz="1600" b="1" dirty="0">
                          <a:effectLst/>
                        </a:rPr>
                        <a:t>Number of points allocated (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algn="ctr">
                        <a:lnSpc>
                          <a:spcPct val="150000"/>
                        </a:lnSpc>
                        <a:spcAft>
                          <a:spcPts val="600"/>
                        </a:spcAft>
                      </a:pPr>
                      <a:r>
                        <a:rPr lang="en-ZA" sz="1600" b="1" dirty="0">
                          <a:effectLst/>
                        </a:rPr>
                        <a:t>Number of points allocated (1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extLst>
                  <a:ext uri="{0D108BD9-81ED-4DB2-BD59-A6C34878D82A}">
                    <a16:rowId xmlns:a16="http://schemas.microsoft.com/office/drawing/2014/main" val="10000"/>
                  </a:ext>
                </a:extLst>
              </a:tr>
              <a:tr h="476549">
                <a:tc>
                  <a:txBody>
                    <a:bodyPr/>
                    <a:lstStyle/>
                    <a:p>
                      <a:pPr>
                        <a:lnSpc>
                          <a:spcPct val="150000"/>
                        </a:lnSpc>
                        <a:spcAft>
                          <a:spcPts val="600"/>
                        </a:spcAft>
                      </a:pPr>
                      <a:r>
                        <a:rPr lang="en-ZA" sz="1600" b="1" kern="1200" dirty="0">
                          <a:effectLst/>
                        </a:rPr>
                        <a:t>B-BBEE Level of contributor 1 or 2</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algn="ctr">
                        <a:lnSpc>
                          <a:spcPct val="150000"/>
                        </a:lnSpc>
                        <a:spcAft>
                          <a:spcPts val="60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8</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algn="ctr">
                        <a:lnSpc>
                          <a:spcPct val="150000"/>
                        </a:lnSpc>
                        <a:spcAft>
                          <a:spcPts val="60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4</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extLst>
                  <a:ext uri="{0D108BD9-81ED-4DB2-BD59-A6C34878D82A}">
                    <a16:rowId xmlns:a16="http://schemas.microsoft.com/office/drawing/2014/main" val="10001"/>
                  </a:ext>
                </a:extLst>
              </a:tr>
              <a:tr h="79257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lt1"/>
                          </a:solidFill>
                          <a:latin typeface="+mn-lt"/>
                          <a:ea typeface="+mn-ea"/>
                          <a:cs typeface="+mn-cs"/>
                        </a:rPr>
                        <a:t>At least 30% Black women Owned entities 	</a:t>
                      </a:r>
                    </a:p>
                    <a:p>
                      <a:r>
                        <a:rPr lang="en-US" sz="1600" b="1" kern="1200" dirty="0">
                          <a:solidFill>
                            <a:schemeClr val="lt1"/>
                          </a:solidFill>
                          <a:effectLst/>
                          <a:latin typeface="+mn-lt"/>
                          <a:ea typeface="+mn-ea"/>
                          <a:cs typeface="+mn-cs"/>
                        </a:rPr>
                        <a:t>	</a:t>
                      </a:r>
                    </a:p>
                  </a:txBody>
                  <a:tcPr marL="68574" marR="68574" marT="0" marB="0"/>
                </a:tc>
                <a:tc>
                  <a:txBody>
                    <a:bodyPr/>
                    <a:lstStyle/>
                    <a:p>
                      <a:pPr algn="ctr">
                        <a:lnSpc>
                          <a:spcPct val="150000"/>
                        </a:lnSpc>
                        <a:spcAft>
                          <a:spcPts val="60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4</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algn="ctr">
                        <a:lnSpc>
                          <a:spcPct val="150000"/>
                        </a:lnSpc>
                        <a:spcAft>
                          <a:spcPts val="60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2</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extLst>
                  <a:ext uri="{0D108BD9-81ED-4DB2-BD59-A6C34878D82A}">
                    <a16:rowId xmlns:a16="http://schemas.microsoft.com/office/drawing/2014/main" val="10002"/>
                  </a:ext>
                </a:extLst>
              </a:tr>
              <a:tr h="87665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lt1"/>
                          </a:solidFill>
                          <a:latin typeface="+mn-lt"/>
                          <a:ea typeface="+mn-ea"/>
                          <a:cs typeface="+mn-cs"/>
                        </a:rPr>
                        <a:t>Entities that are at least 51 % Black Owned 		</a:t>
                      </a:r>
                    </a:p>
                    <a:p>
                      <a:pPr>
                        <a:lnSpc>
                          <a:spcPct val="150000"/>
                        </a:lnSpc>
                        <a:spcAft>
                          <a:spcPts val="600"/>
                        </a:spcAft>
                      </a:pP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algn="ctr">
                        <a:lnSpc>
                          <a:spcPct val="150000"/>
                        </a:lnSpc>
                        <a:spcAft>
                          <a:spcPts val="60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4</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algn="ctr">
                        <a:lnSpc>
                          <a:spcPct val="150000"/>
                        </a:lnSpc>
                        <a:spcAft>
                          <a:spcPts val="60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2</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extLst>
                  <a:ext uri="{0D108BD9-81ED-4DB2-BD59-A6C34878D82A}">
                    <a16:rowId xmlns:a16="http://schemas.microsoft.com/office/drawing/2014/main" val="10003"/>
                  </a:ext>
                </a:extLst>
              </a:tr>
              <a:tr h="1135767">
                <a:tc>
                  <a:txBody>
                    <a:bodyPr/>
                    <a:lstStyle/>
                    <a:p>
                      <a:pPr marL="0" marR="0" lvl="0" indent="0" algn="l" defTabSz="457200" rtl="0" eaLnBrk="1" fontAlgn="auto" latinLnBrk="0" hangingPunct="1">
                        <a:lnSpc>
                          <a:spcPct val="150000"/>
                        </a:lnSpc>
                        <a:spcBef>
                          <a:spcPts val="0"/>
                        </a:spcBef>
                        <a:spcAft>
                          <a:spcPts val="600"/>
                        </a:spcAft>
                        <a:buClrTx/>
                        <a:buSzTx/>
                        <a:buFontTx/>
                        <a:buNone/>
                        <a:tabLst/>
                        <a:defRPr/>
                      </a:pPr>
                      <a:r>
                        <a:rPr lang="en-US" sz="1600" b="1" kern="1200" dirty="0">
                          <a:solidFill>
                            <a:schemeClr val="lt1"/>
                          </a:solidFill>
                          <a:effectLst/>
                          <a:latin typeface="+mn-lt"/>
                          <a:ea typeface="+mn-ea"/>
                          <a:cs typeface="+mn-cs"/>
                        </a:rPr>
                        <a:t>Creation of jobs and labour intensification 	</a:t>
                      </a:r>
                    </a:p>
                    <a:p>
                      <a:pPr>
                        <a:lnSpc>
                          <a:spcPct val="150000"/>
                        </a:lnSpc>
                        <a:spcAft>
                          <a:spcPts val="600"/>
                        </a:spcAft>
                      </a:pP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algn="ctr">
                        <a:lnSpc>
                          <a:spcPct val="150000"/>
                        </a:lnSpc>
                        <a:spcAft>
                          <a:spcPts val="60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4</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algn="ctr">
                        <a:lnSpc>
                          <a:spcPct val="150000"/>
                        </a:lnSpc>
                        <a:spcAft>
                          <a:spcPts val="60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2</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extLst>
                  <a:ext uri="{0D108BD9-81ED-4DB2-BD59-A6C34878D82A}">
                    <a16:rowId xmlns:a16="http://schemas.microsoft.com/office/drawing/2014/main" val="10004"/>
                  </a:ext>
                </a:extLst>
              </a:tr>
              <a:tr h="693756">
                <a:tc>
                  <a:txBody>
                    <a:bodyPr/>
                    <a:lstStyle/>
                    <a:p>
                      <a:pPr>
                        <a:lnSpc>
                          <a:spcPct val="150000"/>
                        </a:lnSpc>
                        <a:spcAft>
                          <a:spcPts val="600"/>
                        </a:spcAft>
                      </a:pPr>
                      <a:r>
                        <a:rPr lang="en-ZA" sz="1600" b="1" dirty="0">
                          <a:effectLst/>
                        </a:rPr>
                        <a:t>Non-Compliant and/or B-BBEE Level 3-8 contributors</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algn="ctr">
                        <a:lnSpc>
                          <a:spcPct val="150000"/>
                        </a:lnSpc>
                        <a:spcAft>
                          <a:spcPts val="60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tc>
                  <a:txBody>
                    <a:bodyPr/>
                    <a:lstStyle/>
                    <a:p>
                      <a:pPr algn="ctr">
                        <a:lnSpc>
                          <a:spcPct val="150000"/>
                        </a:lnSpc>
                        <a:spcAft>
                          <a:spcPts val="600"/>
                        </a:spcAft>
                      </a:pPr>
                      <a:r>
                        <a:rPr lang="en-ZA" sz="1600" b="1" dirty="0">
                          <a:effectLst/>
                        </a:rPr>
                        <a:t>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74" marR="68574"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a:extLst>
              <a:ext uri="{FF2B5EF4-FFF2-40B4-BE49-F238E27FC236}">
                <a16:creationId xmlns:a16="http://schemas.microsoft.com/office/drawing/2014/main" id="{46F495E2-2940-AF21-8818-6851C403BF5C}"/>
              </a:ext>
            </a:extLst>
          </p:cNvPr>
          <p:cNvGraphicFramePr>
            <a:graphicFrameLocks noChangeAspect="1"/>
          </p:cNvGraphicFramePr>
          <p:nvPr>
            <p:custDataLst>
              <p:tags r:id="rId1"/>
            </p:custDataLst>
          </p:nvPr>
        </p:nvGraphicFramePr>
        <p:xfrm>
          <a:off x="2382839" y="85883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0482" name="Object 2" hidden="1">
                        <a:extLst>
                          <a:ext uri="{FF2B5EF4-FFF2-40B4-BE49-F238E27FC236}">
                            <a16:creationId xmlns:a16="http://schemas.microsoft.com/office/drawing/2014/main" id="{46F495E2-2940-AF21-8818-6851C403BF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8283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a:extLst>
              <a:ext uri="{FF2B5EF4-FFF2-40B4-BE49-F238E27FC236}">
                <a16:creationId xmlns:a16="http://schemas.microsoft.com/office/drawing/2014/main" id="{C88CB1ED-30BD-77B6-9E4E-928CF4855074}"/>
              </a:ext>
            </a:extLst>
          </p:cNvPr>
          <p:cNvSpPr>
            <a:spLocks noGrp="1"/>
          </p:cNvSpPr>
          <p:nvPr>
            <p:ph type="title"/>
          </p:nvPr>
        </p:nvSpPr>
        <p:spPr/>
        <p:txBody>
          <a:bodyPr/>
          <a:lstStyle/>
          <a:p>
            <a:pPr>
              <a:defRPr/>
            </a:pPr>
            <a:br>
              <a:rPr lang="en-ZA" sz="1350" dirty="0">
                <a:ea typeface="Tahoma" panose="020B0604030504040204" pitchFamily="34" charset="0"/>
                <a:cs typeface="Tahoma" panose="020B0604030504040204" pitchFamily="34" charset="0"/>
              </a:rPr>
            </a:br>
            <a:r>
              <a:rPr lang="en-ZA" sz="1350" dirty="0">
                <a:ea typeface="Tahoma" panose="020B0604030504040204" pitchFamily="34" charset="0"/>
                <a:cs typeface="Tahoma" panose="020B0604030504040204" pitchFamily="34" charset="0"/>
              </a:rPr>
              <a:t>				</a:t>
            </a: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r>
              <a:rPr lang="en-ZA" sz="1350" dirty="0">
                <a:ea typeface="Tahoma" panose="020B0604030504040204" pitchFamily="34" charset="0"/>
                <a:cs typeface="Tahoma" panose="020B0604030504040204" pitchFamily="34" charset="0"/>
              </a:rPr>
              <a:t>				</a:t>
            </a:r>
            <a:r>
              <a:rPr lang="en-ZA" sz="1600" dirty="0">
                <a:ea typeface="Tahoma" panose="020B0604030504040204" pitchFamily="34" charset="0"/>
                <a:cs typeface="Tahoma" panose="020B0604030504040204" pitchFamily="34" charset="0"/>
              </a:rPr>
              <a:t>SPECIFIC GOALS EVIDENCE</a:t>
            </a: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endParaRPr lang="en-ZA" sz="1350" dirty="0"/>
          </a:p>
        </p:txBody>
      </p:sp>
      <p:graphicFrame>
        <p:nvGraphicFramePr>
          <p:cNvPr id="2" name="Table 1">
            <a:extLst>
              <a:ext uri="{FF2B5EF4-FFF2-40B4-BE49-F238E27FC236}">
                <a16:creationId xmlns:a16="http://schemas.microsoft.com/office/drawing/2014/main" id="{CCE46FD4-90CF-92B4-2BF8-E2EBD94F9E63}"/>
              </a:ext>
            </a:extLst>
          </p:cNvPr>
          <p:cNvGraphicFramePr>
            <a:graphicFrameLocks noGrp="1"/>
          </p:cNvGraphicFramePr>
          <p:nvPr/>
        </p:nvGraphicFramePr>
        <p:xfrm>
          <a:off x="1677989" y="1285875"/>
          <a:ext cx="8836025" cy="4760912"/>
        </p:xfrm>
        <a:graphic>
          <a:graphicData uri="http://schemas.openxmlformats.org/drawingml/2006/table">
            <a:tbl>
              <a:tblPr firstRow="1" firstCol="1" bandRow="1">
                <a:tableStyleId>{5C22544A-7EE6-4342-B048-85BDC9FD1C3A}</a:tableStyleId>
              </a:tblPr>
              <a:tblGrid>
                <a:gridCol w="3888623">
                  <a:extLst>
                    <a:ext uri="{9D8B030D-6E8A-4147-A177-3AD203B41FA5}">
                      <a16:colId xmlns:a16="http://schemas.microsoft.com/office/drawing/2014/main" val="20000"/>
                    </a:ext>
                  </a:extLst>
                </a:gridCol>
                <a:gridCol w="4947402">
                  <a:extLst>
                    <a:ext uri="{9D8B030D-6E8A-4147-A177-3AD203B41FA5}">
                      <a16:colId xmlns:a16="http://schemas.microsoft.com/office/drawing/2014/main" val="20001"/>
                    </a:ext>
                  </a:extLst>
                </a:gridCol>
              </a:tblGrid>
              <a:tr h="261440">
                <a:tc>
                  <a:txBody>
                    <a:bodyPr/>
                    <a:lstStyle/>
                    <a:p>
                      <a:pPr algn="just">
                        <a:lnSpc>
                          <a:spcPct val="115000"/>
                        </a:lnSpc>
                        <a:spcBef>
                          <a:spcPts val="300"/>
                        </a:spcBef>
                      </a:pPr>
                      <a:r>
                        <a:rPr lang="en-GB" sz="1600" dirty="0">
                          <a:effectLst/>
                        </a:rPr>
                        <a:t>Specific Goals</a:t>
                      </a:r>
                      <a:endParaRPr lang="en-ZA" sz="16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69" marR="68569" marT="0" marB="0" anchor="ctr"/>
                </a:tc>
                <a:tc>
                  <a:txBody>
                    <a:bodyPr/>
                    <a:lstStyle/>
                    <a:p>
                      <a:pPr algn="just">
                        <a:lnSpc>
                          <a:spcPct val="115000"/>
                        </a:lnSpc>
                        <a:spcBef>
                          <a:spcPts val="300"/>
                        </a:spcBef>
                      </a:pPr>
                      <a:r>
                        <a:rPr lang="en-GB" sz="1600" dirty="0">
                          <a:effectLst/>
                        </a:rPr>
                        <a:t>Acceptable Evidence</a:t>
                      </a:r>
                      <a:endParaRPr lang="en-ZA" sz="16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69" marR="68569" marT="0" marB="0" anchor="ctr"/>
                </a:tc>
                <a:extLst>
                  <a:ext uri="{0D108BD9-81ED-4DB2-BD59-A6C34878D82A}">
                    <a16:rowId xmlns:a16="http://schemas.microsoft.com/office/drawing/2014/main" val="10000"/>
                  </a:ext>
                </a:extLst>
              </a:tr>
              <a:tr h="1191939">
                <a:tc>
                  <a:txBody>
                    <a:bodyPr/>
                    <a:lstStyle/>
                    <a:p>
                      <a:pPr algn="l">
                        <a:lnSpc>
                          <a:spcPct val="150000"/>
                        </a:lnSpc>
                        <a:spcBef>
                          <a:spcPts val="300"/>
                        </a:spcBef>
                        <a:spcAft>
                          <a:spcPts val="0"/>
                        </a:spcAft>
                      </a:pPr>
                      <a:r>
                        <a:rPr lang="en-GB" sz="1600" b="1" kern="1200" dirty="0">
                          <a:solidFill>
                            <a:schemeClr val="lt1"/>
                          </a:solidFill>
                          <a:effectLst/>
                          <a:latin typeface="+mn-lt"/>
                          <a:ea typeface="+mn-ea"/>
                          <a:cs typeface="+mn-cs"/>
                        </a:rPr>
                        <a:t>B-BBEE </a:t>
                      </a:r>
                      <a:endParaRPr lang="en-ZA" sz="1600" b="1" kern="1200" dirty="0">
                        <a:solidFill>
                          <a:schemeClr val="lt1"/>
                        </a:solidFill>
                        <a:effectLst/>
                        <a:latin typeface="+mn-lt"/>
                        <a:ea typeface="+mn-ea"/>
                        <a:cs typeface="+mn-cs"/>
                      </a:endParaRPr>
                    </a:p>
                  </a:txBody>
                  <a:tcPr marL="68569" marR="68569" marT="0" marB="0" anchor="ctr"/>
                </a:tc>
                <a:tc>
                  <a:txBody>
                    <a:bodyPr/>
                    <a:lstStyle/>
                    <a:p>
                      <a:pPr algn="l">
                        <a:lnSpc>
                          <a:spcPct val="150000"/>
                        </a:lnSpc>
                        <a:spcBef>
                          <a:spcPts val="300"/>
                        </a:spcBef>
                        <a:spcAft>
                          <a:spcPts val="0"/>
                        </a:spcAft>
                      </a:pPr>
                      <a:r>
                        <a:rPr lang="en-GB" sz="1800" kern="1200" dirty="0">
                          <a:solidFill>
                            <a:schemeClr val="dk1"/>
                          </a:solidFill>
                          <a:effectLst/>
                          <a:latin typeface="+mn-lt"/>
                          <a:ea typeface="+mn-ea"/>
                          <a:cs typeface="+mn-cs"/>
                        </a:rPr>
                        <a:t>B-BBEE Certificate / Sworn- Affidavit / B-BBEE CIPC Certificate (in case of JV, a consolidated scorecard will be accepted) as per DTIC guideline </a:t>
                      </a:r>
                      <a:endParaRPr lang="en-ZA" sz="1800" kern="1200" dirty="0">
                        <a:solidFill>
                          <a:schemeClr val="dk1"/>
                        </a:solidFill>
                        <a:effectLst/>
                        <a:latin typeface="+mn-lt"/>
                        <a:ea typeface="+mn-ea"/>
                        <a:cs typeface="+mn-cs"/>
                      </a:endParaRPr>
                    </a:p>
                  </a:txBody>
                  <a:tcPr marL="68569" marR="68569" marT="0" marB="0" anchor="ctr"/>
                </a:tc>
                <a:extLst>
                  <a:ext uri="{0D108BD9-81ED-4DB2-BD59-A6C34878D82A}">
                    <a16:rowId xmlns:a16="http://schemas.microsoft.com/office/drawing/2014/main" val="10001"/>
                  </a:ext>
                </a:extLst>
              </a:tr>
              <a:tr h="1189145">
                <a:tc>
                  <a:txBody>
                    <a:bodyPr/>
                    <a:lstStyle/>
                    <a:p>
                      <a:pPr marL="0" algn="l" defTabSz="457200" rtl="0" eaLnBrk="1" latinLnBrk="0" hangingPunct="1">
                        <a:lnSpc>
                          <a:spcPct val="150000"/>
                        </a:lnSpc>
                        <a:spcBef>
                          <a:spcPts val="300"/>
                        </a:spcBef>
                        <a:spcAft>
                          <a:spcPts val="0"/>
                        </a:spcAft>
                      </a:pPr>
                      <a:r>
                        <a:rPr lang="en-US" sz="1600" b="1" kern="1200" dirty="0">
                          <a:solidFill>
                            <a:schemeClr val="lt1"/>
                          </a:solidFill>
                          <a:effectLst/>
                          <a:latin typeface="+mn-lt"/>
                          <a:ea typeface="+mn-ea"/>
                          <a:cs typeface="+mn-cs"/>
                        </a:rPr>
                        <a:t>Entities that are at least 30% Black</a:t>
                      </a:r>
                    </a:p>
                    <a:p>
                      <a:pPr marL="0" algn="l" defTabSz="457200" rtl="0" eaLnBrk="1" latinLnBrk="0" hangingPunct="1">
                        <a:lnSpc>
                          <a:spcPct val="150000"/>
                        </a:lnSpc>
                        <a:spcBef>
                          <a:spcPts val="300"/>
                        </a:spcBef>
                        <a:spcAft>
                          <a:spcPts val="0"/>
                        </a:spcAft>
                      </a:pPr>
                      <a:r>
                        <a:rPr lang="en-ZA" sz="1600" b="1" kern="1200" dirty="0">
                          <a:solidFill>
                            <a:schemeClr val="lt1"/>
                          </a:solidFill>
                          <a:effectLst/>
                          <a:latin typeface="+mn-lt"/>
                          <a:ea typeface="+mn-ea"/>
                          <a:cs typeface="+mn-cs"/>
                        </a:rPr>
                        <a:t>Women Owned</a:t>
                      </a:r>
                    </a:p>
                  </a:txBody>
                  <a:tcPr marL="68569" marR="68569" marT="0" marB="0" anchor="ctr"/>
                </a:tc>
                <a:tc>
                  <a:txBody>
                    <a:bodyPr/>
                    <a:lstStyle/>
                    <a:p>
                      <a:pPr algn="l">
                        <a:lnSpc>
                          <a:spcPct val="150000"/>
                        </a:lnSpc>
                        <a:spcBef>
                          <a:spcPts val="300"/>
                        </a:spcBef>
                        <a:spcAft>
                          <a:spcPts val="0"/>
                        </a:spcAft>
                      </a:pPr>
                      <a:r>
                        <a:rPr lang="en-GB" sz="1800" dirty="0">
                          <a:effectLst/>
                        </a:rPr>
                        <a:t>B-BBEE Certificate / Sworn- Affidavit / B-BBEE CIPC Certificate (in case of JV, a consolidated scorecard will be accepted) as per DTIC guideline </a:t>
                      </a:r>
                      <a:endParaRPr lang="en-ZA" sz="18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69" marR="68569" marT="0" marB="0" anchor="ctr"/>
                </a:tc>
                <a:extLst>
                  <a:ext uri="{0D108BD9-81ED-4DB2-BD59-A6C34878D82A}">
                    <a16:rowId xmlns:a16="http://schemas.microsoft.com/office/drawing/2014/main" val="10002"/>
                  </a:ext>
                </a:extLst>
              </a:tr>
              <a:tr h="1059194">
                <a:tc>
                  <a:txBody>
                    <a:bodyPr/>
                    <a:lstStyle/>
                    <a:p>
                      <a:r>
                        <a:rPr lang="en-US" sz="1600" b="1" kern="1200" dirty="0">
                          <a:solidFill>
                            <a:schemeClr val="lt1"/>
                          </a:solidFill>
                          <a:effectLst/>
                          <a:latin typeface="+mn-lt"/>
                          <a:ea typeface="+mn-ea"/>
                          <a:cs typeface="+mn-cs"/>
                        </a:rPr>
                        <a:t>Entities that are at least 51 % Black Owned 	</a:t>
                      </a:r>
                    </a:p>
                  </a:txBody>
                  <a:tcPr marL="68569" marR="68569" marT="0" marB="0" anchor="ctr"/>
                </a:tc>
                <a:tc>
                  <a:txBody>
                    <a:bodyPr/>
                    <a:lstStyle/>
                    <a:p>
                      <a:r>
                        <a:rPr lang="en-US" sz="1800" b="0" i="0" u="none" strike="noStrike" kern="1200" baseline="0" dirty="0">
                          <a:solidFill>
                            <a:schemeClr val="dk1"/>
                          </a:solidFill>
                          <a:latin typeface="+mn-lt"/>
                          <a:ea typeface="+mn-ea"/>
                          <a:cs typeface="+mn-cs"/>
                        </a:rPr>
                        <a:t>CI B-BBEE Certificate / Sworn- Affidavit / B-BBEE CIPC Certificate (in case of JV, a consolidated scorecard will be accepted) as per DTIC guideline </a:t>
                      </a:r>
                    </a:p>
                  </a:txBody>
                  <a:tcPr marL="68569" marR="68569" marT="0" marB="0" anchor="ctr"/>
                </a:tc>
                <a:extLst>
                  <a:ext uri="{0D108BD9-81ED-4DB2-BD59-A6C34878D82A}">
                    <a16:rowId xmlns:a16="http://schemas.microsoft.com/office/drawing/2014/main" val="10003"/>
                  </a:ext>
                </a:extLst>
              </a:tr>
              <a:tr h="105919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kern="1200" dirty="0">
                          <a:solidFill>
                            <a:schemeClr val="lt1"/>
                          </a:solidFill>
                          <a:effectLst/>
                          <a:latin typeface="+mn-lt"/>
                          <a:ea typeface="+mn-ea"/>
                          <a:cs typeface="+mn-cs"/>
                        </a:rPr>
                        <a:t>Creation of jobs and labour intensification 	</a:t>
                      </a:r>
                    </a:p>
                    <a:p>
                      <a:endParaRPr lang="en-US" sz="1600" b="1" kern="1200" dirty="0">
                        <a:solidFill>
                          <a:schemeClr val="lt1"/>
                        </a:solidFill>
                        <a:effectLst/>
                        <a:latin typeface="+mn-lt"/>
                        <a:ea typeface="+mn-ea"/>
                        <a:cs typeface="+mn-cs"/>
                      </a:endParaRPr>
                    </a:p>
                  </a:txBody>
                  <a:tcPr marL="68569" marR="68569" marT="0" marB="0"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Section 10: Job Creation Schedule Returnable documents ( of the RFP) 	</a:t>
                      </a:r>
                    </a:p>
                  </a:txBody>
                  <a:tcPr marL="68569" marR="68569" marT="0" marB="0" anchor="ctr"/>
                </a:tc>
                <a:extLst>
                  <a:ext uri="{0D108BD9-81ED-4DB2-BD59-A6C34878D82A}">
                    <a16:rowId xmlns:a16="http://schemas.microsoft.com/office/drawing/2014/main" val="10004"/>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ZA" altLang="en-US" dirty="0"/>
              <a:t>Questions &amp; Answers </a:t>
            </a:r>
          </a:p>
        </p:txBody>
      </p:sp>
      <p:sp>
        <p:nvSpPr>
          <p:cNvPr id="24579" name="Content Placeholder 2"/>
          <p:cNvSpPr>
            <a:spLocks noGrp="1"/>
          </p:cNvSpPr>
          <p:nvPr>
            <p:ph idx="1"/>
          </p:nvPr>
        </p:nvSpPr>
        <p:spPr>
          <a:xfrm>
            <a:off x="3781412" y="2203794"/>
            <a:ext cx="4132460" cy="953037"/>
          </a:xfrm>
        </p:spPr>
        <p:txBody>
          <a:bodyPr/>
          <a:lstStyle/>
          <a:p>
            <a:pPr marL="449263" lvl="1" indent="0">
              <a:buClr>
                <a:schemeClr val="tx1"/>
              </a:buClr>
              <a:buNone/>
              <a:defRPr/>
            </a:pPr>
            <a:endParaRPr lang="en-US" sz="1600" dirty="0">
              <a:solidFill>
                <a:schemeClr val="tx1"/>
              </a:solidFill>
            </a:endParaRPr>
          </a:p>
          <a:p>
            <a:pPr marL="449263" lvl="1" indent="0">
              <a:buClr>
                <a:schemeClr val="tx1"/>
              </a:buClr>
              <a:buNone/>
              <a:defRPr/>
            </a:pPr>
            <a:r>
              <a:rPr lang="en-US" sz="2800" dirty="0">
                <a:solidFill>
                  <a:schemeClr val="bg1">
                    <a:lumMod val="50000"/>
                  </a:schemeClr>
                </a:solidFill>
              </a:rPr>
              <a:t>Questions &amp; Answers </a:t>
            </a:r>
          </a:p>
        </p:txBody>
      </p:sp>
      <p:sp>
        <p:nvSpPr>
          <p:cNvPr id="11268"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CC0000"/>
              </a:buClr>
              <a:buFont typeface="Wingdings" panose="05000000000000000000" pitchFamily="2" charset="2"/>
              <a:buChar char="§"/>
              <a:defRPr sz="2000">
                <a:solidFill>
                  <a:schemeClr val="tx1"/>
                </a:solidFill>
                <a:latin typeface="Tahoma" panose="020B0604030504040204" pitchFamily="34" charset="0"/>
              </a:defRPr>
            </a:lvl1pPr>
            <a:lvl2pPr marL="742950" indent="-28575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2pPr>
            <a:lvl3pPr marL="11430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3pPr>
            <a:lvl4pPr marL="16002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4pPr>
            <a:lvl5pPr marL="20574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5pPr>
            <a:lvl6pPr marL="25146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6pPr>
            <a:lvl7pPr marL="29718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7pPr>
            <a:lvl8pPr marL="34290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8pPr>
            <a:lvl9pPr marL="38862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9pPr>
          </a:lstStyle>
          <a:p>
            <a:pPr>
              <a:spcBef>
                <a:spcPct val="0"/>
              </a:spcBef>
              <a:buClrTx/>
              <a:buFontTx/>
              <a:buNone/>
            </a:pPr>
            <a:fld id="{D2456E21-0180-454A-931D-DA2CB9D0900D}" type="slidenum">
              <a:rPr lang="en-US" altLang="en-US" sz="1200">
                <a:solidFill>
                  <a:schemeClr val="bg1"/>
                </a:solidFill>
              </a:rPr>
              <a:pPr>
                <a:spcBef>
                  <a:spcPct val="0"/>
                </a:spcBef>
                <a:buClrTx/>
                <a:buFontTx/>
                <a:buNone/>
              </a:pPr>
              <a:t>36</a:t>
            </a:fld>
            <a:endParaRPr lang="en-US" altLang="en-US" sz="1200">
              <a:solidFill>
                <a:schemeClr val="bg1"/>
              </a:solidFill>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14849" y="3082925"/>
            <a:ext cx="2621280" cy="3276600"/>
          </a:xfrm>
          <a:prstGeom prst="rect">
            <a:avLst/>
          </a:prstGeom>
        </p:spPr>
      </p:pic>
      <p:sp>
        <p:nvSpPr>
          <p:cNvPr id="6" name="TextBox 5"/>
          <p:cNvSpPr txBox="1"/>
          <p:nvPr/>
        </p:nvSpPr>
        <p:spPr>
          <a:xfrm>
            <a:off x="618755" y="1200482"/>
            <a:ext cx="10958729" cy="1323439"/>
          </a:xfrm>
          <a:prstGeom prst="rect">
            <a:avLst/>
          </a:prstGeom>
          <a:noFill/>
        </p:spPr>
        <p:txBody>
          <a:bodyPr wrap="square" rtlCol="0">
            <a:spAutoFit/>
          </a:bodyPr>
          <a:lstStyle/>
          <a:p>
            <a:pPr algn="ctr"/>
            <a:r>
              <a:rPr lang="en-ZA" sz="1600" b="1" dirty="0">
                <a:solidFill>
                  <a:srgbClr val="FF0000"/>
                </a:solidFill>
                <a:latin typeface="+mn-lt"/>
              </a:rPr>
              <a:t>Before accepting questions, all attendees are requested to repeat their name and company name and provide their </a:t>
            </a:r>
            <a:r>
              <a:rPr lang="en-ZA" sz="1600" b="1" dirty="0">
                <a:solidFill>
                  <a:srgbClr val="FF0000"/>
                </a:solidFill>
              </a:rPr>
              <a:t>email address, </a:t>
            </a:r>
            <a:r>
              <a:rPr lang="en-ZA" sz="1600" b="1" dirty="0">
                <a:solidFill>
                  <a:srgbClr val="FF0000"/>
                </a:solidFill>
                <a:latin typeface="+mn-lt"/>
              </a:rPr>
              <a:t>to be recorded by the presenter as proof of full attendance.</a:t>
            </a:r>
          </a:p>
          <a:p>
            <a:pPr algn="ctr"/>
            <a:r>
              <a:rPr lang="en-ZA" sz="1600" b="1" dirty="0">
                <a:solidFill>
                  <a:srgbClr val="FF0000"/>
                </a:solidFill>
                <a:latin typeface="+mn-lt"/>
              </a:rPr>
              <a:t>An e-mail confirming attendance will then be sent to the address provided as proof of attendance.</a:t>
            </a:r>
          </a:p>
          <a:p>
            <a:pPr algn="ctr"/>
            <a:r>
              <a:rPr lang="en-ZA" sz="1600" b="1" dirty="0">
                <a:solidFill>
                  <a:srgbClr val="FF0000"/>
                </a:solidFill>
              </a:rPr>
              <a:t>Bids without this e-mail will be rejected.  Bidders are advised to expect this e-mail and to approach the presenter if this e-mail is not received.</a:t>
            </a:r>
            <a:endParaRPr lang="en-ZA" sz="1600" b="1" dirty="0">
              <a:solidFill>
                <a:srgbClr val="FF0000"/>
              </a:solidFill>
              <a:latin typeface="+mn-lt"/>
            </a:endParaRPr>
          </a:p>
        </p:txBody>
      </p:sp>
    </p:spTree>
    <p:extLst>
      <p:ext uri="{BB962C8B-B14F-4D97-AF65-F5344CB8AC3E}">
        <p14:creationId xmlns:p14="http://schemas.microsoft.com/office/powerpoint/2010/main" val="34908438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1E6E2647-351D-BE49-BC4B-698A8004223D}"/>
              </a:ext>
            </a:extLst>
          </p:cNvPr>
          <p:cNvSpPr txBox="1"/>
          <p:nvPr/>
        </p:nvSpPr>
        <p:spPr>
          <a:xfrm>
            <a:off x="1595192" y="3170529"/>
            <a:ext cx="2883537" cy="577035"/>
          </a:xfrm>
          <a:prstGeom prst="rect">
            <a:avLst/>
          </a:prstGeom>
        </p:spPr>
        <p:txBody>
          <a:bodyPr vert="horz" wrap="square" lIns="0" tIns="7701" rIns="0" bIns="0" rtlCol="0">
            <a:spAutoFit/>
          </a:bodyPr>
          <a:lstStyle/>
          <a:p>
            <a:pPr marL="7701">
              <a:spcBef>
                <a:spcPts val="61"/>
              </a:spcBef>
            </a:pPr>
            <a:r>
              <a:rPr sz="3699" b="1" dirty="0">
                <a:solidFill>
                  <a:srgbClr val="FFFFFF"/>
                </a:solidFill>
                <a:latin typeface="Tahoma" panose="020B0604030504040204" pitchFamily="34" charset="0"/>
                <a:cs typeface="Tahoma" panose="020B0604030504040204" pitchFamily="34" charset="0"/>
              </a:rPr>
              <a:t>THANK</a:t>
            </a:r>
            <a:r>
              <a:rPr sz="3699" b="1" spc="-88" dirty="0">
                <a:solidFill>
                  <a:srgbClr val="FFFFFF"/>
                </a:solidFill>
                <a:latin typeface="Tahoma" panose="020B0604030504040204" pitchFamily="34" charset="0"/>
                <a:cs typeface="Tahoma" panose="020B0604030504040204" pitchFamily="34" charset="0"/>
              </a:rPr>
              <a:t> </a:t>
            </a:r>
            <a:r>
              <a:rPr sz="3699" b="1" spc="-52" dirty="0">
                <a:solidFill>
                  <a:srgbClr val="FFFFFF"/>
                </a:solidFill>
                <a:latin typeface="Tahoma" panose="020B0604030504040204" pitchFamily="34" charset="0"/>
                <a:cs typeface="Tahoma" panose="020B0604030504040204" pitchFamily="34" charset="0"/>
              </a:rPr>
              <a:t>YOU</a:t>
            </a:r>
            <a:endParaRPr sz="3699" b="1" dirty="0">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025957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ZA" altLang="en-US" dirty="0"/>
              <a:t>Tender Process</a:t>
            </a:r>
          </a:p>
        </p:txBody>
      </p:sp>
      <p:sp>
        <p:nvSpPr>
          <p:cNvPr id="9220"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CC0000"/>
              </a:buClr>
              <a:buFont typeface="Wingdings" panose="05000000000000000000" pitchFamily="2" charset="2"/>
              <a:buChar char="§"/>
              <a:defRPr sz="2000">
                <a:solidFill>
                  <a:schemeClr val="tx1"/>
                </a:solidFill>
                <a:latin typeface="Tahoma" panose="020B0604030504040204" pitchFamily="34" charset="0"/>
              </a:defRPr>
            </a:lvl1pPr>
            <a:lvl2pPr marL="742950" indent="-28575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2pPr>
            <a:lvl3pPr marL="11430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3pPr>
            <a:lvl4pPr marL="16002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4pPr>
            <a:lvl5pPr marL="20574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5pPr>
            <a:lvl6pPr marL="25146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6pPr>
            <a:lvl7pPr marL="29718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7pPr>
            <a:lvl8pPr marL="34290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8pPr>
            <a:lvl9pPr marL="38862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9pPr>
          </a:lstStyle>
          <a:p>
            <a:pPr>
              <a:spcBef>
                <a:spcPct val="0"/>
              </a:spcBef>
              <a:buClrTx/>
              <a:buFontTx/>
              <a:buNone/>
            </a:pPr>
            <a:fld id="{DBACA278-ADC1-4161-96C9-75CF51445BE9}" type="slidenum">
              <a:rPr lang="en-US" altLang="en-US" sz="1200">
                <a:solidFill>
                  <a:schemeClr val="bg1"/>
                </a:solidFill>
              </a:rPr>
              <a:pPr>
                <a:spcBef>
                  <a:spcPct val="0"/>
                </a:spcBef>
                <a:buClrTx/>
                <a:buFontTx/>
                <a:buNone/>
              </a:pPr>
              <a:t>4</a:t>
            </a:fld>
            <a:endParaRPr lang="en-US" altLang="en-US" sz="1200" dirty="0">
              <a:solidFill>
                <a:schemeClr val="bg1"/>
              </a:solidFill>
            </a:endParaRPr>
          </a:p>
        </p:txBody>
      </p:sp>
      <p:sp>
        <p:nvSpPr>
          <p:cNvPr id="6" name="Rectangle 5"/>
          <p:cNvSpPr/>
          <p:nvPr/>
        </p:nvSpPr>
        <p:spPr>
          <a:xfrm>
            <a:off x="3164447" y="1716759"/>
            <a:ext cx="8868290" cy="7617470"/>
          </a:xfrm>
          <a:prstGeom prst="rect">
            <a:avLst/>
          </a:prstGeom>
        </p:spPr>
        <p:txBody>
          <a:bodyPr wrap="square">
            <a:spAutoFit/>
          </a:bodyPr>
          <a:lstStyle/>
          <a:p>
            <a:pPr marL="285750" indent="-285750" defTabSz="914400">
              <a:spcBef>
                <a:spcPct val="0"/>
              </a:spcBef>
              <a:buFont typeface="Wingdings" panose="05000000000000000000" pitchFamily="2" charset="2"/>
              <a:buChar char="v"/>
              <a:defRPr/>
            </a:pPr>
            <a:r>
              <a:rPr lang="en-US" sz="1600" dirty="0">
                <a:solidFill>
                  <a:srgbClr val="000000"/>
                </a:solidFill>
                <a:ea typeface="Tahoma" pitchFamily="34" charset="0"/>
                <a:cs typeface="Tahoma" pitchFamily="34" charset="0"/>
              </a:rPr>
              <a:t>REQUEST FOR PROPOSAL [RFP] [GOODS/SERVICES]</a:t>
            </a: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algn="just">
              <a:lnSpc>
                <a:spcPct val="150000"/>
              </a:lnSpc>
              <a:spcBef>
                <a:spcPts val="300"/>
              </a:spcBef>
              <a:buNone/>
            </a:pPr>
            <a:r>
              <a:rPr lang="en-GB" sz="1200" b="1" dirty="0">
                <a:effectLst/>
                <a:latin typeface="Tahoma" panose="020B0604030504040204" pitchFamily="34" charset="0"/>
                <a:ea typeface="Times New Roman" panose="02020603050405020304" pitchFamily="18" charset="0"/>
                <a:cs typeface="Times New Roman" panose="02020603050405020304" pitchFamily="18" charset="0"/>
              </a:rPr>
              <a:t>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SUPPLY AND DELIVERY OF RECOVERY (TRACK BULLDOZERS, EXCAVATORS AND LOW BED TRAILER) EQUIPMENT WITH A FULL MANAGED MAINTENANCE PLAN FOR A PERIOD OF 7 YEARS.</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RFP NUMBER 			HOAC-HO-51865</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ISSUE DATE:			10 October 2025</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CLOSING DATE:		10 November 2025</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EXTENTION CLOSING DATE:	11 DECEMBER 2025</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CLOSING TIME:			14:00PM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BID VALIDITY PERIOD:	180 Business Days from Closing Date</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defTabSz="914400">
              <a:spcBef>
                <a:spcPct val="0"/>
              </a:spcBef>
              <a:defRPr/>
            </a:pPr>
            <a:endParaRPr lang="en-US" sz="1400" dirty="0">
              <a:solidFill>
                <a:srgbClr val="000000"/>
              </a:solidFill>
              <a:ea typeface="Tahoma" pitchFamily="34" charset="0"/>
              <a:cs typeface="Tahoma" pitchFamily="34" charset="0"/>
            </a:endParaRPr>
          </a:p>
          <a:p>
            <a:pPr defTabSz="914400">
              <a:spcBef>
                <a:spcPct val="0"/>
              </a:spcBef>
              <a:defRPr/>
            </a:pPr>
            <a:endParaRPr lang="en-US" sz="1400" dirty="0">
              <a:solidFill>
                <a:srgbClr val="000000"/>
              </a:solidFill>
              <a:ea typeface="Tahoma" pitchFamily="34" charset="0"/>
              <a:cs typeface="Tahoma" pitchFamily="34" charset="0"/>
            </a:endParaRPr>
          </a:p>
          <a:p>
            <a:pPr defTabSz="914400">
              <a:spcBef>
                <a:spcPct val="0"/>
              </a:spcBef>
              <a:defRPr/>
            </a:pPr>
            <a:endParaRPr lang="en-US" sz="1200" dirty="0"/>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defTabSz="914400">
              <a:spcBef>
                <a:spcPct val="0"/>
              </a:spcBef>
              <a:defRPr/>
            </a:pPr>
            <a:endParaRPr lang="en-US" sz="1400" dirty="0">
              <a:solidFill>
                <a:srgbClr val="000000"/>
              </a:solidFill>
              <a:ea typeface="Tahoma" pitchFamily="34" charset="0"/>
              <a:cs typeface="Tahoma" pitchFamily="34" charset="0"/>
            </a:endParaRPr>
          </a:p>
        </p:txBody>
      </p:sp>
      <p:sp>
        <p:nvSpPr>
          <p:cNvPr id="7" name="Freeform 31"/>
          <p:cNvSpPr>
            <a:spLocks/>
          </p:cNvSpPr>
          <p:nvPr/>
        </p:nvSpPr>
        <p:spPr bwMode="gray">
          <a:xfrm>
            <a:off x="3232600" y="1314863"/>
            <a:ext cx="8829523" cy="385664"/>
          </a:xfrm>
          <a:custGeom>
            <a:avLst/>
            <a:gdLst>
              <a:gd name="T0" fmla="*/ 2718 w 2718"/>
              <a:gd name="T1" fmla="*/ 146 h 146"/>
              <a:gd name="T2" fmla="*/ 2359 w 2718"/>
              <a:gd name="T3" fmla="*/ 0 h 146"/>
              <a:gd name="T4" fmla="*/ 2359 w 2718"/>
              <a:gd name="T5" fmla="*/ 93 h 146"/>
              <a:gd name="T6" fmla="*/ 1 w 2718"/>
              <a:gd name="T7" fmla="*/ 93 h 146"/>
              <a:gd name="T8" fmla="*/ 0 w 2718"/>
              <a:gd name="T9" fmla="*/ 146 h 146"/>
              <a:gd name="T10" fmla="*/ 2718 w 2718"/>
              <a:gd name="T11" fmla="*/ 146 h 146"/>
            </a:gdLst>
            <a:ahLst/>
            <a:cxnLst>
              <a:cxn ang="0">
                <a:pos x="T0" y="T1"/>
              </a:cxn>
              <a:cxn ang="0">
                <a:pos x="T2" y="T3"/>
              </a:cxn>
              <a:cxn ang="0">
                <a:pos x="T4" y="T5"/>
              </a:cxn>
              <a:cxn ang="0">
                <a:pos x="T6" y="T7"/>
              </a:cxn>
              <a:cxn ang="0">
                <a:pos x="T8" y="T9"/>
              </a:cxn>
              <a:cxn ang="0">
                <a:pos x="T10" y="T11"/>
              </a:cxn>
            </a:cxnLst>
            <a:rect l="0" t="0" r="r" b="b"/>
            <a:pathLst>
              <a:path w="2718" h="146">
                <a:moveTo>
                  <a:pt x="2718" y="146"/>
                </a:moveTo>
                <a:lnTo>
                  <a:pt x="2359" y="0"/>
                </a:lnTo>
                <a:lnTo>
                  <a:pt x="2359" y="93"/>
                </a:lnTo>
                <a:lnTo>
                  <a:pt x="1" y="93"/>
                </a:lnTo>
                <a:lnTo>
                  <a:pt x="0" y="146"/>
                </a:lnTo>
                <a:lnTo>
                  <a:pt x="2718" y="146"/>
                </a:lnTo>
                <a:close/>
              </a:path>
            </a:pathLst>
          </a:custGeom>
          <a:solidFill>
            <a:srgbClr val="E0DECF"/>
          </a:solidFill>
          <a:ln>
            <a:noFill/>
          </a:ln>
          <a:effectLst/>
        </p:spPr>
        <p:txBody>
          <a:bodyP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mj-lt"/>
              <a:ea typeface="ＭＳ Ｐゴシック"/>
              <a:sym typeface="Verdana" panose="020B0604030504040204" pitchFamily="34" charset="0"/>
            </a:endParaRPr>
          </a:p>
        </p:txBody>
      </p:sp>
      <p:sp>
        <p:nvSpPr>
          <p:cNvPr id="8" name="Freeform 31"/>
          <p:cNvSpPr>
            <a:spLocks/>
          </p:cNvSpPr>
          <p:nvPr/>
        </p:nvSpPr>
        <p:spPr bwMode="gray">
          <a:xfrm rot="10800000">
            <a:off x="3190837" y="5883674"/>
            <a:ext cx="8829523" cy="385664"/>
          </a:xfrm>
          <a:custGeom>
            <a:avLst/>
            <a:gdLst>
              <a:gd name="T0" fmla="*/ 2718 w 2718"/>
              <a:gd name="T1" fmla="*/ 146 h 146"/>
              <a:gd name="T2" fmla="*/ 2359 w 2718"/>
              <a:gd name="T3" fmla="*/ 0 h 146"/>
              <a:gd name="T4" fmla="*/ 2359 w 2718"/>
              <a:gd name="T5" fmla="*/ 93 h 146"/>
              <a:gd name="T6" fmla="*/ 1 w 2718"/>
              <a:gd name="T7" fmla="*/ 93 h 146"/>
              <a:gd name="T8" fmla="*/ 0 w 2718"/>
              <a:gd name="T9" fmla="*/ 146 h 146"/>
              <a:gd name="T10" fmla="*/ 2718 w 2718"/>
              <a:gd name="T11" fmla="*/ 146 h 146"/>
            </a:gdLst>
            <a:ahLst/>
            <a:cxnLst>
              <a:cxn ang="0">
                <a:pos x="T0" y="T1"/>
              </a:cxn>
              <a:cxn ang="0">
                <a:pos x="T2" y="T3"/>
              </a:cxn>
              <a:cxn ang="0">
                <a:pos x="T4" y="T5"/>
              </a:cxn>
              <a:cxn ang="0">
                <a:pos x="T6" y="T7"/>
              </a:cxn>
              <a:cxn ang="0">
                <a:pos x="T8" y="T9"/>
              </a:cxn>
              <a:cxn ang="0">
                <a:pos x="T10" y="T11"/>
              </a:cxn>
            </a:cxnLst>
            <a:rect l="0" t="0" r="r" b="b"/>
            <a:pathLst>
              <a:path w="2718" h="146">
                <a:moveTo>
                  <a:pt x="2718" y="146"/>
                </a:moveTo>
                <a:lnTo>
                  <a:pt x="2359" y="0"/>
                </a:lnTo>
                <a:lnTo>
                  <a:pt x="2359" y="93"/>
                </a:lnTo>
                <a:lnTo>
                  <a:pt x="1" y="93"/>
                </a:lnTo>
                <a:lnTo>
                  <a:pt x="0" y="146"/>
                </a:lnTo>
                <a:lnTo>
                  <a:pt x="2718" y="146"/>
                </a:lnTo>
                <a:close/>
              </a:path>
            </a:pathLst>
          </a:custGeom>
          <a:solidFill>
            <a:srgbClr val="E0DECF"/>
          </a:solidFill>
          <a:ln>
            <a:noFill/>
          </a:ln>
          <a:effectLst/>
        </p:spPr>
        <p:txBody>
          <a:bodyP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mj-lt"/>
              <a:ea typeface="ＭＳ Ｐゴシック"/>
              <a:sym typeface="Verdana" panose="020B0604030504040204" pitchFamily="34" charset="0"/>
            </a:endParaRPr>
          </a:p>
        </p:txBody>
      </p:sp>
      <p:grpSp>
        <p:nvGrpSpPr>
          <p:cNvPr id="9" name="Group 8"/>
          <p:cNvGrpSpPr/>
          <p:nvPr/>
        </p:nvGrpSpPr>
        <p:grpSpPr>
          <a:xfrm>
            <a:off x="1" y="1716759"/>
            <a:ext cx="2936240" cy="4390790"/>
            <a:chOff x="-43572" y="1088248"/>
            <a:chExt cx="3916047" cy="4887572"/>
          </a:xfrm>
        </p:grpSpPr>
        <p:grpSp>
          <p:nvGrpSpPr>
            <p:cNvPr id="10" name="Group 9"/>
            <p:cNvGrpSpPr/>
            <p:nvPr/>
          </p:nvGrpSpPr>
          <p:grpSpPr>
            <a:xfrm>
              <a:off x="1006067" y="1088248"/>
              <a:ext cx="2866408" cy="4887572"/>
              <a:chOff x="1504547" y="683288"/>
              <a:chExt cx="3220548" cy="5491426"/>
            </a:xfrm>
          </p:grpSpPr>
          <p:grpSp>
            <p:nvGrpSpPr>
              <p:cNvPr id="32" name="Group 31"/>
              <p:cNvGrpSpPr/>
              <p:nvPr/>
            </p:nvGrpSpPr>
            <p:grpSpPr>
              <a:xfrm>
                <a:off x="2992184" y="2954169"/>
                <a:ext cx="1732911" cy="949664"/>
                <a:chOff x="2992184" y="2954169"/>
                <a:chExt cx="1732911" cy="949664"/>
              </a:xfrm>
            </p:grpSpPr>
            <p:grpSp>
              <p:nvGrpSpPr>
                <p:cNvPr id="53" name="Group 52"/>
                <p:cNvGrpSpPr/>
                <p:nvPr/>
              </p:nvGrpSpPr>
              <p:grpSpPr>
                <a:xfrm rot="5400000">
                  <a:off x="3383808" y="2562545"/>
                  <a:ext cx="949664" cy="1732911"/>
                  <a:chOff x="4106372" y="341833"/>
                  <a:chExt cx="1017797" cy="1857238"/>
                </a:xfrm>
              </p:grpSpPr>
              <p:sp>
                <p:nvSpPr>
                  <p:cNvPr id="55" name="Oval 54"/>
                  <p:cNvSpPr/>
                  <p:nvPr/>
                </p:nvSpPr>
                <p:spPr>
                  <a:xfrm>
                    <a:off x="4106372" y="341833"/>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56" name="Freeform 55"/>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335D6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54" name="Freeform 53"/>
                <p:cNvSpPr/>
                <p:nvPr/>
              </p:nvSpPr>
              <p:spPr>
                <a:xfrm>
                  <a:off x="4007211" y="3270115"/>
                  <a:ext cx="339388" cy="317773"/>
                </a:xfrm>
                <a:custGeom>
                  <a:avLst/>
                  <a:gdLst>
                    <a:gd name="connsiteX0" fmla="*/ 284776 w 291708"/>
                    <a:gd name="connsiteY0" fmla="*/ 159426 h 273131"/>
                    <a:gd name="connsiteX1" fmla="*/ 224313 w 291708"/>
                    <a:gd name="connsiteY1" fmla="*/ 190386 h 273131"/>
                    <a:gd name="connsiteX2" fmla="*/ 224313 w 291708"/>
                    <a:gd name="connsiteY2" fmla="*/ 266898 h 273131"/>
                    <a:gd name="connsiteX3" fmla="*/ 224419 w 291708"/>
                    <a:gd name="connsiteY3" fmla="*/ 266887 h 273131"/>
                    <a:gd name="connsiteX4" fmla="*/ 228189 w 291708"/>
                    <a:gd name="connsiteY4" fmla="*/ 265746 h 273131"/>
                    <a:gd name="connsiteX5" fmla="*/ 285025 w 291708"/>
                    <a:gd name="connsiteY5" fmla="*/ 234424 h 273131"/>
                    <a:gd name="connsiteX6" fmla="*/ 285025 w 291708"/>
                    <a:gd name="connsiteY6" fmla="*/ 159569 h 273131"/>
                    <a:gd name="connsiteX7" fmla="*/ 141601 w 291708"/>
                    <a:gd name="connsiteY7" fmla="*/ 159426 h 273131"/>
                    <a:gd name="connsiteX8" fmla="*/ 81139 w 291708"/>
                    <a:gd name="connsiteY8" fmla="*/ 190386 h 273131"/>
                    <a:gd name="connsiteX9" fmla="*/ 81139 w 291708"/>
                    <a:gd name="connsiteY9" fmla="*/ 266898 h 273131"/>
                    <a:gd name="connsiteX10" fmla="*/ 81245 w 291708"/>
                    <a:gd name="connsiteY10" fmla="*/ 266887 h 273131"/>
                    <a:gd name="connsiteX11" fmla="*/ 85015 w 291708"/>
                    <a:gd name="connsiteY11" fmla="*/ 265746 h 273131"/>
                    <a:gd name="connsiteX12" fmla="*/ 141851 w 291708"/>
                    <a:gd name="connsiteY12" fmla="*/ 234424 h 273131"/>
                    <a:gd name="connsiteX13" fmla="*/ 141851 w 291708"/>
                    <a:gd name="connsiteY13" fmla="*/ 159569 h 273131"/>
                    <a:gd name="connsiteX14" fmla="*/ 150367 w 291708"/>
                    <a:gd name="connsiteY14" fmla="*/ 158796 h 273131"/>
                    <a:gd name="connsiteX15" fmla="*/ 149577 w 291708"/>
                    <a:gd name="connsiteY15" fmla="*/ 159209 h 273131"/>
                    <a:gd name="connsiteX16" fmla="*/ 149577 w 291708"/>
                    <a:gd name="connsiteY16" fmla="*/ 233893 h 273131"/>
                    <a:gd name="connsiteX17" fmla="*/ 211073 w 291708"/>
                    <a:gd name="connsiteY17" fmla="*/ 264684 h 273131"/>
                    <a:gd name="connsiteX18" fmla="*/ 212577 w 291708"/>
                    <a:gd name="connsiteY18" fmla="*/ 265266 h 273131"/>
                    <a:gd name="connsiteX19" fmla="*/ 212577 w 291708"/>
                    <a:gd name="connsiteY19" fmla="*/ 190651 h 273131"/>
                    <a:gd name="connsiteX20" fmla="*/ 7192 w 291708"/>
                    <a:gd name="connsiteY20" fmla="*/ 158796 h 273131"/>
                    <a:gd name="connsiteX21" fmla="*/ 6402 w 291708"/>
                    <a:gd name="connsiteY21" fmla="*/ 159209 h 273131"/>
                    <a:gd name="connsiteX22" fmla="*/ 6402 w 291708"/>
                    <a:gd name="connsiteY22" fmla="*/ 233893 h 273131"/>
                    <a:gd name="connsiteX23" fmla="*/ 67898 w 291708"/>
                    <a:gd name="connsiteY23" fmla="*/ 264684 h 273131"/>
                    <a:gd name="connsiteX24" fmla="*/ 69403 w 291708"/>
                    <a:gd name="connsiteY24" fmla="*/ 265266 h 273131"/>
                    <a:gd name="connsiteX25" fmla="*/ 69403 w 291708"/>
                    <a:gd name="connsiteY25" fmla="*/ 190651 h 273131"/>
                    <a:gd name="connsiteX26" fmla="*/ 219652 w 291708"/>
                    <a:gd name="connsiteY26" fmla="*/ 122578 h 273131"/>
                    <a:gd name="connsiteX27" fmla="*/ 156853 w 291708"/>
                    <a:gd name="connsiteY27" fmla="*/ 155406 h 273131"/>
                    <a:gd name="connsiteX28" fmla="*/ 214431 w 291708"/>
                    <a:gd name="connsiteY28" fmla="*/ 184888 h 273131"/>
                    <a:gd name="connsiteX29" fmla="*/ 221942 w 291708"/>
                    <a:gd name="connsiteY29" fmla="*/ 184888 h 273131"/>
                    <a:gd name="connsiteX30" fmla="*/ 278594 w 291708"/>
                    <a:gd name="connsiteY30" fmla="*/ 155880 h 273131"/>
                    <a:gd name="connsiteX31" fmla="*/ 277717 w 291708"/>
                    <a:gd name="connsiteY31" fmla="*/ 155377 h 273131"/>
                    <a:gd name="connsiteX32" fmla="*/ 219652 w 291708"/>
                    <a:gd name="connsiteY32" fmla="*/ 122578 h 273131"/>
                    <a:gd name="connsiteX33" fmla="*/ 76478 w 291708"/>
                    <a:gd name="connsiteY33" fmla="*/ 122578 h 273131"/>
                    <a:gd name="connsiteX34" fmla="*/ 13678 w 291708"/>
                    <a:gd name="connsiteY34" fmla="*/ 155406 h 273131"/>
                    <a:gd name="connsiteX35" fmla="*/ 71256 w 291708"/>
                    <a:gd name="connsiteY35" fmla="*/ 184888 h 273131"/>
                    <a:gd name="connsiteX36" fmla="*/ 78768 w 291708"/>
                    <a:gd name="connsiteY36" fmla="*/ 184888 h 273131"/>
                    <a:gd name="connsiteX37" fmla="*/ 135419 w 291708"/>
                    <a:gd name="connsiteY37" fmla="*/ 155880 h 273131"/>
                    <a:gd name="connsiteX38" fmla="*/ 134543 w 291708"/>
                    <a:gd name="connsiteY38" fmla="*/ 155377 h 273131"/>
                    <a:gd name="connsiteX39" fmla="*/ 76478 w 291708"/>
                    <a:gd name="connsiteY39" fmla="*/ 122578 h 273131"/>
                    <a:gd name="connsiteX40" fmla="*/ 75737 w 291708"/>
                    <a:gd name="connsiteY40" fmla="*/ 41255 h 273131"/>
                    <a:gd name="connsiteX41" fmla="*/ 143575 w 291708"/>
                    <a:gd name="connsiteY41" fmla="*/ 76005 h 273131"/>
                    <a:gd name="connsiteX42" fmla="*/ 143581 w 291708"/>
                    <a:gd name="connsiteY42" fmla="*/ 147405 h 273131"/>
                    <a:gd name="connsiteX43" fmla="*/ 145945 w 291708"/>
                    <a:gd name="connsiteY43" fmla="*/ 150032 h 273131"/>
                    <a:gd name="connsiteX44" fmla="*/ 148428 w 291708"/>
                    <a:gd name="connsiteY44" fmla="*/ 147413 h 273131"/>
                    <a:gd name="connsiteX45" fmla="*/ 148355 w 291708"/>
                    <a:gd name="connsiteY45" fmla="*/ 76058 h 273131"/>
                    <a:gd name="connsiteX46" fmla="*/ 219558 w 291708"/>
                    <a:gd name="connsiteY46" fmla="*/ 41255 h 273131"/>
                    <a:gd name="connsiteX47" fmla="*/ 219536 w 291708"/>
                    <a:gd name="connsiteY47" fmla="*/ 113670 h 273131"/>
                    <a:gd name="connsiteX48" fmla="*/ 283404 w 291708"/>
                    <a:gd name="connsiteY48" fmla="*/ 150085 h 273131"/>
                    <a:gd name="connsiteX49" fmla="*/ 286457 w 291708"/>
                    <a:gd name="connsiteY49" fmla="*/ 151854 h 273131"/>
                    <a:gd name="connsiteX50" fmla="*/ 286528 w 291708"/>
                    <a:gd name="connsiteY50" fmla="*/ 151818 h 273131"/>
                    <a:gd name="connsiteX51" fmla="*/ 286584 w 291708"/>
                    <a:gd name="connsiteY51" fmla="*/ 151927 h 273131"/>
                    <a:gd name="connsiteX52" fmla="*/ 291402 w 291708"/>
                    <a:gd name="connsiteY52" fmla="*/ 154719 h 273131"/>
                    <a:gd name="connsiteX53" fmla="*/ 291402 w 291708"/>
                    <a:gd name="connsiteY53" fmla="*/ 237454 h 273131"/>
                    <a:gd name="connsiteX54" fmla="*/ 229203 w 291708"/>
                    <a:gd name="connsiteY54" fmla="*/ 272074 h 273131"/>
                    <a:gd name="connsiteX55" fmla="*/ 210472 w 291708"/>
                    <a:gd name="connsiteY55" fmla="*/ 270900 h 273131"/>
                    <a:gd name="connsiteX56" fmla="*/ 146374 w 291708"/>
                    <a:gd name="connsiteY56" fmla="*/ 238485 h 273131"/>
                    <a:gd name="connsiteX57" fmla="*/ 86029 w 291708"/>
                    <a:gd name="connsiteY57" fmla="*/ 272074 h 273131"/>
                    <a:gd name="connsiteX58" fmla="*/ 67297 w 291708"/>
                    <a:gd name="connsiteY58" fmla="*/ 270900 h 273131"/>
                    <a:gd name="connsiteX59" fmla="*/ 0 w 291708"/>
                    <a:gd name="connsiteY59" fmla="*/ 236867 h 273131"/>
                    <a:gd name="connsiteX60" fmla="*/ 0 w 291708"/>
                    <a:gd name="connsiteY60" fmla="*/ 154320 h 273131"/>
                    <a:gd name="connsiteX61" fmla="*/ 75629 w 291708"/>
                    <a:gd name="connsiteY61" fmla="*/ 114134 h 273131"/>
                    <a:gd name="connsiteX62" fmla="*/ 75737 w 291708"/>
                    <a:gd name="connsiteY62" fmla="*/ 41255 h 273131"/>
                    <a:gd name="connsiteX63" fmla="*/ 145931 w 291708"/>
                    <a:gd name="connsiteY63" fmla="*/ 0 h 273131"/>
                    <a:gd name="connsiteX64" fmla="*/ 219111 w 291708"/>
                    <a:gd name="connsiteY64" fmla="*/ 37326 h 273131"/>
                    <a:gd name="connsiteX65" fmla="*/ 146046 w 291708"/>
                    <a:gd name="connsiteY65" fmla="*/ 72245 h 273131"/>
                    <a:gd name="connsiteX66" fmla="*/ 75842 w 291708"/>
                    <a:gd name="connsiteY66" fmla="*/ 37277 h 27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91708" h="273131">
                      <a:moveTo>
                        <a:pt x="284776" y="159426"/>
                      </a:moveTo>
                      <a:lnTo>
                        <a:pt x="224313" y="190386"/>
                      </a:lnTo>
                      <a:lnTo>
                        <a:pt x="224313" y="266898"/>
                      </a:lnTo>
                      <a:lnTo>
                        <a:pt x="224419" y="266887"/>
                      </a:lnTo>
                      <a:cubicBezTo>
                        <a:pt x="225682" y="266613"/>
                        <a:pt x="226922" y="266216"/>
                        <a:pt x="228189" y="265746"/>
                      </a:cubicBezTo>
                      <a:lnTo>
                        <a:pt x="285025" y="234424"/>
                      </a:lnTo>
                      <a:cubicBezTo>
                        <a:pt x="285204" y="197262"/>
                        <a:pt x="285555" y="184581"/>
                        <a:pt x="285025" y="159569"/>
                      </a:cubicBezTo>
                      <a:close/>
                      <a:moveTo>
                        <a:pt x="141601" y="159426"/>
                      </a:moveTo>
                      <a:lnTo>
                        <a:pt x="81139" y="190386"/>
                      </a:lnTo>
                      <a:lnTo>
                        <a:pt x="81139" y="266898"/>
                      </a:lnTo>
                      <a:lnTo>
                        <a:pt x="81245" y="266887"/>
                      </a:lnTo>
                      <a:cubicBezTo>
                        <a:pt x="82508" y="266613"/>
                        <a:pt x="83748" y="266216"/>
                        <a:pt x="85015" y="265746"/>
                      </a:cubicBezTo>
                      <a:lnTo>
                        <a:pt x="141851" y="234424"/>
                      </a:lnTo>
                      <a:cubicBezTo>
                        <a:pt x="142030" y="197262"/>
                        <a:pt x="142380" y="184581"/>
                        <a:pt x="141851" y="159569"/>
                      </a:cubicBezTo>
                      <a:close/>
                      <a:moveTo>
                        <a:pt x="150367" y="158796"/>
                      </a:moveTo>
                      <a:lnTo>
                        <a:pt x="149577" y="159209"/>
                      </a:lnTo>
                      <a:lnTo>
                        <a:pt x="149577" y="233893"/>
                      </a:lnTo>
                      <a:lnTo>
                        <a:pt x="211073" y="264684"/>
                      </a:lnTo>
                      <a:lnTo>
                        <a:pt x="212577" y="265266"/>
                      </a:lnTo>
                      <a:lnTo>
                        <a:pt x="212577" y="190651"/>
                      </a:lnTo>
                      <a:close/>
                      <a:moveTo>
                        <a:pt x="7192" y="158796"/>
                      </a:moveTo>
                      <a:lnTo>
                        <a:pt x="6402" y="159209"/>
                      </a:lnTo>
                      <a:lnTo>
                        <a:pt x="6402" y="233893"/>
                      </a:lnTo>
                      <a:lnTo>
                        <a:pt x="67898" y="264684"/>
                      </a:lnTo>
                      <a:lnTo>
                        <a:pt x="69403" y="265266"/>
                      </a:lnTo>
                      <a:lnTo>
                        <a:pt x="69403" y="190651"/>
                      </a:lnTo>
                      <a:close/>
                      <a:moveTo>
                        <a:pt x="219652" y="122578"/>
                      </a:moveTo>
                      <a:lnTo>
                        <a:pt x="156853" y="155406"/>
                      </a:lnTo>
                      <a:lnTo>
                        <a:pt x="214431" y="184888"/>
                      </a:lnTo>
                      <a:lnTo>
                        <a:pt x="221942" y="184888"/>
                      </a:lnTo>
                      <a:lnTo>
                        <a:pt x="278594" y="155880"/>
                      </a:lnTo>
                      <a:lnTo>
                        <a:pt x="277717" y="155377"/>
                      </a:lnTo>
                      <a:cubicBezTo>
                        <a:pt x="243578" y="135774"/>
                        <a:pt x="244167" y="135824"/>
                        <a:pt x="219652" y="122578"/>
                      </a:cubicBezTo>
                      <a:close/>
                      <a:moveTo>
                        <a:pt x="76478" y="122578"/>
                      </a:moveTo>
                      <a:lnTo>
                        <a:pt x="13678" y="155406"/>
                      </a:lnTo>
                      <a:lnTo>
                        <a:pt x="71256" y="184888"/>
                      </a:lnTo>
                      <a:lnTo>
                        <a:pt x="78768" y="184888"/>
                      </a:lnTo>
                      <a:lnTo>
                        <a:pt x="135419" y="155880"/>
                      </a:lnTo>
                      <a:lnTo>
                        <a:pt x="134543" y="155377"/>
                      </a:lnTo>
                      <a:cubicBezTo>
                        <a:pt x="100404" y="135774"/>
                        <a:pt x="100993" y="135824"/>
                        <a:pt x="76478" y="122578"/>
                      </a:cubicBezTo>
                      <a:close/>
                      <a:moveTo>
                        <a:pt x="75737" y="41255"/>
                      </a:moveTo>
                      <a:lnTo>
                        <a:pt x="143575" y="76005"/>
                      </a:lnTo>
                      <a:cubicBezTo>
                        <a:pt x="143661" y="101376"/>
                        <a:pt x="143726" y="133012"/>
                        <a:pt x="143581" y="147405"/>
                      </a:cubicBezTo>
                      <a:lnTo>
                        <a:pt x="145945" y="150032"/>
                      </a:lnTo>
                      <a:lnTo>
                        <a:pt x="148428" y="147413"/>
                      </a:lnTo>
                      <a:cubicBezTo>
                        <a:pt x="148370" y="130379"/>
                        <a:pt x="148316" y="112435"/>
                        <a:pt x="148355" y="76058"/>
                      </a:cubicBezTo>
                      <a:lnTo>
                        <a:pt x="219558" y="41255"/>
                      </a:lnTo>
                      <a:cubicBezTo>
                        <a:pt x="219714" y="64612"/>
                        <a:pt x="219440" y="92774"/>
                        <a:pt x="219536" y="113670"/>
                      </a:cubicBezTo>
                      <a:cubicBezTo>
                        <a:pt x="246364" y="128310"/>
                        <a:pt x="246044" y="128418"/>
                        <a:pt x="283404" y="150085"/>
                      </a:cubicBezTo>
                      <a:lnTo>
                        <a:pt x="286457" y="151854"/>
                      </a:lnTo>
                      <a:lnTo>
                        <a:pt x="286528" y="151818"/>
                      </a:lnTo>
                      <a:lnTo>
                        <a:pt x="286584" y="151927"/>
                      </a:lnTo>
                      <a:lnTo>
                        <a:pt x="291402" y="154719"/>
                      </a:lnTo>
                      <a:cubicBezTo>
                        <a:pt x="291981" y="182363"/>
                        <a:pt x="291597" y="196380"/>
                        <a:pt x="291402" y="237454"/>
                      </a:cubicBezTo>
                      <a:lnTo>
                        <a:pt x="229203" y="272074"/>
                      </a:lnTo>
                      <a:cubicBezTo>
                        <a:pt x="225111" y="273639"/>
                        <a:pt x="215738" y="273639"/>
                        <a:pt x="210472" y="270900"/>
                      </a:cubicBezTo>
                      <a:lnTo>
                        <a:pt x="146374" y="238485"/>
                      </a:lnTo>
                      <a:lnTo>
                        <a:pt x="86029" y="272074"/>
                      </a:lnTo>
                      <a:cubicBezTo>
                        <a:pt x="81937" y="273639"/>
                        <a:pt x="72563" y="273639"/>
                        <a:pt x="67297" y="270900"/>
                      </a:cubicBezTo>
                      <a:lnTo>
                        <a:pt x="0" y="236867"/>
                      </a:lnTo>
                      <a:lnTo>
                        <a:pt x="0" y="154320"/>
                      </a:lnTo>
                      <a:lnTo>
                        <a:pt x="75629" y="114134"/>
                      </a:lnTo>
                      <a:cubicBezTo>
                        <a:pt x="75665" y="89192"/>
                        <a:pt x="75701" y="65710"/>
                        <a:pt x="75737" y="41255"/>
                      </a:cubicBezTo>
                      <a:close/>
                      <a:moveTo>
                        <a:pt x="145931" y="0"/>
                      </a:moveTo>
                      <a:lnTo>
                        <a:pt x="219111" y="37326"/>
                      </a:lnTo>
                      <a:lnTo>
                        <a:pt x="146046" y="72245"/>
                      </a:lnTo>
                      <a:lnTo>
                        <a:pt x="75842" y="37277"/>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prstClr val="white"/>
                      </a:solidFill>
                      <a:latin typeface="Arial" panose="020B0604020202020204" pitchFamily="34" charset="0"/>
                      <a:cs typeface="Arial" panose="020B0604020202020204" pitchFamily="34" charset="0"/>
                    </a:rPr>
                    <a:t>          </a:t>
                  </a:r>
                </a:p>
              </p:txBody>
            </p:sp>
          </p:grpSp>
          <p:grpSp>
            <p:nvGrpSpPr>
              <p:cNvPr id="33" name="Group 32"/>
              <p:cNvGrpSpPr/>
              <p:nvPr/>
            </p:nvGrpSpPr>
            <p:grpSpPr>
              <a:xfrm>
                <a:off x="2441760" y="1625332"/>
                <a:ext cx="1732912" cy="949664"/>
                <a:chOff x="2441760" y="1625332"/>
                <a:chExt cx="1732912" cy="949664"/>
              </a:xfrm>
            </p:grpSpPr>
            <p:grpSp>
              <p:nvGrpSpPr>
                <p:cNvPr id="49" name="Group 48"/>
                <p:cNvGrpSpPr/>
                <p:nvPr/>
              </p:nvGrpSpPr>
              <p:grpSpPr>
                <a:xfrm rot="2700000">
                  <a:off x="2833384" y="1233708"/>
                  <a:ext cx="949664" cy="1732912"/>
                  <a:chOff x="4106373" y="341832"/>
                  <a:chExt cx="1017797" cy="1857239"/>
                </a:xfrm>
              </p:grpSpPr>
              <p:sp>
                <p:nvSpPr>
                  <p:cNvPr id="51" name="Oval 50"/>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52" name="Freeform 51"/>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9EBEA6"/>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50" name="Freeform 49"/>
                <p:cNvSpPr/>
                <p:nvPr/>
              </p:nvSpPr>
              <p:spPr>
                <a:xfrm>
                  <a:off x="3352925" y="1739967"/>
                  <a:ext cx="356750" cy="296628"/>
                </a:xfrm>
                <a:custGeom>
                  <a:avLst/>
                  <a:gdLst>
                    <a:gd name="connsiteX0" fmla="*/ 44101 w 220267"/>
                    <a:gd name="connsiteY0" fmla="*/ 100231 h 183146"/>
                    <a:gd name="connsiteX1" fmla="*/ 53879 w 220267"/>
                    <a:gd name="connsiteY1" fmla="*/ 104488 h 183146"/>
                    <a:gd name="connsiteX2" fmla="*/ 56669 w 220267"/>
                    <a:gd name="connsiteY2" fmla="*/ 119638 h 183146"/>
                    <a:gd name="connsiteX3" fmla="*/ 55828 w 220267"/>
                    <a:gd name="connsiteY3" fmla="*/ 121167 h 183146"/>
                    <a:gd name="connsiteX4" fmla="*/ 56191 w 220267"/>
                    <a:gd name="connsiteY4" fmla="*/ 120985 h 183146"/>
                    <a:gd name="connsiteX5" fmla="*/ 61661 w 220267"/>
                    <a:gd name="connsiteY5" fmla="*/ 120022 h 183146"/>
                    <a:gd name="connsiteX6" fmla="*/ 71829 w 220267"/>
                    <a:gd name="connsiteY6" fmla="*/ 124449 h 183146"/>
                    <a:gd name="connsiteX7" fmla="*/ 71829 w 220267"/>
                    <a:gd name="connsiteY7" fmla="*/ 124450 h 183146"/>
                    <a:gd name="connsiteX8" fmla="*/ 75574 w 220267"/>
                    <a:gd name="connsiteY8" fmla="*/ 137532 h 183146"/>
                    <a:gd name="connsiteX9" fmla="*/ 75493 w 220267"/>
                    <a:gd name="connsiteY9" fmla="*/ 137789 h 183146"/>
                    <a:gd name="connsiteX10" fmla="*/ 76354 w 220267"/>
                    <a:gd name="connsiteY10" fmla="*/ 137111 h 183146"/>
                    <a:gd name="connsiteX11" fmla="*/ 84066 w 220267"/>
                    <a:gd name="connsiteY11" fmla="*/ 134952 h 183146"/>
                    <a:gd name="connsiteX12" fmla="*/ 93851 w 220267"/>
                    <a:gd name="connsiteY12" fmla="*/ 139212 h 183146"/>
                    <a:gd name="connsiteX13" fmla="*/ 94855 w 220267"/>
                    <a:gd name="connsiteY13" fmla="*/ 140254 h 183146"/>
                    <a:gd name="connsiteX14" fmla="*/ 98459 w 220267"/>
                    <a:gd name="connsiteY14" fmla="*/ 152843 h 183146"/>
                    <a:gd name="connsiteX15" fmla="*/ 98426 w 220267"/>
                    <a:gd name="connsiteY15" fmla="*/ 152949 h 183146"/>
                    <a:gd name="connsiteX16" fmla="*/ 100544 w 220267"/>
                    <a:gd name="connsiteY16" fmla="*/ 151850 h 183146"/>
                    <a:gd name="connsiteX17" fmla="*/ 116138 w 220267"/>
                    <a:gd name="connsiteY17" fmla="*/ 154977 h 183146"/>
                    <a:gd name="connsiteX18" fmla="*/ 115325 w 220267"/>
                    <a:gd name="connsiteY18" fmla="*/ 175482 h 183146"/>
                    <a:gd name="connsiteX19" fmla="*/ 94805 w 220267"/>
                    <a:gd name="connsiteY19" fmla="*/ 175558 h 183146"/>
                    <a:gd name="connsiteX20" fmla="*/ 90961 w 220267"/>
                    <a:gd name="connsiteY20" fmla="*/ 165321 h 183146"/>
                    <a:gd name="connsiteX21" fmla="*/ 91263 w 220267"/>
                    <a:gd name="connsiteY21" fmla="*/ 163094 h 183146"/>
                    <a:gd name="connsiteX22" fmla="*/ 90038 w 220267"/>
                    <a:gd name="connsiteY22" fmla="*/ 164276 h 183146"/>
                    <a:gd name="connsiteX23" fmla="*/ 70321 w 220267"/>
                    <a:gd name="connsiteY23" fmla="*/ 163922 h 183146"/>
                    <a:gd name="connsiteX24" fmla="*/ 69317 w 220267"/>
                    <a:gd name="connsiteY24" fmla="*/ 162881 h 183146"/>
                    <a:gd name="connsiteX25" fmla="*/ 65410 w 220267"/>
                    <a:gd name="connsiteY25" fmla="*/ 152949 h 183146"/>
                    <a:gd name="connsiteX26" fmla="*/ 65689 w 220267"/>
                    <a:gd name="connsiteY26" fmla="*/ 150507 h 183146"/>
                    <a:gd name="connsiteX27" fmla="*/ 64932 w 220267"/>
                    <a:gd name="connsiteY27" fmla="*/ 151237 h 183146"/>
                    <a:gd name="connsiteX28" fmla="*/ 44444 w 220267"/>
                    <a:gd name="connsiteY28" fmla="*/ 150869 h 183146"/>
                    <a:gd name="connsiteX29" fmla="*/ 42914 w 220267"/>
                    <a:gd name="connsiteY29" fmla="*/ 132620 h 183146"/>
                    <a:gd name="connsiteX30" fmla="*/ 44026 w 220267"/>
                    <a:gd name="connsiteY30" fmla="*/ 131307 h 183146"/>
                    <a:gd name="connsiteX31" fmla="*/ 42197 w 220267"/>
                    <a:gd name="connsiteY31" fmla="*/ 131814 h 183146"/>
                    <a:gd name="connsiteX32" fmla="*/ 29753 w 220267"/>
                    <a:gd name="connsiteY32" fmla="*/ 127763 h 183146"/>
                    <a:gd name="connsiteX33" fmla="*/ 30107 w 220267"/>
                    <a:gd name="connsiteY33" fmla="*/ 108059 h 183146"/>
                    <a:gd name="connsiteX34" fmla="*/ 34176 w 220267"/>
                    <a:gd name="connsiteY34" fmla="*/ 104134 h 183146"/>
                    <a:gd name="connsiteX35" fmla="*/ 44101 w 220267"/>
                    <a:gd name="connsiteY35" fmla="*/ 100231 h 183146"/>
                    <a:gd name="connsiteX36" fmla="*/ 143014 w 220267"/>
                    <a:gd name="connsiteY36" fmla="*/ 54535 h 183146"/>
                    <a:gd name="connsiteX37" fmla="*/ 197042 w 220267"/>
                    <a:gd name="connsiteY37" fmla="*/ 103570 h 183146"/>
                    <a:gd name="connsiteX38" fmla="*/ 192227 w 220267"/>
                    <a:gd name="connsiteY38" fmla="*/ 133883 h 183146"/>
                    <a:gd name="connsiteX39" fmla="*/ 175110 w 220267"/>
                    <a:gd name="connsiteY39" fmla="*/ 156171 h 183146"/>
                    <a:gd name="connsiteX40" fmla="*/ 154782 w 220267"/>
                    <a:gd name="connsiteY40" fmla="*/ 170793 h 183146"/>
                    <a:gd name="connsiteX41" fmla="*/ 124113 w 220267"/>
                    <a:gd name="connsiteY41" fmla="*/ 179352 h 183146"/>
                    <a:gd name="connsiteX42" fmla="*/ 128928 w 220267"/>
                    <a:gd name="connsiteY42" fmla="*/ 168653 h 183146"/>
                    <a:gd name="connsiteX43" fmla="*/ 143727 w 220267"/>
                    <a:gd name="connsiteY43" fmla="*/ 165443 h 183146"/>
                    <a:gd name="connsiteX44" fmla="*/ 129106 w 220267"/>
                    <a:gd name="connsiteY44" fmla="*/ 152249 h 183146"/>
                    <a:gd name="connsiteX45" fmla="*/ 135703 w 220267"/>
                    <a:gd name="connsiteY45" fmla="*/ 143868 h 183146"/>
                    <a:gd name="connsiteX46" fmla="*/ 155496 w 220267"/>
                    <a:gd name="connsiteY46" fmla="*/ 158668 h 183146"/>
                    <a:gd name="connsiteX47" fmla="*/ 162450 w 220267"/>
                    <a:gd name="connsiteY47" fmla="*/ 150287 h 183146"/>
                    <a:gd name="connsiteX48" fmla="*/ 144262 w 220267"/>
                    <a:gd name="connsiteY48" fmla="*/ 135666 h 183146"/>
                    <a:gd name="connsiteX49" fmla="*/ 151216 w 220267"/>
                    <a:gd name="connsiteY49" fmla="*/ 127107 h 183146"/>
                    <a:gd name="connsiteX50" fmla="*/ 173148 w 220267"/>
                    <a:gd name="connsiteY50" fmla="*/ 143868 h 183146"/>
                    <a:gd name="connsiteX51" fmla="*/ 180102 w 220267"/>
                    <a:gd name="connsiteY51" fmla="*/ 135309 h 183146"/>
                    <a:gd name="connsiteX52" fmla="*/ 157100 w 220267"/>
                    <a:gd name="connsiteY52" fmla="*/ 116943 h 183146"/>
                    <a:gd name="connsiteX53" fmla="*/ 162628 w 220267"/>
                    <a:gd name="connsiteY53" fmla="*/ 107671 h 183146"/>
                    <a:gd name="connsiteX54" fmla="*/ 181172 w 220267"/>
                    <a:gd name="connsiteY54" fmla="*/ 120866 h 183146"/>
                    <a:gd name="connsiteX55" fmla="*/ 188304 w 220267"/>
                    <a:gd name="connsiteY55" fmla="*/ 110881 h 183146"/>
                    <a:gd name="connsiteX56" fmla="*/ 131602 w 220267"/>
                    <a:gd name="connsiteY56" fmla="*/ 58814 h 183146"/>
                    <a:gd name="connsiteX57" fmla="*/ 143014 w 220267"/>
                    <a:gd name="connsiteY57" fmla="*/ 54535 h 183146"/>
                    <a:gd name="connsiteX58" fmla="*/ 47678 w 220267"/>
                    <a:gd name="connsiteY58" fmla="*/ 524 h 183146"/>
                    <a:gd name="connsiteX59" fmla="*/ 57539 w 220267"/>
                    <a:gd name="connsiteY59" fmla="*/ 4171 h 183146"/>
                    <a:gd name="connsiteX60" fmla="*/ 90509 w 220267"/>
                    <a:gd name="connsiteY60" fmla="*/ 8832 h 183146"/>
                    <a:gd name="connsiteX61" fmla="*/ 92235 w 220267"/>
                    <a:gd name="connsiteY61" fmla="*/ 13838 h 183146"/>
                    <a:gd name="connsiteX62" fmla="*/ 54950 w 220267"/>
                    <a:gd name="connsiteY62" fmla="*/ 16772 h 183146"/>
                    <a:gd name="connsiteX63" fmla="*/ 40104 w 220267"/>
                    <a:gd name="connsiteY63" fmla="*/ 15046 h 183146"/>
                    <a:gd name="connsiteX64" fmla="*/ 14212 w 220267"/>
                    <a:gd name="connsiteY64" fmla="*/ 43873 h 183146"/>
                    <a:gd name="connsiteX65" fmla="*/ 13521 w 220267"/>
                    <a:gd name="connsiteY65" fmla="*/ 54576 h 183146"/>
                    <a:gd name="connsiteX66" fmla="*/ 23878 w 220267"/>
                    <a:gd name="connsiteY66" fmla="*/ 65451 h 183146"/>
                    <a:gd name="connsiteX67" fmla="*/ 28712 w 220267"/>
                    <a:gd name="connsiteY67" fmla="*/ 78570 h 183146"/>
                    <a:gd name="connsiteX68" fmla="*/ 32509 w 220267"/>
                    <a:gd name="connsiteY68" fmla="*/ 93070 h 183146"/>
                    <a:gd name="connsiteX69" fmla="*/ 24742 w 220267"/>
                    <a:gd name="connsiteY69" fmla="*/ 99803 h 183146"/>
                    <a:gd name="connsiteX70" fmla="*/ 17837 w 220267"/>
                    <a:gd name="connsiteY70" fmla="*/ 82195 h 183146"/>
                    <a:gd name="connsiteX71" fmla="*/ 7825 w 220267"/>
                    <a:gd name="connsiteY71" fmla="*/ 65106 h 183146"/>
                    <a:gd name="connsiteX72" fmla="*/ 3510 w 220267"/>
                    <a:gd name="connsiteY72" fmla="*/ 39040 h 183146"/>
                    <a:gd name="connsiteX73" fmla="*/ 35099 w 220267"/>
                    <a:gd name="connsiteY73" fmla="*/ 4516 h 183146"/>
                    <a:gd name="connsiteX74" fmla="*/ 47678 w 220267"/>
                    <a:gd name="connsiteY74" fmla="*/ 524 h 183146"/>
                    <a:gd name="connsiteX75" fmla="*/ 182574 w 220267"/>
                    <a:gd name="connsiteY75" fmla="*/ 357 h 183146"/>
                    <a:gd name="connsiteX76" fmla="*/ 190928 w 220267"/>
                    <a:gd name="connsiteY76" fmla="*/ 5012 h 183146"/>
                    <a:gd name="connsiteX77" fmla="*/ 216639 w 220267"/>
                    <a:gd name="connsiteY77" fmla="*/ 33183 h 183146"/>
                    <a:gd name="connsiteX78" fmla="*/ 219132 w 220267"/>
                    <a:gd name="connsiteY78" fmla="*/ 47858 h 183146"/>
                    <a:gd name="connsiteX79" fmla="*/ 207928 w 220267"/>
                    <a:gd name="connsiteY79" fmla="*/ 61251 h 183146"/>
                    <a:gd name="connsiteX80" fmla="*/ 200845 w 220267"/>
                    <a:gd name="connsiteY80" fmla="*/ 82500 h 183146"/>
                    <a:gd name="connsiteX81" fmla="*/ 190672 w 220267"/>
                    <a:gd name="connsiteY81" fmla="*/ 85461 h 183146"/>
                    <a:gd name="connsiteX82" fmla="*/ 153156 w 220267"/>
                    <a:gd name="connsiteY82" fmla="*/ 49730 h 183146"/>
                    <a:gd name="connsiteX83" fmla="*/ 136605 w 220267"/>
                    <a:gd name="connsiteY83" fmla="*/ 46214 h 183146"/>
                    <a:gd name="connsiteX84" fmla="*/ 122164 w 220267"/>
                    <a:gd name="connsiteY84" fmla="*/ 44267 h 183146"/>
                    <a:gd name="connsiteX85" fmla="*/ 109670 w 220267"/>
                    <a:gd name="connsiteY85" fmla="*/ 45728 h 183146"/>
                    <a:gd name="connsiteX86" fmla="*/ 76237 w 220267"/>
                    <a:gd name="connsiteY86" fmla="*/ 65087 h 183146"/>
                    <a:gd name="connsiteX87" fmla="*/ 63101 w 220267"/>
                    <a:gd name="connsiteY87" fmla="*/ 47837 h 183146"/>
                    <a:gd name="connsiteX88" fmla="*/ 103335 w 220267"/>
                    <a:gd name="connsiteY88" fmla="*/ 17150 h 183146"/>
                    <a:gd name="connsiteX89" fmla="*/ 155773 w 220267"/>
                    <a:gd name="connsiteY89" fmla="*/ 11156 h 183146"/>
                    <a:gd name="connsiteX90" fmla="*/ 172385 w 220267"/>
                    <a:gd name="connsiteY90" fmla="*/ 2656 h 183146"/>
                    <a:gd name="connsiteX91" fmla="*/ 182574 w 220267"/>
                    <a:gd name="connsiteY91" fmla="*/ 357 h 18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0267" h="183146">
                      <a:moveTo>
                        <a:pt x="44101" y="100231"/>
                      </a:moveTo>
                      <a:cubicBezTo>
                        <a:pt x="47666" y="100295"/>
                        <a:pt x="51207" y="101719"/>
                        <a:pt x="53879" y="104488"/>
                      </a:cubicBezTo>
                      <a:cubicBezTo>
                        <a:pt x="57887" y="108642"/>
                        <a:pt x="58799" y="114643"/>
                        <a:pt x="56669" y="119638"/>
                      </a:cubicBezTo>
                      <a:lnTo>
                        <a:pt x="55828" y="121167"/>
                      </a:lnTo>
                      <a:lnTo>
                        <a:pt x="56191" y="120985"/>
                      </a:lnTo>
                      <a:cubicBezTo>
                        <a:pt x="57947" y="120309"/>
                        <a:pt x="59807" y="119989"/>
                        <a:pt x="61661" y="120022"/>
                      </a:cubicBezTo>
                      <a:cubicBezTo>
                        <a:pt x="65369" y="120089"/>
                        <a:pt x="69051" y="121570"/>
                        <a:pt x="71829" y="124449"/>
                      </a:cubicBezTo>
                      <a:lnTo>
                        <a:pt x="71829" y="124450"/>
                      </a:lnTo>
                      <a:cubicBezTo>
                        <a:pt x="75302" y="128049"/>
                        <a:pt x="76540" y="132982"/>
                        <a:pt x="75574" y="137532"/>
                      </a:cubicBezTo>
                      <a:lnTo>
                        <a:pt x="75493" y="137789"/>
                      </a:lnTo>
                      <a:lnTo>
                        <a:pt x="76354" y="137111"/>
                      </a:lnTo>
                      <a:cubicBezTo>
                        <a:pt x="78700" y="135621"/>
                        <a:pt x="81390" y="134904"/>
                        <a:pt x="84066" y="134952"/>
                      </a:cubicBezTo>
                      <a:cubicBezTo>
                        <a:pt x="87634" y="135016"/>
                        <a:pt x="91178" y="136441"/>
                        <a:pt x="93851" y="139212"/>
                      </a:cubicBezTo>
                      <a:lnTo>
                        <a:pt x="94855" y="140254"/>
                      </a:lnTo>
                      <a:cubicBezTo>
                        <a:pt x="98197" y="143718"/>
                        <a:pt x="99389" y="148465"/>
                        <a:pt x="98459" y="152843"/>
                      </a:cubicBezTo>
                      <a:lnTo>
                        <a:pt x="98426" y="152949"/>
                      </a:lnTo>
                      <a:lnTo>
                        <a:pt x="100544" y="151850"/>
                      </a:lnTo>
                      <a:cubicBezTo>
                        <a:pt x="105868" y="149708"/>
                        <a:pt x="112056" y="150746"/>
                        <a:pt x="116138" y="154977"/>
                      </a:cubicBezTo>
                      <a:cubicBezTo>
                        <a:pt x="121580" y="160618"/>
                        <a:pt x="121216" y="169798"/>
                        <a:pt x="115325" y="175482"/>
                      </a:cubicBezTo>
                      <a:cubicBezTo>
                        <a:pt x="109435" y="181165"/>
                        <a:pt x="100247" y="181199"/>
                        <a:pt x="94805" y="175558"/>
                      </a:cubicBezTo>
                      <a:cubicBezTo>
                        <a:pt x="92084" y="172737"/>
                        <a:pt x="90814" y="169032"/>
                        <a:pt x="90961" y="165321"/>
                      </a:cubicBezTo>
                      <a:lnTo>
                        <a:pt x="91263" y="163094"/>
                      </a:lnTo>
                      <a:lnTo>
                        <a:pt x="90038" y="164276"/>
                      </a:lnTo>
                      <a:cubicBezTo>
                        <a:pt x="84496" y="169623"/>
                        <a:pt x="75668" y="169465"/>
                        <a:pt x="70321" y="163922"/>
                      </a:cubicBezTo>
                      <a:lnTo>
                        <a:pt x="69317" y="162881"/>
                      </a:lnTo>
                      <a:cubicBezTo>
                        <a:pt x="66643" y="160110"/>
                        <a:pt x="65346" y="156517"/>
                        <a:pt x="65410" y="152949"/>
                      </a:cubicBezTo>
                      <a:lnTo>
                        <a:pt x="65689" y="150507"/>
                      </a:lnTo>
                      <a:lnTo>
                        <a:pt x="64932" y="151237"/>
                      </a:lnTo>
                      <a:cubicBezTo>
                        <a:pt x="59173" y="156793"/>
                        <a:pt x="50000" y="156628"/>
                        <a:pt x="44444" y="150869"/>
                      </a:cubicBezTo>
                      <a:cubicBezTo>
                        <a:pt x="39582" y="145829"/>
                        <a:pt x="39101" y="138176"/>
                        <a:pt x="42914" y="132620"/>
                      </a:cubicBezTo>
                      <a:lnTo>
                        <a:pt x="44026" y="131307"/>
                      </a:lnTo>
                      <a:lnTo>
                        <a:pt x="42197" y="131814"/>
                      </a:lnTo>
                      <a:cubicBezTo>
                        <a:pt x="37791" y="132585"/>
                        <a:pt x="33093" y="131225"/>
                        <a:pt x="29753" y="127763"/>
                      </a:cubicBezTo>
                      <a:cubicBezTo>
                        <a:pt x="24410" y="122224"/>
                        <a:pt x="24568" y="113403"/>
                        <a:pt x="30107" y="108059"/>
                      </a:cubicBezTo>
                      <a:cubicBezTo>
                        <a:pt x="31463" y="106751"/>
                        <a:pt x="32819" y="105443"/>
                        <a:pt x="34176" y="104134"/>
                      </a:cubicBezTo>
                      <a:cubicBezTo>
                        <a:pt x="36945" y="101463"/>
                        <a:pt x="40535" y="100166"/>
                        <a:pt x="44101" y="100231"/>
                      </a:cubicBezTo>
                      <a:close/>
                      <a:moveTo>
                        <a:pt x="143014" y="54535"/>
                      </a:moveTo>
                      <a:cubicBezTo>
                        <a:pt x="170830" y="80984"/>
                        <a:pt x="179567" y="86214"/>
                        <a:pt x="197042" y="103570"/>
                      </a:cubicBezTo>
                      <a:cubicBezTo>
                        <a:pt x="210593" y="120153"/>
                        <a:pt x="197042" y="131921"/>
                        <a:pt x="192227" y="133883"/>
                      </a:cubicBezTo>
                      <a:cubicBezTo>
                        <a:pt x="195556" y="154804"/>
                        <a:pt x="179983" y="155933"/>
                        <a:pt x="175110" y="156171"/>
                      </a:cubicBezTo>
                      <a:cubicBezTo>
                        <a:pt x="170890" y="173943"/>
                        <a:pt x="159359" y="169782"/>
                        <a:pt x="154782" y="170793"/>
                      </a:cubicBezTo>
                      <a:cubicBezTo>
                        <a:pt x="148601" y="188386"/>
                        <a:pt x="128690" y="183156"/>
                        <a:pt x="124113" y="179352"/>
                      </a:cubicBezTo>
                      <a:lnTo>
                        <a:pt x="128928" y="168653"/>
                      </a:lnTo>
                      <a:cubicBezTo>
                        <a:pt x="141171" y="177569"/>
                        <a:pt x="144500" y="168118"/>
                        <a:pt x="143727" y="165443"/>
                      </a:cubicBezTo>
                      <a:cubicBezTo>
                        <a:pt x="145124" y="162293"/>
                        <a:pt x="132731" y="157360"/>
                        <a:pt x="129106" y="152249"/>
                      </a:cubicBezTo>
                      <a:cubicBezTo>
                        <a:pt x="125480" y="148742"/>
                        <a:pt x="129017" y="140213"/>
                        <a:pt x="135703" y="143868"/>
                      </a:cubicBezTo>
                      <a:cubicBezTo>
                        <a:pt x="140072" y="146988"/>
                        <a:pt x="150978" y="157509"/>
                        <a:pt x="155496" y="158668"/>
                      </a:cubicBezTo>
                      <a:cubicBezTo>
                        <a:pt x="164649" y="161966"/>
                        <a:pt x="165600" y="152575"/>
                        <a:pt x="162450" y="150287"/>
                      </a:cubicBezTo>
                      <a:cubicBezTo>
                        <a:pt x="155139" y="143363"/>
                        <a:pt x="153415" y="144819"/>
                        <a:pt x="144262" y="135666"/>
                      </a:cubicBezTo>
                      <a:cubicBezTo>
                        <a:pt x="141409" y="131683"/>
                        <a:pt x="143371" y="125561"/>
                        <a:pt x="151216" y="127107"/>
                      </a:cubicBezTo>
                      <a:cubicBezTo>
                        <a:pt x="155585" y="129692"/>
                        <a:pt x="168334" y="142501"/>
                        <a:pt x="173148" y="143868"/>
                      </a:cubicBezTo>
                      <a:cubicBezTo>
                        <a:pt x="180994" y="148979"/>
                        <a:pt x="184827" y="137657"/>
                        <a:pt x="180102" y="135309"/>
                      </a:cubicBezTo>
                      <a:cubicBezTo>
                        <a:pt x="178230" y="132783"/>
                        <a:pt x="160518" y="120212"/>
                        <a:pt x="157100" y="116943"/>
                      </a:cubicBezTo>
                      <a:cubicBezTo>
                        <a:pt x="151335" y="111297"/>
                        <a:pt x="158408" y="104580"/>
                        <a:pt x="162628" y="107671"/>
                      </a:cubicBezTo>
                      <a:lnTo>
                        <a:pt x="181172" y="120866"/>
                      </a:lnTo>
                      <a:cubicBezTo>
                        <a:pt x="189672" y="128117"/>
                        <a:pt x="195140" y="115576"/>
                        <a:pt x="188304" y="110881"/>
                      </a:cubicBezTo>
                      <a:lnTo>
                        <a:pt x="131602" y="58814"/>
                      </a:lnTo>
                      <a:cubicBezTo>
                        <a:pt x="127026" y="53999"/>
                        <a:pt x="138853" y="54178"/>
                        <a:pt x="143014" y="54535"/>
                      </a:cubicBezTo>
                      <a:close/>
                      <a:moveTo>
                        <a:pt x="47678" y="524"/>
                      </a:moveTo>
                      <a:cubicBezTo>
                        <a:pt x="51540" y="1006"/>
                        <a:pt x="54950" y="2761"/>
                        <a:pt x="57539" y="4171"/>
                      </a:cubicBezTo>
                      <a:cubicBezTo>
                        <a:pt x="64271" y="8314"/>
                        <a:pt x="65997" y="17463"/>
                        <a:pt x="90509" y="8832"/>
                      </a:cubicBezTo>
                      <a:cubicBezTo>
                        <a:pt x="107598" y="6214"/>
                        <a:pt x="98679" y="9752"/>
                        <a:pt x="92235" y="13838"/>
                      </a:cubicBezTo>
                      <a:cubicBezTo>
                        <a:pt x="84755" y="17923"/>
                        <a:pt x="80785" y="32365"/>
                        <a:pt x="54950" y="16772"/>
                      </a:cubicBezTo>
                      <a:cubicBezTo>
                        <a:pt x="47757" y="8601"/>
                        <a:pt x="42291" y="12169"/>
                        <a:pt x="40104" y="15046"/>
                      </a:cubicBezTo>
                      <a:lnTo>
                        <a:pt x="14212" y="43873"/>
                      </a:lnTo>
                      <a:cubicBezTo>
                        <a:pt x="9580" y="47959"/>
                        <a:pt x="11651" y="51785"/>
                        <a:pt x="13521" y="54576"/>
                      </a:cubicBezTo>
                      <a:cubicBezTo>
                        <a:pt x="16398" y="58978"/>
                        <a:pt x="19333" y="59381"/>
                        <a:pt x="23878" y="65451"/>
                      </a:cubicBezTo>
                      <a:cubicBezTo>
                        <a:pt x="28827" y="69623"/>
                        <a:pt x="27734" y="74456"/>
                        <a:pt x="28712" y="78570"/>
                      </a:cubicBezTo>
                      <a:cubicBezTo>
                        <a:pt x="29517" y="85619"/>
                        <a:pt x="31790" y="90222"/>
                        <a:pt x="32509" y="93070"/>
                      </a:cubicBezTo>
                      <a:cubicBezTo>
                        <a:pt x="29143" y="96091"/>
                        <a:pt x="24080" y="101759"/>
                        <a:pt x="24742" y="99803"/>
                      </a:cubicBezTo>
                      <a:cubicBezTo>
                        <a:pt x="22296" y="97990"/>
                        <a:pt x="19678" y="90855"/>
                        <a:pt x="17837" y="82195"/>
                      </a:cubicBezTo>
                      <a:cubicBezTo>
                        <a:pt x="18240" y="70256"/>
                        <a:pt x="11594" y="69796"/>
                        <a:pt x="7825" y="65106"/>
                      </a:cubicBezTo>
                      <a:cubicBezTo>
                        <a:pt x="-3021" y="54461"/>
                        <a:pt x="-691" y="49541"/>
                        <a:pt x="3510" y="39040"/>
                      </a:cubicBezTo>
                      <a:lnTo>
                        <a:pt x="35099" y="4516"/>
                      </a:lnTo>
                      <a:cubicBezTo>
                        <a:pt x="39500" y="834"/>
                        <a:pt x="43816" y="42"/>
                        <a:pt x="47678" y="524"/>
                      </a:cubicBezTo>
                      <a:close/>
                      <a:moveTo>
                        <a:pt x="182574" y="357"/>
                      </a:moveTo>
                      <a:cubicBezTo>
                        <a:pt x="185820" y="1136"/>
                        <a:pt x="188760" y="3074"/>
                        <a:pt x="190928" y="5012"/>
                      </a:cubicBezTo>
                      <a:lnTo>
                        <a:pt x="216639" y="33183"/>
                      </a:lnTo>
                      <a:cubicBezTo>
                        <a:pt x="219016" y="35628"/>
                        <a:pt x="221907" y="39618"/>
                        <a:pt x="219132" y="47858"/>
                      </a:cubicBezTo>
                      <a:cubicBezTo>
                        <a:pt x="216556" y="52665"/>
                        <a:pt x="211019" y="57988"/>
                        <a:pt x="207928" y="61251"/>
                      </a:cubicBezTo>
                      <a:cubicBezTo>
                        <a:pt x="205138" y="69536"/>
                        <a:pt x="203764" y="75116"/>
                        <a:pt x="200845" y="82500"/>
                      </a:cubicBezTo>
                      <a:cubicBezTo>
                        <a:pt x="199514" y="85161"/>
                        <a:pt x="195737" y="87951"/>
                        <a:pt x="190672" y="85461"/>
                      </a:cubicBezTo>
                      <a:lnTo>
                        <a:pt x="153156" y="49730"/>
                      </a:lnTo>
                      <a:cubicBezTo>
                        <a:pt x="150722" y="47585"/>
                        <a:pt x="146503" y="44141"/>
                        <a:pt x="136605" y="46214"/>
                      </a:cubicBezTo>
                      <a:cubicBezTo>
                        <a:pt x="132440" y="46467"/>
                        <a:pt x="129493" y="46296"/>
                        <a:pt x="122164" y="44267"/>
                      </a:cubicBezTo>
                      <a:cubicBezTo>
                        <a:pt x="120352" y="43213"/>
                        <a:pt x="117838" y="40960"/>
                        <a:pt x="109670" y="45728"/>
                      </a:cubicBezTo>
                      <a:cubicBezTo>
                        <a:pt x="92197" y="55480"/>
                        <a:pt x="85921" y="60689"/>
                        <a:pt x="76237" y="65087"/>
                      </a:cubicBezTo>
                      <a:cubicBezTo>
                        <a:pt x="67856" y="68802"/>
                        <a:pt x="51524" y="60024"/>
                        <a:pt x="63101" y="47837"/>
                      </a:cubicBezTo>
                      <a:lnTo>
                        <a:pt x="103335" y="17150"/>
                      </a:lnTo>
                      <a:cubicBezTo>
                        <a:pt x="124222" y="1846"/>
                        <a:pt x="144135" y="11044"/>
                        <a:pt x="155773" y="11156"/>
                      </a:cubicBezTo>
                      <a:cubicBezTo>
                        <a:pt x="164143" y="11756"/>
                        <a:pt x="167234" y="6047"/>
                        <a:pt x="172385" y="2656"/>
                      </a:cubicBezTo>
                      <a:cubicBezTo>
                        <a:pt x="175776" y="-42"/>
                        <a:pt x="179328" y="-422"/>
                        <a:pt x="182574" y="357"/>
                      </a:cubicBezTo>
                      <a:close/>
                    </a:path>
                  </a:pathLst>
                </a:custGeom>
                <a:solidFill>
                  <a:schemeClr val="bg1"/>
                </a:solidFill>
                <a:ln w="12700" cap="flat" cmpd="sng" algn="ctr">
                  <a:noFill/>
                  <a:prstDash val="solid"/>
                  <a:miter lim="800000"/>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34" name="Group 33"/>
              <p:cNvGrpSpPr/>
              <p:nvPr/>
            </p:nvGrpSpPr>
            <p:grpSpPr>
              <a:xfrm>
                <a:off x="2833384" y="3891381"/>
                <a:ext cx="949664" cy="1732911"/>
                <a:chOff x="2833384" y="3891381"/>
                <a:chExt cx="949664" cy="1732911"/>
              </a:xfrm>
            </p:grpSpPr>
            <p:grpSp>
              <p:nvGrpSpPr>
                <p:cNvPr id="45" name="Group 44"/>
                <p:cNvGrpSpPr/>
                <p:nvPr/>
              </p:nvGrpSpPr>
              <p:grpSpPr>
                <a:xfrm rot="8100000">
                  <a:off x="2833384" y="3891381"/>
                  <a:ext cx="949664" cy="1732911"/>
                  <a:chOff x="4106373" y="341832"/>
                  <a:chExt cx="1017797" cy="1857239"/>
                </a:xfrm>
              </p:grpSpPr>
              <p:sp>
                <p:nvSpPr>
                  <p:cNvPr id="47" name="Oval 46"/>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48" name="Freeform 47"/>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D34B29"/>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46" name="Freeform 45"/>
                <p:cNvSpPr/>
                <p:nvPr/>
              </p:nvSpPr>
              <p:spPr>
                <a:xfrm>
                  <a:off x="3347330" y="4783633"/>
                  <a:ext cx="367940" cy="367938"/>
                </a:xfrm>
                <a:custGeom>
                  <a:avLst/>
                  <a:gdLst>
                    <a:gd name="connsiteX0" fmla="*/ 630627 w 1357911"/>
                    <a:gd name="connsiteY0" fmla="*/ 0 h 1357911"/>
                    <a:gd name="connsiteX1" fmla="*/ 727283 w 1357911"/>
                    <a:gd name="connsiteY1" fmla="*/ 0 h 1357911"/>
                    <a:gd name="connsiteX2" fmla="*/ 769573 w 1357911"/>
                    <a:gd name="connsiteY2" fmla="*/ 42290 h 1357911"/>
                    <a:gd name="connsiteX3" fmla="*/ 769573 w 1357911"/>
                    <a:gd name="connsiteY3" fmla="*/ 105138 h 1357911"/>
                    <a:gd name="connsiteX4" fmla="*/ 796163 w 1357911"/>
                    <a:gd name="connsiteY4" fmla="*/ 109195 h 1357911"/>
                    <a:gd name="connsiteX5" fmla="*/ 1004119 w 1357911"/>
                    <a:gd name="connsiteY5" fmla="*/ 196704 h 1357911"/>
                    <a:gd name="connsiteX6" fmla="*/ 1019973 w 1357911"/>
                    <a:gd name="connsiteY6" fmla="*/ 209784 h 1357911"/>
                    <a:gd name="connsiteX7" fmla="*/ 1065069 w 1357911"/>
                    <a:gd name="connsiteY7" fmla="*/ 164688 h 1357911"/>
                    <a:gd name="connsiteX8" fmla="*/ 1094973 w 1357911"/>
                    <a:gd name="connsiteY8" fmla="*/ 152302 h 1357911"/>
                    <a:gd name="connsiteX9" fmla="*/ 1124876 w 1357911"/>
                    <a:gd name="connsiteY9" fmla="*/ 164688 h 1357911"/>
                    <a:gd name="connsiteX10" fmla="*/ 1193223 w 1357911"/>
                    <a:gd name="connsiteY10" fmla="*/ 233034 h 1357911"/>
                    <a:gd name="connsiteX11" fmla="*/ 1193223 w 1357911"/>
                    <a:gd name="connsiteY11" fmla="*/ 292841 h 1357911"/>
                    <a:gd name="connsiteX12" fmla="*/ 1148126 w 1357911"/>
                    <a:gd name="connsiteY12" fmla="*/ 337938 h 1357911"/>
                    <a:gd name="connsiteX13" fmla="*/ 1161206 w 1357911"/>
                    <a:gd name="connsiteY13" fmla="*/ 353791 h 1357911"/>
                    <a:gd name="connsiteX14" fmla="*/ 1248714 w 1357911"/>
                    <a:gd name="connsiteY14" fmla="*/ 561746 h 1357911"/>
                    <a:gd name="connsiteX15" fmla="*/ 1252771 w 1357911"/>
                    <a:gd name="connsiteY15" fmla="*/ 588337 h 1357911"/>
                    <a:gd name="connsiteX16" fmla="*/ 1315621 w 1357911"/>
                    <a:gd name="connsiteY16" fmla="*/ 588337 h 1357911"/>
                    <a:gd name="connsiteX17" fmla="*/ 1357911 w 1357911"/>
                    <a:gd name="connsiteY17" fmla="*/ 630626 h 1357911"/>
                    <a:gd name="connsiteX18" fmla="*/ 1357911 w 1357911"/>
                    <a:gd name="connsiteY18" fmla="*/ 727283 h 1357911"/>
                    <a:gd name="connsiteX19" fmla="*/ 1315621 w 1357911"/>
                    <a:gd name="connsiteY19" fmla="*/ 769573 h 1357911"/>
                    <a:gd name="connsiteX20" fmla="*/ 1252771 w 1357911"/>
                    <a:gd name="connsiteY20" fmla="*/ 769573 h 1357911"/>
                    <a:gd name="connsiteX21" fmla="*/ 1248715 w 1357911"/>
                    <a:gd name="connsiteY21" fmla="*/ 796162 h 1357911"/>
                    <a:gd name="connsiteX22" fmla="*/ 1161206 w 1357911"/>
                    <a:gd name="connsiteY22" fmla="*/ 1004119 h 1357911"/>
                    <a:gd name="connsiteX23" fmla="*/ 1148126 w 1357911"/>
                    <a:gd name="connsiteY23" fmla="*/ 1019972 h 1357911"/>
                    <a:gd name="connsiteX24" fmla="*/ 1193222 w 1357911"/>
                    <a:gd name="connsiteY24" fmla="*/ 1065067 h 1357911"/>
                    <a:gd name="connsiteX25" fmla="*/ 1193222 w 1357911"/>
                    <a:gd name="connsiteY25" fmla="*/ 1124876 h 1357911"/>
                    <a:gd name="connsiteX26" fmla="*/ 1124877 w 1357911"/>
                    <a:gd name="connsiteY26" fmla="*/ 1193221 h 1357911"/>
                    <a:gd name="connsiteX27" fmla="*/ 1065068 w 1357911"/>
                    <a:gd name="connsiteY27" fmla="*/ 1193221 h 1357911"/>
                    <a:gd name="connsiteX28" fmla="*/ 1019973 w 1357911"/>
                    <a:gd name="connsiteY28" fmla="*/ 1148125 h 1357911"/>
                    <a:gd name="connsiteX29" fmla="*/ 1004119 w 1357911"/>
                    <a:gd name="connsiteY29" fmla="*/ 1161206 h 1357911"/>
                    <a:gd name="connsiteX30" fmla="*/ 796162 w 1357911"/>
                    <a:gd name="connsiteY30" fmla="*/ 1248714 h 1357911"/>
                    <a:gd name="connsiteX31" fmla="*/ 769572 w 1357911"/>
                    <a:gd name="connsiteY31" fmla="*/ 1252771 h 1357911"/>
                    <a:gd name="connsiteX32" fmla="*/ 769572 w 1357911"/>
                    <a:gd name="connsiteY32" fmla="*/ 1315621 h 1357911"/>
                    <a:gd name="connsiteX33" fmla="*/ 727283 w 1357911"/>
                    <a:gd name="connsiteY33" fmla="*/ 1357911 h 1357911"/>
                    <a:gd name="connsiteX34" fmla="*/ 630627 w 1357911"/>
                    <a:gd name="connsiteY34" fmla="*/ 1357910 h 1357911"/>
                    <a:gd name="connsiteX35" fmla="*/ 588337 w 1357911"/>
                    <a:gd name="connsiteY35" fmla="*/ 1315620 h 1357911"/>
                    <a:gd name="connsiteX36" fmla="*/ 588337 w 1357911"/>
                    <a:gd name="connsiteY36" fmla="*/ 1252772 h 1357911"/>
                    <a:gd name="connsiteX37" fmla="*/ 561746 w 1357911"/>
                    <a:gd name="connsiteY37" fmla="*/ 1248714 h 1357911"/>
                    <a:gd name="connsiteX38" fmla="*/ 353791 w 1357911"/>
                    <a:gd name="connsiteY38" fmla="*/ 1161206 h 1357911"/>
                    <a:gd name="connsiteX39" fmla="*/ 337938 w 1357911"/>
                    <a:gd name="connsiteY39" fmla="*/ 1148126 h 1357911"/>
                    <a:gd name="connsiteX40" fmla="*/ 292841 w 1357911"/>
                    <a:gd name="connsiteY40" fmla="*/ 1193222 h 1357911"/>
                    <a:gd name="connsiteX41" fmla="*/ 233034 w 1357911"/>
                    <a:gd name="connsiteY41" fmla="*/ 1193222 h 1357911"/>
                    <a:gd name="connsiteX42" fmla="*/ 164688 w 1357911"/>
                    <a:gd name="connsiteY42" fmla="*/ 1124876 h 1357911"/>
                    <a:gd name="connsiteX43" fmla="*/ 164688 w 1357911"/>
                    <a:gd name="connsiteY43" fmla="*/ 1065068 h 1357911"/>
                    <a:gd name="connsiteX44" fmla="*/ 209784 w 1357911"/>
                    <a:gd name="connsiteY44" fmla="*/ 1019972 h 1357911"/>
                    <a:gd name="connsiteX45" fmla="*/ 196704 w 1357911"/>
                    <a:gd name="connsiteY45" fmla="*/ 1004119 h 1357911"/>
                    <a:gd name="connsiteX46" fmla="*/ 109195 w 1357911"/>
                    <a:gd name="connsiteY46" fmla="*/ 796162 h 1357911"/>
                    <a:gd name="connsiteX47" fmla="*/ 105137 w 1357911"/>
                    <a:gd name="connsiteY47" fmla="*/ 769574 h 1357911"/>
                    <a:gd name="connsiteX48" fmla="*/ 42290 w 1357911"/>
                    <a:gd name="connsiteY48" fmla="*/ 769573 h 1357911"/>
                    <a:gd name="connsiteX49" fmla="*/ 0 w 1357911"/>
                    <a:gd name="connsiteY49" fmla="*/ 727283 h 1357911"/>
                    <a:gd name="connsiteX50" fmla="*/ 0 w 1357911"/>
                    <a:gd name="connsiteY50" fmla="*/ 630626 h 1357911"/>
                    <a:gd name="connsiteX51" fmla="*/ 42290 w 1357911"/>
                    <a:gd name="connsiteY51" fmla="*/ 588337 h 1357911"/>
                    <a:gd name="connsiteX52" fmla="*/ 105138 w 1357911"/>
                    <a:gd name="connsiteY52" fmla="*/ 588337 h 1357911"/>
                    <a:gd name="connsiteX53" fmla="*/ 109196 w 1357911"/>
                    <a:gd name="connsiteY53" fmla="*/ 561748 h 1357911"/>
                    <a:gd name="connsiteX54" fmla="*/ 196704 w 1357911"/>
                    <a:gd name="connsiteY54" fmla="*/ 353791 h 1357911"/>
                    <a:gd name="connsiteX55" fmla="*/ 209784 w 1357911"/>
                    <a:gd name="connsiteY55" fmla="*/ 337937 h 1357911"/>
                    <a:gd name="connsiteX56" fmla="*/ 164688 w 1357911"/>
                    <a:gd name="connsiteY56" fmla="*/ 292842 h 1357911"/>
                    <a:gd name="connsiteX57" fmla="*/ 164688 w 1357911"/>
                    <a:gd name="connsiteY57" fmla="*/ 233033 h 1357911"/>
                    <a:gd name="connsiteX58" fmla="*/ 233033 w 1357911"/>
                    <a:gd name="connsiteY58" fmla="*/ 164688 h 1357911"/>
                    <a:gd name="connsiteX59" fmla="*/ 262938 w 1357911"/>
                    <a:gd name="connsiteY59" fmla="*/ 152302 h 1357911"/>
                    <a:gd name="connsiteX60" fmla="*/ 292842 w 1357911"/>
                    <a:gd name="connsiteY60" fmla="*/ 164688 h 1357911"/>
                    <a:gd name="connsiteX61" fmla="*/ 337938 w 1357911"/>
                    <a:gd name="connsiteY61" fmla="*/ 209783 h 1357911"/>
                    <a:gd name="connsiteX62" fmla="*/ 353791 w 1357911"/>
                    <a:gd name="connsiteY62" fmla="*/ 196704 h 1357911"/>
                    <a:gd name="connsiteX63" fmla="*/ 561746 w 1357911"/>
                    <a:gd name="connsiteY63" fmla="*/ 109195 h 1357911"/>
                    <a:gd name="connsiteX64" fmla="*/ 588337 w 1357911"/>
                    <a:gd name="connsiteY64" fmla="*/ 105138 h 1357911"/>
                    <a:gd name="connsiteX65" fmla="*/ 588337 w 1357911"/>
                    <a:gd name="connsiteY65" fmla="*/ 42290 h 1357911"/>
                    <a:gd name="connsiteX66" fmla="*/ 630627 w 1357911"/>
                    <a:gd name="connsiteY66" fmla="*/ 0 h 1357911"/>
                    <a:gd name="connsiteX67" fmla="*/ 678955 w 1357911"/>
                    <a:gd name="connsiteY67" fmla="*/ 339023 h 1357911"/>
                    <a:gd name="connsiteX68" fmla="*/ 339023 w 1357911"/>
                    <a:gd name="connsiteY68" fmla="*/ 678955 h 1357911"/>
                    <a:gd name="connsiteX69" fmla="*/ 678955 w 1357911"/>
                    <a:gd name="connsiteY69" fmla="*/ 1018887 h 1357911"/>
                    <a:gd name="connsiteX70" fmla="*/ 1018888 w 1357911"/>
                    <a:gd name="connsiteY70" fmla="*/ 678955 h 1357911"/>
                    <a:gd name="connsiteX71" fmla="*/ 678955 w 1357911"/>
                    <a:gd name="connsiteY71" fmla="*/ 339023 h 135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57911" h="1357911">
                      <a:moveTo>
                        <a:pt x="630627" y="0"/>
                      </a:moveTo>
                      <a:lnTo>
                        <a:pt x="727283" y="0"/>
                      </a:lnTo>
                      <a:cubicBezTo>
                        <a:pt x="750640" y="0"/>
                        <a:pt x="769573" y="18934"/>
                        <a:pt x="769573" y="42290"/>
                      </a:cubicBezTo>
                      <a:lnTo>
                        <a:pt x="769573" y="105138"/>
                      </a:lnTo>
                      <a:lnTo>
                        <a:pt x="796163" y="109195"/>
                      </a:lnTo>
                      <a:cubicBezTo>
                        <a:pt x="871880" y="124690"/>
                        <a:pt x="942239" y="154899"/>
                        <a:pt x="1004119" y="196704"/>
                      </a:cubicBezTo>
                      <a:lnTo>
                        <a:pt x="1019973" y="209784"/>
                      </a:lnTo>
                      <a:lnTo>
                        <a:pt x="1065069" y="164688"/>
                      </a:lnTo>
                      <a:cubicBezTo>
                        <a:pt x="1073327" y="156430"/>
                        <a:pt x="1084150" y="152302"/>
                        <a:pt x="1094973" y="152302"/>
                      </a:cubicBezTo>
                      <a:cubicBezTo>
                        <a:pt x="1105796" y="152302"/>
                        <a:pt x="1116618" y="156430"/>
                        <a:pt x="1124876" y="164688"/>
                      </a:cubicBezTo>
                      <a:lnTo>
                        <a:pt x="1193223" y="233034"/>
                      </a:lnTo>
                      <a:cubicBezTo>
                        <a:pt x="1209738" y="249550"/>
                        <a:pt x="1209738" y="276326"/>
                        <a:pt x="1193223" y="292841"/>
                      </a:cubicBezTo>
                      <a:lnTo>
                        <a:pt x="1148126" y="337938"/>
                      </a:lnTo>
                      <a:lnTo>
                        <a:pt x="1161206" y="353791"/>
                      </a:lnTo>
                      <a:cubicBezTo>
                        <a:pt x="1203011" y="415670"/>
                        <a:pt x="1233219" y="486029"/>
                        <a:pt x="1248714" y="561746"/>
                      </a:cubicBezTo>
                      <a:lnTo>
                        <a:pt x="1252771" y="588337"/>
                      </a:lnTo>
                      <a:lnTo>
                        <a:pt x="1315621" y="588337"/>
                      </a:lnTo>
                      <a:cubicBezTo>
                        <a:pt x="1338976" y="588337"/>
                        <a:pt x="1357911" y="607271"/>
                        <a:pt x="1357911" y="630626"/>
                      </a:cubicBezTo>
                      <a:lnTo>
                        <a:pt x="1357911" y="727283"/>
                      </a:lnTo>
                      <a:cubicBezTo>
                        <a:pt x="1357911" y="750638"/>
                        <a:pt x="1338977" y="769574"/>
                        <a:pt x="1315621" y="769573"/>
                      </a:cubicBezTo>
                      <a:lnTo>
                        <a:pt x="1252771" y="769573"/>
                      </a:lnTo>
                      <a:lnTo>
                        <a:pt x="1248715" y="796162"/>
                      </a:lnTo>
                      <a:cubicBezTo>
                        <a:pt x="1233220" y="871880"/>
                        <a:pt x="1203011" y="942239"/>
                        <a:pt x="1161206" y="1004119"/>
                      </a:cubicBezTo>
                      <a:lnTo>
                        <a:pt x="1148126" y="1019972"/>
                      </a:lnTo>
                      <a:lnTo>
                        <a:pt x="1193222" y="1065067"/>
                      </a:lnTo>
                      <a:cubicBezTo>
                        <a:pt x="1209737" y="1081584"/>
                        <a:pt x="1209737" y="1108360"/>
                        <a:pt x="1193222" y="1124876"/>
                      </a:cubicBezTo>
                      <a:lnTo>
                        <a:pt x="1124877" y="1193221"/>
                      </a:lnTo>
                      <a:cubicBezTo>
                        <a:pt x="1108361" y="1209737"/>
                        <a:pt x="1081584" y="1209737"/>
                        <a:pt x="1065068" y="1193221"/>
                      </a:cubicBezTo>
                      <a:lnTo>
                        <a:pt x="1019973" y="1148125"/>
                      </a:lnTo>
                      <a:lnTo>
                        <a:pt x="1004119" y="1161206"/>
                      </a:lnTo>
                      <a:cubicBezTo>
                        <a:pt x="942239" y="1203010"/>
                        <a:pt x="871880" y="1233219"/>
                        <a:pt x="796162" y="1248714"/>
                      </a:cubicBezTo>
                      <a:lnTo>
                        <a:pt x="769572" y="1252771"/>
                      </a:lnTo>
                      <a:lnTo>
                        <a:pt x="769572" y="1315621"/>
                      </a:lnTo>
                      <a:cubicBezTo>
                        <a:pt x="769573" y="1338975"/>
                        <a:pt x="750639" y="1357910"/>
                        <a:pt x="727283" y="1357911"/>
                      </a:cubicBezTo>
                      <a:lnTo>
                        <a:pt x="630627" y="1357910"/>
                      </a:lnTo>
                      <a:cubicBezTo>
                        <a:pt x="607271" y="1357911"/>
                        <a:pt x="588337" y="1338976"/>
                        <a:pt x="588337" y="1315620"/>
                      </a:cubicBezTo>
                      <a:lnTo>
                        <a:pt x="588337" y="1252772"/>
                      </a:lnTo>
                      <a:lnTo>
                        <a:pt x="561746" y="1248714"/>
                      </a:lnTo>
                      <a:cubicBezTo>
                        <a:pt x="486028" y="1233219"/>
                        <a:pt x="415671" y="1203010"/>
                        <a:pt x="353791" y="1161206"/>
                      </a:cubicBezTo>
                      <a:lnTo>
                        <a:pt x="337938" y="1148126"/>
                      </a:lnTo>
                      <a:lnTo>
                        <a:pt x="292841" y="1193222"/>
                      </a:lnTo>
                      <a:cubicBezTo>
                        <a:pt x="276327" y="1209737"/>
                        <a:pt x="249550" y="1209737"/>
                        <a:pt x="233034" y="1193222"/>
                      </a:cubicBezTo>
                      <a:lnTo>
                        <a:pt x="164688" y="1124876"/>
                      </a:lnTo>
                      <a:cubicBezTo>
                        <a:pt x="148173" y="1108360"/>
                        <a:pt x="148173" y="1081583"/>
                        <a:pt x="164688" y="1065068"/>
                      </a:cubicBezTo>
                      <a:lnTo>
                        <a:pt x="209784" y="1019972"/>
                      </a:lnTo>
                      <a:lnTo>
                        <a:pt x="196704" y="1004119"/>
                      </a:lnTo>
                      <a:cubicBezTo>
                        <a:pt x="154898" y="942239"/>
                        <a:pt x="124689" y="871881"/>
                        <a:pt x="109195" y="796162"/>
                      </a:cubicBezTo>
                      <a:lnTo>
                        <a:pt x="105137" y="769574"/>
                      </a:lnTo>
                      <a:lnTo>
                        <a:pt x="42290" y="769573"/>
                      </a:lnTo>
                      <a:cubicBezTo>
                        <a:pt x="18934" y="769574"/>
                        <a:pt x="0" y="750639"/>
                        <a:pt x="0" y="727283"/>
                      </a:cubicBezTo>
                      <a:lnTo>
                        <a:pt x="0" y="630626"/>
                      </a:lnTo>
                      <a:cubicBezTo>
                        <a:pt x="0" y="607271"/>
                        <a:pt x="18933" y="588337"/>
                        <a:pt x="42290" y="588337"/>
                      </a:cubicBezTo>
                      <a:lnTo>
                        <a:pt x="105138" y="588337"/>
                      </a:lnTo>
                      <a:lnTo>
                        <a:pt x="109196" y="561748"/>
                      </a:lnTo>
                      <a:cubicBezTo>
                        <a:pt x="124689" y="486029"/>
                        <a:pt x="154898" y="415670"/>
                        <a:pt x="196704" y="353791"/>
                      </a:cubicBezTo>
                      <a:lnTo>
                        <a:pt x="209784" y="337937"/>
                      </a:lnTo>
                      <a:lnTo>
                        <a:pt x="164688" y="292842"/>
                      </a:lnTo>
                      <a:cubicBezTo>
                        <a:pt x="148174" y="276325"/>
                        <a:pt x="148174" y="249550"/>
                        <a:pt x="164688" y="233033"/>
                      </a:cubicBezTo>
                      <a:lnTo>
                        <a:pt x="233033" y="164688"/>
                      </a:lnTo>
                      <a:cubicBezTo>
                        <a:pt x="241293" y="156431"/>
                        <a:pt x="252115" y="152303"/>
                        <a:pt x="262938" y="152302"/>
                      </a:cubicBezTo>
                      <a:cubicBezTo>
                        <a:pt x="273761" y="152303"/>
                        <a:pt x="284584" y="156431"/>
                        <a:pt x="292842" y="164688"/>
                      </a:cubicBezTo>
                      <a:lnTo>
                        <a:pt x="337938" y="209783"/>
                      </a:lnTo>
                      <a:lnTo>
                        <a:pt x="353791" y="196704"/>
                      </a:lnTo>
                      <a:cubicBezTo>
                        <a:pt x="415671" y="154899"/>
                        <a:pt x="486029" y="124689"/>
                        <a:pt x="561746" y="109195"/>
                      </a:cubicBezTo>
                      <a:lnTo>
                        <a:pt x="588337" y="105138"/>
                      </a:lnTo>
                      <a:lnTo>
                        <a:pt x="588337" y="42290"/>
                      </a:lnTo>
                      <a:cubicBezTo>
                        <a:pt x="588337" y="18934"/>
                        <a:pt x="607272" y="0"/>
                        <a:pt x="630627" y="0"/>
                      </a:cubicBezTo>
                      <a:close/>
                      <a:moveTo>
                        <a:pt x="678955" y="339023"/>
                      </a:moveTo>
                      <a:cubicBezTo>
                        <a:pt x="491215" y="339022"/>
                        <a:pt x="339023" y="491215"/>
                        <a:pt x="339023" y="678955"/>
                      </a:cubicBezTo>
                      <a:cubicBezTo>
                        <a:pt x="339023" y="866696"/>
                        <a:pt x="491215" y="1018887"/>
                        <a:pt x="678955" y="1018887"/>
                      </a:cubicBezTo>
                      <a:cubicBezTo>
                        <a:pt x="866696" y="1018887"/>
                        <a:pt x="1018888" y="866696"/>
                        <a:pt x="1018888" y="678955"/>
                      </a:cubicBezTo>
                      <a:cubicBezTo>
                        <a:pt x="1018888" y="491215"/>
                        <a:pt x="866696" y="339022"/>
                        <a:pt x="678955" y="339023"/>
                      </a:cubicBezTo>
                      <a:close/>
                    </a:path>
                  </a:pathLst>
                </a:custGeom>
                <a:solidFill>
                  <a:schemeClr val="bg1"/>
                </a:solidFill>
                <a:ln w="12700" cap="flat" cmpd="sng" algn="ctr">
                  <a:noFill/>
                  <a:prstDash val="solid"/>
                  <a:miter lim="800000"/>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35" name="Group 34"/>
              <p:cNvGrpSpPr/>
              <p:nvPr/>
            </p:nvGrpSpPr>
            <p:grpSpPr>
              <a:xfrm>
                <a:off x="1504547" y="4441803"/>
                <a:ext cx="949664" cy="1732911"/>
                <a:chOff x="1504547" y="4441803"/>
                <a:chExt cx="949664" cy="1732911"/>
              </a:xfrm>
            </p:grpSpPr>
            <p:grpSp>
              <p:nvGrpSpPr>
                <p:cNvPr id="41" name="Group 40"/>
                <p:cNvGrpSpPr/>
                <p:nvPr/>
              </p:nvGrpSpPr>
              <p:grpSpPr>
                <a:xfrm flipV="1">
                  <a:off x="1504547" y="4441803"/>
                  <a:ext cx="949664" cy="1732911"/>
                  <a:chOff x="4106373" y="341832"/>
                  <a:chExt cx="1017797" cy="1857239"/>
                </a:xfrm>
              </p:grpSpPr>
              <p:sp>
                <p:nvSpPr>
                  <p:cNvPr id="43" name="Oval 42"/>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44" name="Freeform 43"/>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79897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42" name="Freeform 41"/>
                <p:cNvSpPr/>
                <p:nvPr/>
              </p:nvSpPr>
              <p:spPr>
                <a:xfrm>
                  <a:off x="1807995" y="5474546"/>
                  <a:ext cx="323030" cy="287604"/>
                </a:xfrm>
                <a:custGeom>
                  <a:avLst/>
                  <a:gdLst>
                    <a:gd name="connsiteX0" fmla="*/ 79398 w 213033"/>
                    <a:gd name="connsiteY0" fmla="*/ 138405 h 189670"/>
                    <a:gd name="connsiteX1" fmla="*/ 100083 w 213033"/>
                    <a:gd name="connsiteY1" fmla="*/ 138405 h 189670"/>
                    <a:gd name="connsiteX2" fmla="*/ 100083 w 213033"/>
                    <a:gd name="connsiteY2" fmla="*/ 161290 h 189670"/>
                    <a:gd name="connsiteX3" fmla="*/ 79398 w 213033"/>
                    <a:gd name="connsiteY3" fmla="*/ 161290 h 189670"/>
                    <a:gd name="connsiteX4" fmla="*/ 47379 w 213033"/>
                    <a:gd name="connsiteY4" fmla="*/ 138405 h 189670"/>
                    <a:gd name="connsiteX5" fmla="*/ 68064 w 213033"/>
                    <a:gd name="connsiteY5" fmla="*/ 138405 h 189670"/>
                    <a:gd name="connsiteX6" fmla="*/ 68064 w 213033"/>
                    <a:gd name="connsiteY6" fmla="*/ 161290 h 189670"/>
                    <a:gd name="connsiteX7" fmla="*/ 47379 w 213033"/>
                    <a:gd name="connsiteY7" fmla="*/ 161290 h 189670"/>
                    <a:gd name="connsiteX8" fmla="*/ 143681 w 213033"/>
                    <a:gd name="connsiteY8" fmla="*/ 106502 h 189670"/>
                    <a:gd name="connsiteX9" fmla="*/ 164366 w 213033"/>
                    <a:gd name="connsiteY9" fmla="*/ 106502 h 189670"/>
                    <a:gd name="connsiteX10" fmla="*/ 164366 w 213033"/>
                    <a:gd name="connsiteY10" fmla="*/ 129387 h 189670"/>
                    <a:gd name="connsiteX11" fmla="*/ 143681 w 213033"/>
                    <a:gd name="connsiteY11" fmla="*/ 129387 h 189670"/>
                    <a:gd name="connsiteX12" fmla="*/ 111580 w 213033"/>
                    <a:gd name="connsiteY12" fmla="*/ 106502 h 189670"/>
                    <a:gd name="connsiteX13" fmla="*/ 132265 w 213033"/>
                    <a:gd name="connsiteY13" fmla="*/ 106502 h 189670"/>
                    <a:gd name="connsiteX14" fmla="*/ 132265 w 213033"/>
                    <a:gd name="connsiteY14" fmla="*/ 129387 h 189670"/>
                    <a:gd name="connsiteX15" fmla="*/ 111580 w 213033"/>
                    <a:gd name="connsiteY15" fmla="*/ 129387 h 189670"/>
                    <a:gd name="connsiteX16" fmla="*/ 79480 w 213033"/>
                    <a:gd name="connsiteY16" fmla="*/ 106502 h 189670"/>
                    <a:gd name="connsiteX17" fmla="*/ 100165 w 213033"/>
                    <a:gd name="connsiteY17" fmla="*/ 106502 h 189670"/>
                    <a:gd name="connsiteX18" fmla="*/ 100165 w 213033"/>
                    <a:gd name="connsiteY18" fmla="*/ 129387 h 189670"/>
                    <a:gd name="connsiteX19" fmla="*/ 79480 w 213033"/>
                    <a:gd name="connsiteY19" fmla="*/ 129387 h 189670"/>
                    <a:gd name="connsiteX20" fmla="*/ 47379 w 213033"/>
                    <a:gd name="connsiteY20" fmla="*/ 106502 h 189670"/>
                    <a:gd name="connsiteX21" fmla="*/ 68064 w 213033"/>
                    <a:gd name="connsiteY21" fmla="*/ 106502 h 189670"/>
                    <a:gd name="connsiteX22" fmla="*/ 68064 w 213033"/>
                    <a:gd name="connsiteY22" fmla="*/ 129387 h 189670"/>
                    <a:gd name="connsiteX23" fmla="*/ 47379 w 213033"/>
                    <a:gd name="connsiteY23" fmla="*/ 129387 h 189670"/>
                    <a:gd name="connsiteX24" fmla="*/ 143681 w 213033"/>
                    <a:gd name="connsiteY24" fmla="*/ 74380 h 189670"/>
                    <a:gd name="connsiteX25" fmla="*/ 164366 w 213033"/>
                    <a:gd name="connsiteY25" fmla="*/ 74380 h 189670"/>
                    <a:gd name="connsiteX26" fmla="*/ 164366 w 213033"/>
                    <a:gd name="connsiteY26" fmla="*/ 97265 h 189670"/>
                    <a:gd name="connsiteX27" fmla="*/ 143681 w 213033"/>
                    <a:gd name="connsiteY27" fmla="*/ 97265 h 189670"/>
                    <a:gd name="connsiteX28" fmla="*/ 111539 w 213033"/>
                    <a:gd name="connsiteY28" fmla="*/ 74380 h 189670"/>
                    <a:gd name="connsiteX29" fmla="*/ 132224 w 213033"/>
                    <a:gd name="connsiteY29" fmla="*/ 74380 h 189670"/>
                    <a:gd name="connsiteX30" fmla="*/ 132224 w 213033"/>
                    <a:gd name="connsiteY30" fmla="*/ 97265 h 189670"/>
                    <a:gd name="connsiteX31" fmla="*/ 111539 w 213033"/>
                    <a:gd name="connsiteY31" fmla="*/ 97265 h 189670"/>
                    <a:gd name="connsiteX32" fmla="*/ 79398 w 213033"/>
                    <a:gd name="connsiteY32" fmla="*/ 74380 h 189670"/>
                    <a:gd name="connsiteX33" fmla="*/ 100083 w 213033"/>
                    <a:gd name="connsiteY33" fmla="*/ 74380 h 189670"/>
                    <a:gd name="connsiteX34" fmla="*/ 100083 w 213033"/>
                    <a:gd name="connsiteY34" fmla="*/ 97265 h 189670"/>
                    <a:gd name="connsiteX35" fmla="*/ 79398 w 213033"/>
                    <a:gd name="connsiteY35" fmla="*/ 97265 h 189670"/>
                    <a:gd name="connsiteX36" fmla="*/ 27519 w 213033"/>
                    <a:gd name="connsiteY36" fmla="*/ 64477 h 189670"/>
                    <a:gd name="connsiteX37" fmla="*/ 27519 w 213033"/>
                    <a:gd name="connsiteY37" fmla="*/ 172742 h 189670"/>
                    <a:gd name="connsiteX38" fmla="*/ 185515 w 213033"/>
                    <a:gd name="connsiteY38" fmla="*/ 172742 h 189670"/>
                    <a:gd name="connsiteX39" fmla="*/ 185515 w 213033"/>
                    <a:gd name="connsiteY39" fmla="*/ 64477 h 189670"/>
                    <a:gd name="connsiteX40" fmla="*/ 20729 w 213033"/>
                    <a:gd name="connsiteY40" fmla="*/ 15317 h 189670"/>
                    <a:gd name="connsiteX41" fmla="*/ 47094 w 213033"/>
                    <a:gd name="connsiteY41" fmla="*/ 15317 h 189670"/>
                    <a:gd name="connsiteX42" fmla="*/ 47094 w 213033"/>
                    <a:gd name="connsiteY42" fmla="*/ 23216 h 189670"/>
                    <a:gd name="connsiteX43" fmla="*/ 45680 w 213033"/>
                    <a:gd name="connsiteY43" fmla="*/ 24383 h 189670"/>
                    <a:gd name="connsiteX44" fmla="*/ 40815 w 213033"/>
                    <a:gd name="connsiteY44" fmla="*/ 36126 h 189670"/>
                    <a:gd name="connsiteX45" fmla="*/ 57424 w 213033"/>
                    <a:gd name="connsiteY45" fmla="*/ 52734 h 189670"/>
                    <a:gd name="connsiteX46" fmla="*/ 74032 w 213033"/>
                    <a:gd name="connsiteY46" fmla="*/ 36126 h 189670"/>
                    <a:gd name="connsiteX47" fmla="*/ 69167 w 213033"/>
                    <a:gd name="connsiteY47" fmla="*/ 24383 h 189670"/>
                    <a:gd name="connsiteX48" fmla="*/ 67753 w 213033"/>
                    <a:gd name="connsiteY48" fmla="*/ 23216 h 189670"/>
                    <a:gd name="connsiteX49" fmla="*/ 67753 w 213033"/>
                    <a:gd name="connsiteY49" fmla="*/ 15317 h 189670"/>
                    <a:gd name="connsiteX50" fmla="*/ 146572 w 213033"/>
                    <a:gd name="connsiteY50" fmla="*/ 15317 h 189670"/>
                    <a:gd name="connsiteX51" fmla="*/ 146572 w 213033"/>
                    <a:gd name="connsiteY51" fmla="*/ 23216 h 189670"/>
                    <a:gd name="connsiteX52" fmla="*/ 145158 w 213033"/>
                    <a:gd name="connsiteY52" fmla="*/ 24383 h 189670"/>
                    <a:gd name="connsiteX53" fmla="*/ 140293 w 213033"/>
                    <a:gd name="connsiteY53" fmla="*/ 36126 h 189670"/>
                    <a:gd name="connsiteX54" fmla="*/ 156901 w 213033"/>
                    <a:gd name="connsiteY54" fmla="*/ 52734 h 189670"/>
                    <a:gd name="connsiteX55" fmla="*/ 173510 w 213033"/>
                    <a:gd name="connsiteY55" fmla="*/ 36126 h 189670"/>
                    <a:gd name="connsiteX56" fmla="*/ 168645 w 213033"/>
                    <a:gd name="connsiteY56" fmla="*/ 24383 h 189670"/>
                    <a:gd name="connsiteX57" fmla="*/ 167231 w 213033"/>
                    <a:gd name="connsiteY57" fmla="*/ 23216 h 189670"/>
                    <a:gd name="connsiteX58" fmla="*/ 167231 w 213033"/>
                    <a:gd name="connsiteY58" fmla="*/ 15317 h 189670"/>
                    <a:gd name="connsiteX59" fmla="*/ 192304 w 213033"/>
                    <a:gd name="connsiteY59" fmla="*/ 15317 h 189670"/>
                    <a:gd name="connsiteX60" fmla="*/ 213033 w 213033"/>
                    <a:gd name="connsiteY60" fmla="*/ 36046 h 189670"/>
                    <a:gd name="connsiteX61" fmla="*/ 213033 w 213033"/>
                    <a:gd name="connsiteY61" fmla="*/ 168941 h 189670"/>
                    <a:gd name="connsiteX62" fmla="*/ 192304 w 213033"/>
                    <a:gd name="connsiteY62" fmla="*/ 189670 h 189670"/>
                    <a:gd name="connsiteX63" fmla="*/ 20729 w 213033"/>
                    <a:gd name="connsiteY63" fmla="*/ 189670 h 189670"/>
                    <a:gd name="connsiteX64" fmla="*/ 0 w 213033"/>
                    <a:gd name="connsiteY64" fmla="*/ 168941 h 189670"/>
                    <a:gd name="connsiteX65" fmla="*/ 0 w 213033"/>
                    <a:gd name="connsiteY65" fmla="*/ 36046 h 189670"/>
                    <a:gd name="connsiteX66" fmla="*/ 20729 w 213033"/>
                    <a:gd name="connsiteY66" fmla="*/ 15317 h 189670"/>
                    <a:gd name="connsiteX67" fmla="*/ 156901 w 213033"/>
                    <a:gd name="connsiteY67" fmla="*/ 0 h 189670"/>
                    <a:gd name="connsiteX68" fmla="*/ 162997 w 213033"/>
                    <a:gd name="connsiteY68" fmla="*/ 6096 h 189670"/>
                    <a:gd name="connsiteX69" fmla="*/ 162997 w 213033"/>
                    <a:gd name="connsiteY69" fmla="*/ 35936 h 189670"/>
                    <a:gd name="connsiteX70" fmla="*/ 156901 w 213033"/>
                    <a:gd name="connsiteY70" fmla="*/ 42032 h 189670"/>
                    <a:gd name="connsiteX71" fmla="*/ 150805 w 213033"/>
                    <a:gd name="connsiteY71" fmla="*/ 35936 h 189670"/>
                    <a:gd name="connsiteX72" fmla="*/ 150805 w 213033"/>
                    <a:gd name="connsiteY72" fmla="*/ 6096 h 189670"/>
                    <a:gd name="connsiteX73" fmla="*/ 156901 w 213033"/>
                    <a:gd name="connsiteY73" fmla="*/ 0 h 189670"/>
                    <a:gd name="connsiteX74" fmla="*/ 57424 w 213033"/>
                    <a:gd name="connsiteY74" fmla="*/ 0 h 189670"/>
                    <a:gd name="connsiteX75" fmla="*/ 63520 w 213033"/>
                    <a:gd name="connsiteY75" fmla="*/ 6096 h 189670"/>
                    <a:gd name="connsiteX76" fmla="*/ 63520 w 213033"/>
                    <a:gd name="connsiteY76" fmla="*/ 35936 h 189670"/>
                    <a:gd name="connsiteX77" fmla="*/ 57424 w 213033"/>
                    <a:gd name="connsiteY77" fmla="*/ 42032 h 189670"/>
                    <a:gd name="connsiteX78" fmla="*/ 51328 w 213033"/>
                    <a:gd name="connsiteY78" fmla="*/ 35936 h 189670"/>
                    <a:gd name="connsiteX79" fmla="*/ 51328 w 213033"/>
                    <a:gd name="connsiteY79" fmla="*/ 6096 h 189670"/>
                    <a:gd name="connsiteX80" fmla="*/ 57424 w 213033"/>
                    <a:gd name="connsiteY80" fmla="*/ 0 h 18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13033" h="189670">
                      <a:moveTo>
                        <a:pt x="79398" y="138405"/>
                      </a:moveTo>
                      <a:lnTo>
                        <a:pt x="100083" y="138405"/>
                      </a:lnTo>
                      <a:lnTo>
                        <a:pt x="100083" y="161290"/>
                      </a:lnTo>
                      <a:lnTo>
                        <a:pt x="79398" y="161290"/>
                      </a:lnTo>
                      <a:close/>
                      <a:moveTo>
                        <a:pt x="47379" y="138405"/>
                      </a:moveTo>
                      <a:lnTo>
                        <a:pt x="68064" y="138405"/>
                      </a:lnTo>
                      <a:lnTo>
                        <a:pt x="68064" y="161290"/>
                      </a:lnTo>
                      <a:lnTo>
                        <a:pt x="47379" y="161290"/>
                      </a:lnTo>
                      <a:close/>
                      <a:moveTo>
                        <a:pt x="143681" y="106502"/>
                      </a:moveTo>
                      <a:lnTo>
                        <a:pt x="164366" y="106502"/>
                      </a:lnTo>
                      <a:lnTo>
                        <a:pt x="164366" y="129387"/>
                      </a:lnTo>
                      <a:lnTo>
                        <a:pt x="143681" y="129387"/>
                      </a:lnTo>
                      <a:close/>
                      <a:moveTo>
                        <a:pt x="111580" y="106502"/>
                      </a:moveTo>
                      <a:lnTo>
                        <a:pt x="132265" y="106502"/>
                      </a:lnTo>
                      <a:lnTo>
                        <a:pt x="132265" y="129387"/>
                      </a:lnTo>
                      <a:lnTo>
                        <a:pt x="111580" y="129387"/>
                      </a:lnTo>
                      <a:close/>
                      <a:moveTo>
                        <a:pt x="79480" y="106502"/>
                      </a:moveTo>
                      <a:lnTo>
                        <a:pt x="100165" y="106502"/>
                      </a:lnTo>
                      <a:lnTo>
                        <a:pt x="100165" y="129387"/>
                      </a:lnTo>
                      <a:lnTo>
                        <a:pt x="79480" y="129387"/>
                      </a:lnTo>
                      <a:close/>
                      <a:moveTo>
                        <a:pt x="47379" y="106502"/>
                      </a:moveTo>
                      <a:lnTo>
                        <a:pt x="68064" y="106502"/>
                      </a:lnTo>
                      <a:lnTo>
                        <a:pt x="68064" y="129387"/>
                      </a:lnTo>
                      <a:lnTo>
                        <a:pt x="47379" y="129387"/>
                      </a:lnTo>
                      <a:close/>
                      <a:moveTo>
                        <a:pt x="143681" y="74380"/>
                      </a:moveTo>
                      <a:lnTo>
                        <a:pt x="164366" y="74380"/>
                      </a:lnTo>
                      <a:lnTo>
                        <a:pt x="164366" y="97265"/>
                      </a:lnTo>
                      <a:lnTo>
                        <a:pt x="143681" y="97265"/>
                      </a:lnTo>
                      <a:close/>
                      <a:moveTo>
                        <a:pt x="111539" y="74380"/>
                      </a:moveTo>
                      <a:lnTo>
                        <a:pt x="132224" y="74380"/>
                      </a:lnTo>
                      <a:lnTo>
                        <a:pt x="132224" y="97265"/>
                      </a:lnTo>
                      <a:lnTo>
                        <a:pt x="111539" y="97265"/>
                      </a:lnTo>
                      <a:close/>
                      <a:moveTo>
                        <a:pt x="79398" y="74380"/>
                      </a:moveTo>
                      <a:lnTo>
                        <a:pt x="100083" y="74380"/>
                      </a:lnTo>
                      <a:lnTo>
                        <a:pt x="100083" y="97265"/>
                      </a:lnTo>
                      <a:lnTo>
                        <a:pt x="79398" y="97265"/>
                      </a:lnTo>
                      <a:close/>
                      <a:moveTo>
                        <a:pt x="27519" y="64477"/>
                      </a:moveTo>
                      <a:lnTo>
                        <a:pt x="27519" y="172742"/>
                      </a:lnTo>
                      <a:lnTo>
                        <a:pt x="185515" y="172742"/>
                      </a:lnTo>
                      <a:lnTo>
                        <a:pt x="185515" y="64477"/>
                      </a:lnTo>
                      <a:close/>
                      <a:moveTo>
                        <a:pt x="20729" y="15317"/>
                      </a:moveTo>
                      <a:lnTo>
                        <a:pt x="47094" y="15317"/>
                      </a:lnTo>
                      <a:lnTo>
                        <a:pt x="47094" y="23216"/>
                      </a:lnTo>
                      <a:lnTo>
                        <a:pt x="45680" y="24383"/>
                      </a:lnTo>
                      <a:cubicBezTo>
                        <a:pt x="42674" y="27388"/>
                        <a:pt x="40815" y="31540"/>
                        <a:pt x="40815" y="36126"/>
                      </a:cubicBezTo>
                      <a:cubicBezTo>
                        <a:pt x="40815" y="45299"/>
                        <a:pt x="48251" y="52734"/>
                        <a:pt x="57424" y="52734"/>
                      </a:cubicBezTo>
                      <a:cubicBezTo>
                        <a:pt x="66596" y="52734"/>
                        <a:pt x="74032" y="45299"/>
                        <a:pt x="74032" y="36126"/>
                      </a:cubicBezTo>
                      <a:cubicBezTo>
                        <a:pt x="74032" y="31540"/>
                        <a:pt x="72173" y="27388"/>
                        <a:pt x="69167" y="24383"/>
                      </a:cubicBezTo>
                      <a:lnTo>
                        <a:pt x="67753" y="23216"/>
                      </a:lnTo>
                      <a:lnTo>
                        <a:pt x="67753" y="15317"/>
                      </a:lnTo>
                      <a:lnTo>
                        <a:pt x="146572" y="15317"/>
                      </a:lnTo>
                      <a:lnTo>
                        <a:pt x="146572" y="23216"/>
                      </a:lnTo>
                      <a:lnTo>
                        <a:pt x="145158" y="24383"/>
                      </a:lnTo>
                      <a:cubicBezTo>
                        <a:pt x="142152" y="27388"/>
                        <a:pt x="140293" y="31540"/>
                        <a:pt x="140293" y="36126"/>
                      </a:cubicBezTo>
                      <a:cubicBezTo>
                        <a:pt x="140293" y="45299"/>
                        <a:pt x="147729" y="52734"/>
                        <a:pt x="156901" y="52734"/>
                      </a:cubicBezTo>
                      <a:cubicBezTo>
                        <a:pt x="166074" y="52734"/>
                        <a:pt x="173510" y="45299"/>
                        <a:pt x="173510" y="36126"/>
                      </a:cubicBezTo>
                      <a:cubicBezTo>
                        <a:pt x="173510" y="31540"/>
                        <a:pt x="171651" y="27388"/>
                        <a:pt x="168645" y="24383"/>
                      </a:cubicBezTo>
                      <a:lnTo>
                        <a:pt x="167231" y="23216"/>
                      </a:lnTo>
                      <a:lnTo>
                        <a:pt x="167231" y="15317"/>
                      </a:lnTo>
                      <a:lnTo>
                        <a:pt x="192304" y="15317"/>
                      </a:lnTo>
                      <a:cubicBezTo>
                        <a:pt x="203752" y="15317"/>
                        <a:pt x="213033" y="24597"/>
                        <a:pt x="213033" y="36046"/>
                      </a:cubicBezTo>
                      <a:lnTo>
                        <a:pt x="213033" y="168941"/>
                      </a:lnTo>
                      <a:cubicBezTo>
                        <a:pt x="213033" y="180390"/>
                        <a:pt x="203752" y="189670"/>
                        <a:pt x="192304" y="189670"/>
                      </a:cubicBezTo>
                      <a:lnTo>
                        <a:pt x="20729" y="189670"/>
                      </a:lnTo>
                      <a:cubicBezTo>
                        <a:pt x="9281" y="189670"/>
                        <a:pt x="0" y="180390"/>
                        <a:pt x="0" y="168941"/>
                      </a:cubicBezTo>
                      <a:lnTo>
                        <a:pt x="0" y="36046"/>
                      </a:lnTo>
                      <a:cubicBezTo>
                        <a:pt x="0" y="24597"/>
                        <a:pt x="9281" y="15317"/>
                        <a:pt x="20729" y="15317"/>
                      </a:cubicBezTo>
                      <a:close/>
                      <a:moveTo>
                        <a:pt x="156901" y="0"/>
                      </a:moveTo>
                      <a:cubicBezTo>
                        <a:pt x="160268" y="0"/>
                        <a:pt x="162997" y="2729"/>
                        <a:pt x="162997" y="6096"/>
                      </a:cubicBezTo>
                      <a:lnTo>
                        <a:pt x="162997" y="35936"/>
                      </a:lnTo>
                      <a:cubicBezTo>
                        <a:pt x="162997" y="39303"/>
                        <a:pt x="160268" y="42032"/>
                        <a:pt x="156901" y="42032"/>
                      </a:cubicBezTo>
                      <a:cubicBezTo>
                        <a:pt x="153534" y="42032"/>
                        <a:pt x="150805" y="39303"/>
                        <a:pt x="150805" y="35936"/>
                      </a:cubicBezTo>
                      <a:lnTo>
                        <a:pt x="150805" y="6096"/>
                      </a:lnTo>
                      <a:cubicBezTo>
                        <a:pt x="150805" y="2729"/>
                        <a:pt x="153534" y="0"/>
                        <a:pt x="156901" y="0"/>
                      </a:cubicBezTo>
                      <a:close/>
                      <a:moveTo>
                        <a:pt x="57424" y="0"/>
                      </a:moveTo>
                      <a:cubicBezTo>
                        <a:pt x="60791" y="0"/>
                        <a:pt x="63520" y="2729"/>
                        <a:pt x="63520" y="6096"/>
                      </a:cubicBezTo>
                      <a:lnTo>
                        <a:pt x="63520" y="35936"/>
                      </a:lnTo>
                      <a:cubicBezTo>
                        <a:pt x="63520" y="39303"/>
                        <a:pt x="60791" y="42032"/>
                        <a:pt x="57424" y="42032"/>
                      </a:cubicBezTo>
                      <a:cubicBezTo>
                        <a:pt x="54057" y="42032"/>
                        <a:pt x="51328" y="39303"/>
                        <a:pt x="51328" y="35936"/>
                      </a:cubicBezTo>
                      <a:lnTo>
                        <a:pt x="51328" y="6096"/>
                      </a:lnTo>
                      <a:cubicBezTo>
                        <a:pt x="51328" y="2729"/>
                        <a:pt x="54057" y="0"/>
                        <a:pt x="57424"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Arial" panose="020B0604020202020204" pitchFamily="34" charset="0"/>
                    <a:cs typeface="Arial" panose="020B0604020202020204" pitchFamily="34" charset="0"/>
                  </a:endParaRPr>
                </a:p>
              </p:txBody>
            </p:sp>
          </p:grpSp>
          <p:grpSp>
            <p:nvGrpSpPr>
              <p:cNvPr id="36" name="Group 35"/>
              <p:cNvGrpSpPr/>
              <p:nvPr/>
            </p:nvGrpSpPr>
            <p:grpSpPr>
              <a:xfrm>
                <a:off x="1504547" y="683288"/>
                <a:ext cx="949664" cy="1732911"/>
                <a:chOff x="1504547" y="683288"/>
                <a:chExt cx="949664" cy="1732911"/>
              </a:xfrm>
            </p:grpSpPr>
            <p:grpSp>
              <p:nvGrpSpPr>
                <p:cNvPr id="37" name="Group 36"/>
                <p:cNvGrpSpPr/>
                <p:nvPr/>
              </p:nvGrpSpPr>
              <p:grpSpPr>
                <a:xfrm>
                  <a:off x="1504547" y="683288"/>
                  <a:ext cx="949664" cy="1732911"/>
                  <a:chOff x="4106373" y="341832"/>
                  <a:chExt cx="1017797" cy="1857239"/>
                </a:xfrm>
              </p:grpSpPr>
              <p:sp>
                <p:nvSpPr>
                  <p:cNvPr id="39" name="Oval 38"/>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40" name="Freeform 39"/>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E9C35A"/>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38" name="Freeform 37"/>
                <p:cNvSpPr/>
                <p:nvPr/>
              </p:nvSpPr>
              <p:spPr>
                <a:xfrm>
                  <a:off x="1790511" y="1060636"/>
                  <a:ext cx="357998" cy="350974"/>
                </a:xfrm>
                <a:custGeom>
                  <a:avLst/>
                  <a:gdLst>
                    <a:gd name="connsiteX0" fmla="*/ 3991804 w 4867848"/>
                    <a:gd name="connsiteY0" fmla="*/ 1855150 h 4867848"/>
                    <a:gd name="connsiteX1" fmla="*/ 3300230 w 4867848"/>
                    <a:gd name="connsiteY1" fmla="*/ 2128830 h 4867848"/>
                    <a:gd name="connsiteX2" fmla="*/ 3317838 w 4867848"/>
                    <a:gd name="connsiteY2" fmla="*/ 2176079 h 4867848"/>
                    <a:gd name="connsiteX3" fmla="*/ 3359000 w 4867848"/>
                    <a:gd name="connsiteY3" fmla="*/ 2443449 h 4867848"/>
                    <a:gd name="connsiteX4" fmla="*/ 2715704 w 4867848"/>
                    <a:gd name="connsiteY4" fmla="*/ 3302146 h 4867848"/>
                    <a:gd name="connsiteX5" fmla="*/ 2663618 w 4867848"/>
                    <a:gd name="connsiteY5" fmla="*/ 3315299 h 4867848"/>
                    <a:gd name="connsiteX6" fmla="*/ 2663618 w 4867848"/>
                    <a:gd name="connsiteY6" fmla="*/ 4070708 h 4867848"/>
                    <a:gd name="connsiteX7" fmla="*/ 2777956 w 4867848"/>
                    <a:gd name="connsiteY7" fmla="*/ 4053431 h 4867848"/>
                    <a:gd name="connsiteX8" fmla="*/ 4103248 w 4867848"/>
                    <a:gd name="connsiteY8" fmla="*/ 2443449 h 4867848"/>
                    <a:gd name="connsiteX9" fmla="*/ 4028626 w 4867848"/>
                    <a:gd name="connsiteY9" fmla="*/ 1954761 h 4867848"/>
                    <a:gd name="connsiteX10" fmla="*/ 2663618 w 4867848"/>
                    <a:gd name="connsiteY10" fmla="*/ 814945 h 4867848"/>
                    <a:gd name="connsiteX11" fmla="*/ 2663618 w 4867848"/>
                    <a:gd name="connsiteY11" fmla="*/ 1571599 h 4867848"/>
                    <a:gd name="connsiteX12" fmla="*/ 2715704 w 4867848"/>
                    <a:gd name="connsiteY12" fmla="*/ 1584752 h 4867848"/>
                    <a:gd name="connsiteX13" fmla="*/ 3090840 w 4867848"/>
                    <a:gd name="connsiteY13" fmla="*/ 1807676 h 4867848"/>
                    <a:gd name="connsiteX14" fmla="*/ 3161446 w 4867848"/>
                    <a:gd name="connsiteY14" fmla="*/ 1891713 h 4867848"/>
                    <a:gd name="connsiteX15" fmla="*/ 3872390 w 4867848"/>
                    <a:gd name="connsiteY15" fmla="*/ 1610367 h 4867848"/>
                    <a:gd name="connsiteX16" fmla="*/ 3819780 w 4867848"/>
                    <a:gd name="connsiteY16" fmla="*/ 1524626 h 4867848"/>
                    <a:gd name="connsiteX17" fmla="*/ 2858258 w 4867848"/>
                    <a:gd name="connsiteY17" fmla="*/ 851818 h 4867848"/>
                    <a:gd name="connsiteX18" fmla="*/ 2439304 w 4867848"/>
                    <a:gd name="connsiteY18" fmla="*/ 800287 h 4867848"/>
                    <a:gd name="connsiteX19" fmla="*/ 2273742 w 4867848"/>
                    <a:gd name="connsiteY19" fmla="*/ 808565 h 4867848"/>
                    <a:gd name="connsiteX20" fmla="*/ 783644 w 4867848"/>
                    <a:gd name="connsiteY20" fmla="*/ 2443449 h 4867848"/>
                    <a:gd name="connsiteX21" fmla="*/ 2273742 w 4867848"/>
                    <a:gd name="connsiteY21" fmla="*/ 4078333 h 4867848"/>
                    <a:gd name="connsiteX22" fmla="*/ 2439304 w 4867848"/>
                    <a:gd name="connsiteY22" fmla="*/ 4086611 h 4867848"/>
                    <a:gd name="connsiteX23" fmla="*/ 2439304 w 4867848"/>
                    <a:gd name="connsiteY23" fmla="*/ 3342364 h 4867848"/>
                    <a:gd name="connsiteX24" fmla="*/ 2349838 w 4867848"/>
                    <a:gd name="connsiteY24" fmla="*/ 3337927 h 4867848"/>
                    <a:gd name="connsiteX25" fmla="*/ 1527894 w 4867848"/>
                    <a:gd name="connsiteY25" fmla="*/ 2443449 h 4867848"/>
                    <a:gd name="connsiteX26" fmla="*/ 2349838 w 4867848"/>
                    <a:gd name="connsiteY26" fmla="*/ 1548971 h 4867848"/>
                    <a:gd name="connsiteX27" fmla="*/ 2439304 w 4867848"/>
                    <a:gd name="connsiteY27" fmla="*/ 1544535 h 4867848"/>
                    <a:gd name="connsiteX28" fmla="*/ 2433924 w 4867848"/>
                    <a:gd name="connsiteY28" fmla="*/ 0 h 4867848"/>
                    <a:gd name="connsiteX29" fmla="*/ 4867848 w 4867848"/>
                    <a:gd name="connsiteY29" fmla="*/ 2433924 h 4867848"/>
                    <a:gd name="connsiteX30" fmla="*/ 2433924 w 4867848"/>
                    <a:gd name="connsiteY30" fmla="*/ 4867848 h 4867848"/>
                    <a:gd name="connsiteX31" fmla="*/ 0 w 4867848"/>
                    <a:gd name="connsiteY31" fmla="*/ 2433924 h 4867848"/>
                    <a:gd name="connsiteX32" fmla="*/ 2433924 w 4867848"/>
                    <a:gd name="connsiteY32" fmla="*/ 0 h 486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67848" h="4867848">
                      <a:moveTo>
                        <a:pt x="3991804" y="1855150"/>
                      </a:moveTo>
                      <a:lnTo>
                        <a:pt x="3300230" y="2128830"/>
                      </a:lnTo>
                      <a:lnTo>
                        <a:pt x="3317838" y="2176079"/>
                      </a:lnTo>
                      <a:cubicBezTo>
                        <a:pt x="3344590" y="2260541"/>
                        <a:pt x="3359000" y="2350342"/>
                        <a:pt x="3359000" y="2443449"/>
                      </a:cubicBezTo>
                      <a:cubicBezTo>
                        <a:pt x="3359000" y="2846912"/>
                        <a:pt x="3088396" y="3188307"/>
                        <a:pt x="2715704" y="3302146"/>
                      </a:cubicBezTo>
                      <a:lnTo>
                        <a:pt x="2663618" y="3315299"/>
                      </a:lnTo>
                      <a:lnTo>
                        <a:pt x="2663618" y="4070708"/>
                      </a:lnTo>
                      <a:lnTo>
                        <a:pt x="2777956" y="4053431"/>
                      </a:lnTo>
                      <a:cubicBezTo>
                        <a:pt x="3534298" y="3900193"/>
                        <a:pt x="4103248" y="3237606"/>
                        <a:pt x="4103248" y="2443449"/>
                      </a:cubicBezTo>
                      <a:cubicBezTo>
                        <a:pt x="4103248" y="2273273"/>
                        <a:pt x="4077122" y="2109138"/>
                        <a:pt x="4028626" y="1954761"/>
                      </a:cubicBezTo>
                      <a:close/>
                      <a:moveTo>
                        <a:pt x="2663618" y="814945"/>
                      </a:moveTo>
                      <a:lnTo>
                        <a:pt x="2663618" y="1571599"/>
                      </a:lnTo>
                      <a:lnTo>
                        <a:pt x="2715704" y="1584752"/>
                      </a:lnTo>
                      <a:cubicBezTo>
                        <a:pt x="2859048" y="1628536"/>
                        <a:pt x="2987288" y="1705983"/>
                        <a:pt x="3090840" y="1807676"/>
                      </a:cubicBezTo>
                      <a:lnTo>
                        <a:pt x="3161446" y="1891713"/>
                      </a:lnTo>
                      <a:lnTo>
                        <a:pt x="3872390" y="1610367"/>
                      </a:lnTo>
                      <a:lnTo>
                        <a:pt x="3819780" y="1524626"/>
                      </a:lnTo>
                      <a:cubicBezTo>
                        <a:pt x="3596072" y="1196772"/>
                        <a:pt x="3256010" y="953142"/>
                        <a:pt x="2858258" y="851818"/>
                      </a:cubicBezTo>
                      <a:close/>
                      <a:moveTo>
                        <a:pt x="2439304" y="800287"/>
                      </a:moveTo>
                      <a:lnTo>
                        <a:pt x="2273742" y="808565"/>
                      </a:lnTo>
                      <a:cubicBezTo>
                        <a:pt x="1436776" y="892722"/>
                        <a:pt x="783644" y="1592567"/>
                        <a:pt x="783644" y="2443449"/>
                      </a:cubicBezTo>
                      <a:cubicBezTo>
                        <a:pt x="783644" y="3294331"/>
                        <a:pt x="1436776" y="3994177"/>
                        <a:pt x="2273742" y="4078333"/>
                      </a:cubicBezTo>
                      <a:lnTo>
                        <a:pt x="2439304" y="4086611"/>
                      </a:lnTo>
                      <a:lnTo>
                        <a:pt x="2439304" y="3342364"/>
                      </a:lnTo>
                      <a:lnTo>
                        <a:pt x="2349838" y="3337927"/>
                      </a:lnTo>
                      <a:cubicBezTo>
                        <a:pt x="1888162" y="3291883"/>
                        <a:pt x="1527894" y="2908983"/>
                        <a:pt x="1527894" y="2443449"/>
                      </a:cubicBezTo>
                      <a:cubicBezTo>
                        <a:pt x="1527894" y="1977915"/>
                        <a:pt x="1888162" y="1595015"/>
                        <a:pt x="2349838" y="1548971"/>
                      </a:cubicBezTo>
                      <a:lnTo>
                        <a:pt x="2439304" y="1544535"/>
                      </a:lnTo>
                      <a:close/>
                      <a:moveTo>
                        <a:pt x="2433924" y="0"/>
                      </a:moveTo>
                      <a:cubicBezTo>
                        <a:pt x="3778142" y="0"/>
                        <a:pt x="4867848" y="1089705"/>
                        <a:pt x="4867848" y="2433924"/>
                      </a:cubicBezTo>
                      <a:cubicBezTo>
                        <a:pt x="4867848" y="3778143"/>
                        <a:pt x="3778142" y="4867848"/>
                        <a:pt x="2433924" y="4867848"/>
                      </a:cubicBezTo>
                      <a:cubicBezTo>
                        <a:pt x="1089704" y="4867848"/>
                        <a:pt x="0" y="3778143"/>
                        <a:pt x="0" y="2433924"/>
                      </a:cubicBezTo>
                      <a:cubicBezTo>
                        <a:pt x="0" y="1089705"/>
                        <a:pt x="1089704" y="0"/>
                        <a:pt x="2433924" y="0"/>
                      </a:cubicBezTo>
                      <a:close/>
                    </a:path>
                  </a:pathLst>
                </a:custGeom>
                <a:solidFill>
                  <a:schemeClr val="bg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grpSp>
          <p:nvGrpSpPr>
            <p:cNvPr id="11" name="Group 10"/>
            <p:cNvGrpSpPr/>
            <p:nvPr/>
          </p:nvGrpSpPr>
          <p:grpSpPr>
            <a:xfrm>
              <a:off x="-43572" y="2705217"/>
              <a:ext cx="2244024" cy="1653631"/>
              <a:chOff x="-43572" y="2705217"/>
              <a:chExt cx="2244024" cy="1653631"/>
            </a:xfrm>
          </p:grpSpPr>
          <p:grpSp>
            <p:nvGrpSpPr>
              <p:cNvPr id="12" name="Group 11"/>
              <p:cNvGrpSpPr/>
              <p:nvPr/>
            </p:nvGrpSpPr>
            <p:grpSpPr>
              <a:xfrm>
                <a:off x="546816" y="2705217"/>
                <a:ext cx="1653636" cy="1653631"/>
                <a:chOff x="2672841" y="1791451"/>
                <a:chExt cx="3798321" cy="3798318"/>
              </a:xfrm>
            </p:grpSpPr>
            <p:sp>
              <p:nvSpPr>
                <p:cNvPr id="27" name="Oval 26"/>
                <p:cNvSpPr/>
                <p:nvPr/>
              </p:nvSpPr>
              <p:spPr>
                <a:xfrm>
                  <a:off x="2672841" y="1791451"/>
                  <a:ext cx="3798321" cy="3798318"/>
                </a:xfrm>
                <a:prstGeom prst="ellipse">
                  <a:avLst/>
                </a:prstGeom>
                <a:solidFill>
                  <a:srgbClr val="C00000"/>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8" name="Oval 27"/>
                <p:cNvSpPr/>
                <p:nvPr/>
              </p:nvSpPr>
              <p:spPr>
                <a:xfrm>
                  <a:off x="3047447" y="2166056"/>
                  <a:ext cx="3049109" cy="3049108"/>
                </a:xfrm>
                <a:prstGeom prst="ellipse">
                  <a:avLst/>
                </a:prstGeom>
                <a:solidFill>
                  <a:schemeClr val="bg1"/>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9" name="Oval 28"/>
                <p:cNvSpPr/>
                <p:nvPr/>
              </p:nvSpPr>
              <p:spPr>
                <a:xfrm>
                  <a:off x="3395918" y="2514526"/>
                  <a:ext cx="2352169" cy="2352170"/>
                </a:xfrm>
                <a:prstGeom prst="ellipse">
                  <a:avLst/>
                </a:prstGeom>
                <a:solidFill>
                  <a:srgbClr val="C00000"/>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30" name="Oval 29"/>
                <p:cNvSpPr/>
                <p:nvPr/>
              </p:nvSpPr>
              <p:spPr>
                <a:xfrm>
                  <a:off x="3735674" y="2854284"/>
                  <a:ext cx="1672656" cy="1672655"/>
                </a:xfrm>
                <a:prstGeom prst="ellipse">
                  <a:avLst/>
                </a:prstGeom>
                <a:solidFill>
                  <a:schemeClr val="bg1"/>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31" name="Oval 30"/>
                <p:cNvSpPr/>
                <p:nvPr/>
              </p:nvSpPr>
              <p:spPr>
                <a:xfrm>
                  <a:off x="4101567" y="3220177"/>
                  <a:ext cx="940868" cy="940867"/>
                </a:xfrm>
                <a:prstGeom prst="ellipse">
                  <a:avLst/>
                </a:prstGeom>
                <a:solidFill>
                  <a:srgbClr val="C00000"/>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grpSp>
            <p:nvGrpSpPr>
              <p:cNvPr id="13" name="Group 12"/>
              <p:cNvGrpSpPr/>
              <p:nvPr/>
            </p:nvGrpSpPr>
            <p:grpSpPr>
              <a:xfrm rot="18484634">
                <a:off x="553752" y="2257100"/>
                <a:ext cx="412981" cy="1607630"/>
                <a:chOff x="7820943" y="2080072"/>
                <a:chExt cx="1124816" cy="4378604"/>
              </a:xfrm>
            </p:grpSpPr>
            <p:grpSp>
              <p:nvGrpSpPr>
                <p:cNvPr id="14" name="Group 13"/>
                <p:cNvGrpSpPr/>
                <p:nvPr/>
              </p:nvGrpSpPr>
              <p:grpSpPr>
                <a:xfrm>
                  <a:off x="8209084" y="3313325"/>
                  <a:ext cx="325316" cy="2586136"/>
                  <a:chOff x="8209084" y="3313325"/>
                  <a:chExt cx="325316" cy="2586136"/>
                </a:xfrm>
              </p:grpSpPr>
              <p:sp>
                <p:nvSpPr>
                  <p:cNvPr id="20" name="Rectangle 9"/>
                  <p:cNvSpPr/>
                  <p:nvPr/>
                </p:nvSpPr>
                <p:spPr>
                  <a:xfrm>
                    <a:off x="8240190" y="3313325"/>
                    <a:ext cx="290855" cy="2586136"/>
                  </a:xfrm>
                  <a:custGeom>
                    <a:avLst/>
                    <a:gdLst>
                      <a:gd name="connsiteX0" fmla="*/ 0 w 219075"/>
                      <a:gd name="connsiteY0" fmla="*/ 0 h 1300162"/>
                      <a:gd name="connsiteX1" fmla="*/ 219075 w 219075"/>
                      <a:gd name="connsiteY1" fmla="*/ 0 h 1300162"/>
                      <a:gd name="connsiteX2" fmla="*/ 219075 w 219075"/>
                      <a:gd name="connsiteY2" fmla="*/ 1300162 h 1300162"/>
                      <a:gd name="connsiteX3" fmla="*/ 0 w 219075"/>
                      <a:gd name="connsiteY3" fmla="*/ 1300162 h 1300162"/>
                      <a:gd name="connsiteX4" fmla="*/ 0 w 219075"/>
                      <a:gd name="connsiteY4" fmla="*/ 0 h 1300162"/>
                      <a:gd name="connsiteX0" fmla="*/ 42863 w 261938"/>
                      <a:gd name="connsiteY0" fmla="*/ 0 h 2586037"/>
                      <a:gd name="connsiteX1" fmla="*/ 261938 w 261938"/>
                      <a:gd name="connsiteY1" fmla="*/ 0 h 2586037"/>
                      <a:gd name="connsiteX2" fmla="*/ 261938 w 261938"/>
                      <a:gd name="connsiteY2" fmla="*/ 1300162 h 2586037"/>
                      <a:gd name="connsiteX3" fmla="*/ 0 w 261938"/>
                      <a:gd name="connsiteY3" fmla="*/ 2586037 h 2586037"/>
                      <a:gd name="connsiteX4" fmla="*/ 42863 w 261938"/>
                      <a:gd name="connsiteY4" fmla="*/ 0 h 2586037"/>
                      <a:gd name="connsiteX0" fmla="*/ 42863 w 295275"/>
                      <a:gd name="connsiteY0" fmla="*/ 0 h 2586037"/>
                      <a:gd name="connsiteX1" fmla="*/ 261938 w 295275"/>
                      <a:gd name="connsiteY1" fmla="*/ 0 h 2586037"/>
                      <a:gd name="connsiteX2" fmla="*/ 295275 w 295275"/>
                      <a:gd name="connsiteY2" fmla="*/ 2543174 h 2586037"/>
                      <a:gd name="connsiteX3" fmla="*/ 0 w 295275"/>
                      <a:gd name="connsiteY3" fmla="*/ 2586037 h 2586037"/>
                      <a:gd name="connsiteX4" fmla="*/ 42863 w 295275"/>
                      <a:gd name="connsiteY4" fmla="*/ 0 h 2586037"/>
                      <a:gd name="connsiteX0" fmla="*/ 42863 w 295275"/>
                      <a:gd name="connsiteY0" fmla="*/ 0 h 2693443"/>
                      <a:gd name="connsiteX1" fmla="*/ 261938 w 295275"/>
                      <a:gd name="connsiteY1" fmla="*/ 0 h 2693443"/>
                      <a:gd name="connsiteX2" fmla="*/ 295275 w 295275"/>
                      <a:gd name="connsiteY2" fmla="*/ 2543174 h 2693443"/>
                      <a:gd name="connsiteX3" fmla="*/ 0 w 295275"/>
                      <a:gd name="connsiteY3" fmla="*/ 2586037 h 2693443"/>
                      <a:gd name="connsiteX4" fmla="*/ 42863 w 295275"/>
                      <a:gd name="connsiteY4" fmla="*/ 0 h 2693443"/>
                      <a:gd name="connsiteX0" fmla="*/ 42863 w 295275"/>
                      <a:gd name="connsiteY0" fmla="*/ 0 h 2804997"/>
                      <a:gd name="connsiteX1" fmla="*/ 261938 w 295275"/>
                      <a:gd name="connsiteY1" fmla="*/ 0 h 2804997"/>
                      <a:gd name="connsiteX2" fmla="*/ 295275 w 295275"/>
                      <a:gd name="connsiteY2" fmla="*/ 2543174 h 2804997"/>
                      <a:gd name="connsiteX3" fmla="*/ 0 w 295275"/>
                      <a:gd name="connsiteY3" fmla="*/ 2586037 h 2804997"/>
                      <a:gd name="connsiteX4" fmla="*/ 42863 w 295275"/>
                      <a:gd name="connsiteY4" fmla="*/ 0 h 2804997"/>
                      <a:gd name="connsiteX0" fmla="*/ 42863 w 295275"/>
                      <a:gd name="connsiteY0" fmla="*/ 0 h 2820247"/>
                      <a:gd name="connsiteX1" fmla="*/ 261938 w 295275"/>
                      <a:gd name="connsiteY1" fmla="*/ 0 h 2820247"/>
                      <a:gd name="connsiteX2" fmla="*/ 295275 w 295275"/>
                      <a:gd name="connsiteY2" fmla="*/ 2543174 h 2820247"/>
                      <a:gd name="connsiteX3" fmla="*/ 0 w 295275"/>
                      <a:gd name="connsiteY3" fmla="*/ 2586037 h 2820247"/>
                      <a:gd name="connsiteX4" fmla="*/ 42863 w 295275"/>
                      <a:gd name="connsiteY4" fmla="*/ 0 h 2820247"/>
                      <a:gd name="connsiteX0" fmla="*/ 42863 w 295389"/>
                      <a:gd name="connsiteY0" fmla="*/ 0 h 2808332"/>
                      <a:gd name="connsiteX1" fmla="*/ 261938 w 295389"/>
                      <a:gd name="connsiteY1" fmla="*/ 0 h 2808332"/>
                      <a:gd name="connsiteX2" fmla="*/ 295275 w 295389"/>
                      <a:gd name="connsiteY2" fmla="*/ 2543174 h 2808332"/>
                      <a:gd name="connsiteX3" fmla="*/ 0 w 295389"/>
                      <a:gd name="connsiteY3" fmla="*/ 2586037 h 2808332"/>
                      <a:gd name="connsiteX4" fmla="*/ 42863 w 295389"/>
                      <a:gd name="connsiteY4" fmla="*/ 0 h 2808332"/>
                      <a:gd name="connsiteX0" fmla="*/ 66308 w 318834"/>
                      <a:gd name="connsiteY0" fmla="*/ 0 h 2808332"/>
                      <a:gd name="connsiteX1" fmla="*/ 285383 w 318834"/>
                      <a:gd name="connsiteY1" fmla="*/ 0 h 2808332"/>
                      <a:gd name="connsiteX2" fmla="*/ 318720 w 318834"/>
                      <a:gd name="connsiteY2" fmla="*/ 2543174 h 2808332"/>
                      <a:gd name="connsiteX3" fmla="*/ 23445 w 318834"/>
                      <a:gd name="connsiteY3" fmla="*/ 2586037 h 2808332"/>
                      <a:gd name="connsiteX4" fmla="*/ 66308 w 318834"/>
                      <a:gd name="connsiteY4" fmla="*/ 0 h 2808332"/>
                      <a:gd name="connsiteX0" fmla="*/ 66308 w 336507"/>
                      <a:gd name="connsiteY0" fmla="*/ 0 h 2808332"/>
                      <a:gd name="connsiteX1" fmla="*/ 285383 w 336507"/>
                      <a:gd name="connsiteY1" fmla="*/ 0 h 2808332"/>
                      <a:gd name="connsiteX2" fmla="*/ 318720 w 336507"/>
                      <a:gd name="connsiteY2" fmla="*/ 2543174 h 2808332"/>
                      <a:gd name="connsiteX3" fmla="*/ 23445 w 336507"/>
                      <a:gd name="connsiteY3" fmla="*/ 2586037 h 2808332"/>
                      <a:gd name="connsiteX4" fmla="*/ 66308 w 336507"/>
                      <a:gd name="connsiteY4" fmla="*/ 0 h 2808332"/>
                      <a:gd name="connsiteX0" fmla="*/ 70327 w 335764"/>
                      <a:gd name="connsiteY0" fmla="*/ 0 h 2936919"/>
                      <a:gd name="connsiteX1" fmla="*/ 284640 w 335764"/>
                      <a:gd name="connsiteY1" fmla="*/ 128587 h 2936919"/>
                      <a:gd name="connsiteX2" fmla="*/ 317977 w 335764"/>
                      <a:gd name="connsiteY2" fmla="*/ 2671761 h 2936919"/>
                      <a:gd name="connsiteX3" fmla="*/ 22702 w 335764"/>
                      <a:gd name="connsiteY3" fmla="*/ 2714624 h 2936919"/>
                      <a:gd name="connsiteX4" fmla="*/ 70327 w 335764"/>
                      <a:gd name="connsiteY4" fmla="*/ 0 h 2936919"/>
                      <a:gd name="connsiteX0" fmla="*/ 70327 w 330403"/>
                      <a:gd name="connsiteY0" fmla="*/ 185738 h 3122657"/>
                      <a:gd name="connsiteX1" fmla="*/ 237015 w 330403"/>
                      <a:gd name="connsiteY1" fmla="*/ 0 h 3122657"/>
                      <a:gd name="connsiteX2" fmla="*/ 317977 w 330403"/>
                      <a:gd name="connsiteY2" fmla="*/ 2857499 h 3122657"/>
                      <a:gd name="connsiteX3" fmla="*/ 22702 w 330403"/>
                      <a:gd name="connsiteY3" fmla="*/ 2900362 h 3122657"/>
                      <a:gd name="connsiteX4" fmla="*/ 70327 w 330403"/>
                      <a:gd name="connsiteY4" fmla="*/ 185738 h 3122657"/>
                      <a:gd name="connsiteX0" fmla="*/ 70327 w 329058"/>
                      <a:gd name="connsiteY0" fmla="*/ 42863 h 2979782"/>
                      <a:gd name="connsiteX1" fmla="*/ 217965 w 329058"/>
                      <a:gd name="connsiteY1" fmla="*/ 0 h 2979782"/>
                      <a:gd name="connsiteX2" fmla="*/ 317977 w 329058"/>
                      <a:gd name="connsiteY2" fmla="*/ 2714624 h 2979782"/>
                      <a:gd name="connsiteX3" fmla="*/ 22702 w 329058"/>
                      <a:gd name="connsiteY3" fmla="*/ 2757487 h 2979782"/>
                      <a:gd name="connsiteX4" fmla="*/ 70327 w 329058"/>
                      <a:gd name="connsiteY4" fmla="*/ 42863 h 2979782"/>
                      <a:gd name="connsiteX0" fmla="*/ 70327 w 331203"/>
                      <a:gd name="connsiteY0" fmla="*/ 33338 h 2970257"/>
                      <a:gd name="connsiteX1" fmla="*/ 246540 w 331203"/>
                      <a:gd name="connsiteY1" fmla="*/ 0 h 2970257"/>
                      <a:gd name="connsiteX2" fmla="*/ 317977 w 331203"/>
                      <a:gd name="connsiteY2" fmla="*/ 2705099 h 2970257"/>
                      <a:gd name="connsiteX3" fmla="*/ 22702 w 331203"/>
                      <a:gd name="connsiteY3" fmla="*/ 2747962 h 2970257"/>
                      <a:gd name="connsiteX4" fmla="*/ 70327 w 331203"/>
                      <a:gd name="connsiteY4" fmla="*/ 33338 h 2970257"/>
                      <a:gd name="connsiteX0" fmla="*/ 70327 w 335837"/>
                      <a:gd name="connsiteY0" fmla="*/ 33338 h 2970257"/>
                      <a:gd name="connsiteX1" fmla="*/ 246540 w 335837"/>
                      <a:gd name="connsiteY1" fmla="*/ 0 h 2970257"/>
                      <a:gd name="connsiteX2" fmla="*/ 317977 w 335837"/>
                      <a:gd name="connsiteY2" fmla="*/ 2705099 h 2970257"/>
                      <a:gd name="connsiteX3" fmla="*/ 22702 w 335837"/>
                      <a:gd name="connsiteY3" fmla="*/ 2747962 h 2970257"/>
                      <a:gd name="connsiteX4" fmla="*/ 70327 w 335837"/>
                      <a:gd name="connsiteY4" fmla="*/ 33338 h 2970257"/>
                      <a:gd name="connsiteX0" fmla="*/ 70327 w 335837"/>
                      <a:gd name="connsiteY0" fmla="*/ 33338 h 2989327"/>
                      <a:gd name="connsiteX1" fmla="*/ 246540 w 335837"/>
                      <a:gd name="connsiteY1" fmla="*/ 0 h 2989327"/>
                      <a:gd name="connsiteX2" fmla="*/ 317977 w 335837"/>
                      <a:gd name="connsiteY2" fmla="*/ 2705099 h 2989327"/>
                      <a:gd name="connsiteX3" fmla="*/ 22702 w 335837"/>
                      <a:gd name="connsiteY3" fmla="*/ 2747962 h 2989327"/>
                      <a:gd name="connsiteX4" fmla="*/ 70327 w 335837"/>
                      <a:gd name="connsiteY4" fmla="*/ 33338 h 2989327"/>
                      <a:gd name="connsiteX0" fmla="*/ 70327 w 335837"/>
                      <a:gd name="connsiteY0" fmla="*/ 33338 h 2984514"/>
                      <a:gd name="connsiteX1" fmla="*/ 246540 w 335837"/>
                      <a:gd name="connsiteY1" fmla="*/ 0 h 2984514"/>
                      <a:gd name="connsiteX2" fmla="*/ 317977 w 335837"/>
                      <a:gd name="connsiteY2" fmla="*/ 2705099 h 2984514"/>
                      <a:gd name="connsiteX3" fmla="*/ 22702 w 335837"/>
                      <a:gd name="connsiteY3" fmla="*/ 2747962 h 2984514"/>
                      <a:gd name="connsiteX4" fmla="*/ 70327 w 335837"/>
                      <a:gd name="connsiteY4" fmla="*/ 33338 h 2984514"/>
                      <a:gd name="connsiteX0" fmla="*/ 70327 w 335837"/>
                      <a:gd name="connsiteY0" fmla="*/ 33338 h 2986111"/>
                      <a:gd name="connsiteX1" fmla="*/ 246540 w 335837"/>
                      <a:gd name="connsiteY1" fmla="*/ 0 h 2986111"/>
                      <a:gd name="connsiteX2" fmla="*/ 317977 w 335837"/>
                      <a:gd name="connsiteY2" fmla="*/ 2705099 h 2986111"/>
                      <a:gd name="connsiteX3" fmla="*/ 22702 w 335837"/>
                      <a:gd name="connsiteY3" fmla="*/ 2747962 h 2986111"/>
                      <a:gd name="connsiteX4" fmla="*/ 70327 w 335837"/>
                      <a:gd name="connsiteY4" fmla="*/ 33338 h 298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837" h="2986111">
                        <a:moveTo>
                          <a:pt x="70327" y="33338"/>
                        </a:moveTo>
                        <a:lnTo>
                          <a:pt x="246540" y="0"/>
                        </a:lnTo>
                        <a:cubicBezTo>
                          <a:pt x="300515" y="823913"/>
                          <a:pt x="368777" y="1966912"/>
                          <a:pt x="317977" y="2705099"/>
                        </a:cubicBezTo>
                        <a:cubicBezTo>
                          <a:pt x="324327" y="3024188"/>
                          <a:pt x="44927" y="3114674"/>
                          <a:pt x="22702" y="2747962"/>
                        </a:cubicBezTo>
                        <a:cubicBezTo>
                          <a:pt x="-43972" y="1857375"/>
                          <a:pt x="56039" y="895350"/>
                          <a:pt x="70327" y="33338"/>
                        </a:cubicBezTo>
                        <a:close/>
                      </a:path>
                    </a:pathLst>
                  </a:cu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nvGrpSpPr>
                  <p:cNvPr id="21" name="Group 20"/>
                  <p:cNvGrpSpPr/>
                  <p:nvPr/>
                </p:nvGrpSpPr>
                <p:grpSpPr>
                  <a:xfrm>
                    <a:off x="8209084" y="3441892"/>
                    <a:ext cx="325316" cy="2454012"/>
                    <a:chOff x="8209084" y="3441892"/>
                    <a:chExt cx="325316" cy="2454012"/>
                  </a:xfrm>
                </p:grpSpPr>
                <p:sp>
                  <p:nvSpPr>
                    <p:cNvPr id="22" name="Freeform 21"/>
                    <p:cNvSpPr/>
                    <p:nvPr/>
                  </p:nvSpPr>
                  <p:spPr>
                    <a:xfrm rot="21446038">
                      <a:off x="8209084" y="3441892"/>
                      <a:ext cx="322958" cy="2454012"/>
                    </a:xfrm>
                    <a:custGeom>
                      <a:avLst/>
                      <a:gdLst>
                        <a:gd name="connsiteX0" fmla="*/ 141810 w 319760"/>
                        <a:gd name="connsiteY0" fmla="*/ 0 h 2454012"/>
                        <a:gd name="connsiteX1" fmla="*/ 161368 w 319760"/>
                        <a:gd name="connsiteY1" fmla="*/ 5733 h 2454012"/>
                        <a:gd name="connsiteX2" fmla="*/ 22382 w 319760"/>
                        <a:gd name="connsiteY2" fmla="*/ 2232774 h 2454012"/>
                        <a:gd name="connsiteX3" fmla="*/ 132565 w 319760"/>
                        <a:gd name="connsiteY3" fmla="*/ 2433393 h 2454012"/>
                        <a:gd name="connsiteX4" fmla="*/ 169472 w 319760"/>
                        <a:gd name="connsiteY4" fmla="*/ 2418353 h 2454012"/>
                        <a:gd name="connsiteX5" fmla="*/ 129571 w 319760"/>
                        <a:gd name="connsiteY5" fmla="*/ 2408537 h 2454012"/>
                        <a:gd name="connsiteX6" fmla="*/ 93021 w 319760"/>
                        <a:gd name="connsiteY6" fmla="*/ 2284110 h 2454012"/>
                        <a:gd name="connsiteX7" fmla="*/ 278873 w 319760"/>
                        <a:gd name="connsiteY7" fmla="*/ 24765 h 2454012"/>
                        <a:gd name="connsiteX8" fmla="*/ 312752 w 319760"/>
                        <a:gd name="connsiteY8" fmla="*/ 14805 h 2454012"/>
                        <a:gd name="connsiteX9" fmla="*/ 314186 w 319760"/>
                        <a:gd name="connsiteY9" fmla="*/ 1299331 h 2454012"/>
                        <a:gd name="connsiteX10" fmla="*/ 256543 w 319760"/>
                        <a:gd name="connsiteY10" fmla="*/ 2265859 h 2454012"/>
                        <a:gd name="connsiteX11" fmla="*/ 232195 w 319760"/>
                        <a:gd name="connsiteY11" fmla="*/ 2361446 h 2454012"/>
                        <a:gd name="connsiteX12" fmla="*/ 213205 w 319760"/>
                        <a:gd name="connsiteY12" fmla="*/ 2384650 h 2454012"/>
                        <a:gd name="connsiteX13" fmla="*/ 215656 w 319760"/>
                        <a:gd name="connsiteY13" fmla="*/ 2384760 h 2454012"/>
                        <a:gd name="connsiteX14" fmla="*/ 187837 w 319760"/>
                        <a:gd name="connsiteY14" fmla="*/ 2420652 h 2454012"/>
                        <a:gd name="connsiteX15" fmla="*/ 2856 w 319760"/>
                        <a:gd name="connsiteY15" fmla="*/ 2242554 h 2454012"/>
                        <a:gd name="connsiteX16" fmla="*/ 128930 w 319760"/>
                        <a:gd name="connsiteY16" fmla="*/ 178841 h 245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9760" h="2454012">
                          <a:moveTo>
                            <a:pt x="141810" y="0"/>
                          </a:moveTo>
                          <a:lnTo>
                            <a:pt x="161368" y="5733"/>
                          </a:lnTo>
                          <a:cubicBezTo>
                            <a:pt x="117919" y="712947"/>
                            <a:pt x="408" y="1499121"/>
                            <a:pt x="22382" y="2232774"/>
                          </a:cubicBezTo>
                          <a:cubicBezTo>
                            <a:pt x="24610" y="2374289"/>
                            <a:pt x="76931" y="2435405"/>
                            <a:pt x="132565" y="2433393"/>
                          </a:cubicBezTo>
                          <a:lnTo>
                            <a:pt x="169472" y="2418353"/>
                          </a:lnTo>
                          <a:lnTo>
                            <a:pt x="129571" y="2408537"/>
                          </a:lnTo>
                          <a:cubicBezTo>
                            <a:pt x="113430" y="2387721"/>
                            <a:pt x="100087" y="2348355"/>
                            <a:pt x="93021" y="2284110"/>
                          </a:cubicBezTo>
                          <a:cubicBezTo>
                            <a:pt x="71048" y="1550457"/>
                            <a:pt x="175092" y="696243"/>
                            <a:pt x="278873" y="24765"/>
                          </a:cubicBezTo>
                          <a:lnTo>
                            <a:pt x="312752" y="14805"/>
                          </a:lnTo>
                          <a:cubicBezTo>
                            <a:pt x="319756" y="225333"/>
                            <a:pt x="323554" y="924156"/>
                            <a:pt x="314186" y="1299331"/>
                          </a:cubicBezTo>
                          <a:cubicBezTo>
                            <a:pt x="304725" y="1676567"/>
                            <a:pt x="278419" y="2108230"/>
                            <a:pt x="256543" y="2265859"/>
                          </a:cubicBezTo>
                          <a:cubicBezTo>
                            <a:pt x="254899" y="2299398"/>
                            <a:pt x="245624" y="2333370"/>
                            <a:pt x="232195" y="2361446"/>
                          </a:cubicBezTo>
                          <a:lnTo>
                            <a:pt x="213205" y="2384650"/>
                          </a:lnTo>
                          <a:lnTo>
                            <a:pt x="215656" y="2384760"/>
                          </a:lnTo>
                          <a:lnTo>
                            <a:pt x="187837" y="2420652"/>
                          </a:lnTo>
                          <a:cubicBezTo>
                            <a:pt x="112892" y="2494048"/>
                            <a:pt x="6144" y="2451331"/>
                            <a:pt x="2856" y="2242554"/>
                          </a:cubicBezTo>
                          <a:cubicBezTo>
                            <a:pt x="-17404" y="1566084"/>
                            <a:pt x="74872" y="847239"/>
                            <a:pt x="128930" y="178841"/>
                          </a:cubicBezTo>
                          <a:close/>
                        </a:path>
                      </a:pathLst>
                    </a:custGeom>
                    <a:solidFill>
                      <a:schemeClr val="bg1">
                        <a:alpha val="4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nvGrpSpPr>
                    <p:cNvPr id="23" name="Group 22"/>
                    <p:cNvGrpSpPr/>
                    <p:nvPr/>
                  </p:nvGrpSpPr>
                  <p:grpSpPr>
                    <a:xfrm>
                      <a:off x="8329388" y="4799397"/>
                      <a:ext cx="205012" cy="448878"/>
                      <a:chOff x="8329388" y="4799397"/>
                      <a:chExt cx="205012" cy="448878"/>
                    </a:xfrm>
                  </p:grpSpPr>
                  <p:sp>
                    <p:nvSpPr>
                      <p:cNvPr id="24" name="Rectangle 23"/>
                      <p:cNvSpPr/>
                      <p:nvPr/>
                    </p:nvSpPr>
                    <p:spPr>
                      <a:xfrm>
                        <a:off x="8334409" y="4799397"/>
                        <a:ext cx="195291" cy="7014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5" name="Rectangle 24"/>
                      <p:cNvSpPr/>
                      <p:nvPr/>
                    </p:nvSpPr>
                    <p:spPr>
                      <a:xfrm>
                        <a:off x="8330445" y="5117795"/>
                        <a:ext cx="203220" cy="4791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6" name="Rectangle 25"/>
                      <p:cNvSpPr/>
                      <p:nvPr/>
                    </p:nvSpPr>
                    <p:spPr>
                      <a:xfrm>
                        <a:off x="8329388" y="5200287"/>
                        <a:ext cx="205012" cy="4798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grpSp>
            </p:grpSp>
            <p:grpSp>
              <p:nvGrpSpPr>
                <p:cNvPr id="15" name="Group 14"/>
                <p:cNvGrpSpPr/>
                <p:nvPr/>
              </p:nvGrpSpPr>
              <p:grpSpPr>
                <a:xfrm>
                  <a:off x="7820943" y="2080072"/>
                  <a:ext cx="1124816" cy="4378604"/>
                  <a:chOff x="7820943" y="2080072"/>
                  <a:chExt cx="1124816" cy="4378604"/>
                </a:xfrm>
              </p:grpSpPr>
              <p:sp>
                <p:nvSpPr>
                  <p:cNvPr id="16" name="Freeform 15"/>
                  <p:cNvSpPr/>
                  <p:nvPr/>
                </p:nvSpPr>
                <p:spPr>
                  <a:xfrm flipV="1">
                    <a:off x="8341786" y="5881232"/>
                    <a:ext cx="70121" cy="577444"/>
                  </a:xfrm>
                  <a:custGeom>
                    <a:avLst/>
                    <a:gdLst>
                      <a:gd name="connsiteX0" fmla="*/ 0 w 80962"/>
                      <a:gd name="connsiteY0" fmla="*/ 666751 h 666751"/>
                      <a:gd name="connsiteX1" fmla="*/ 80962 w 80962"/>
                      <a:gd name="connsiteY1" fmla="*/ 666751 h 666751"/>
                      <a:gd name="connsiteX2" fmla="*/ 80962 w 80962"/>
                      <a:gd name="connsiteY2" fmla="*/ 152401 h 666751"/>
                      <a:gd name="connsiteX3" fmla="*/ 70051 w 80962"/>
                      <a:gd name="connsiteY3" fmla="*/ 152401 h 666751"/>
                      <a:gd name="connsiteX4" fmla="*/ 40481 w 80962"/>
                      <a:gd name="connsiteY4" fmla="*/ 0 h 666751"/>
                      <a:gd name="connsiteX5" fmla="*/ 10911 w 80962"/>
                      <a:gd name="connsiteY5" fmla="*/ 152401 h 666751"/>
                      <a:gd name="connsiteX6" fmla="*/ 0 w 80962"/>
                      <a:gd name="connsiteY6" fmla="*/ 152401 h 66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962" h="666751">
                        <a:moveTo>
                          <a:pt x="0" y="666751"/>
                        </a:moveTo>
                        <a:lnTo>
                          <a:pt x="80962" y="666751"/>
                        </a:lnTo>
                        <a:lnTo>
                          <a:pt x="80962" y="152401"/>
                        </a:lnTo>
                        <a:lnTo>
                          <a:pt x="70051" y="152401"/>
                        </a:lnTo>
                        <a:lnTo>
                          <a:pt x="40481" y="0"/>
                        </a:lnTo>
                        <a:lnTo>
                          <a:pt x="10911" y="152401"/>
                        </a:lnTo>
                        <a:lnTo>
                          <a:pt x="0" y="152401"/>
                        </a:lnTo>
                        <a:close/>
                      </a:path>
                    </a:pathLst>
                  </a:cu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nvGrpSpPr>
                  <p:cNvPr id="17" name="Group 16"/>
                  <p:cNvGrpSpPr/>
                  <p:nvPr/>
                </p:nvGrpSpPr>
                <p:grpSpPr>
                  <a:xfrm>
                    <a:off x="7820943" y="2080072"/>
                    <a:ext cx="1124816" cy="1484851"/>
                    <a:chOff x="7820943" y="2080072"/>
                    <a:chExt cx="1124816" cy="1484851"/>
                  </a:xfrm>
                  <a:solidFill>
                    <a:schemeClr val="tx1">
                      <a:lumMod val="75000"/>
                      <a:lumOff val="25000"/>
                    </a:schemeClr>
                  </a:solidFill>
                </p:grpSpPr>
                <p:sp>
                  <p:nvSpPr>
                    <p:cNvPr id="18" name="Isosceles Triangle 17"/>
                    <p:cNvSpPr/>
                    <p:nvPr/>
                  </p:nvSpPr>
                  <p:spPr>
                    <a:xfrm rot="2238657" flipV="1">
                      <a:off x="8472139" y="2099421"/>
                      <a:ext cx="103371" cy="122162"/>
                    </a:xfrm>
                    <a:prstGeom prst="triangl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19" name="Freeform 18"/>
                    <p:cNvSpPr/>
                    <p:nvPr/>
                  </p:nvSpPr>
                  <p:spPr>
                    <a:xfrm>
                      <a:off x="7820943" y="2080072"/>
                      <a:ext cx="1124816" cy="1484851"/>
                    </a:xfrm>
                    <a:custGeom>
                      <a:avLst/>
                      <a:gdLst>
                        <a:gd name="connsiteX0" fmla="*/ 584695 w 1298774"/>
                        <a:gd name="connsiteY0" fmla="*/ 1319569 h 1714500"/>
                        <a:gd name="connsiteX1" fmla="*/ 588788 w 1298774"/>
                        <a:gd name="connsiteY1" fmla="*/ 1337058 h 1714500"/>
                        <a:gd name="connsiteX2" fmla="*/ 596870 w 1298774"/>
                        <a:gd name="connsiteY2" fmla="*/ 1322105 h 1714500"/>
                        <a:gd name="connsiteX3" fmla="*/ 602037 w 1298774"/>
                        <a:gd name="connsiteY3" fmla="*/ 0 h 1714500"/>
                        <a:gd name="connsiteX4" fmla="*/ 706812 w 1298774"/>
                        <a:gd name="connsiteY4" fmla="*/ 285750 h 1714500"/>
                        <a:gd name="connsiteX5" fmla="*/ 709194 w 1298774"/>
                        <a:gd name="connsiteY5" fmla="*/ 834033 h 1714500"/>
                        <a:gd name="connsiteX6" fmla="*/ 709443 w 1298774"/>
                        <a:gd name="connsiteY6" fmla="*/ 889256 h 1714500"/>
                        <a:gd name="connsiteX7" fmla="*/ 778252 w 1298774"/>
                        <a:gd name="connsiteY7" fmla="*/ 266696 h 1714500"/>
                        <a:gd name="connsiteX8" fmla="*/ 959227 w 1298774"/>
                        <a:gd name="connsiteY8" fmla="*/ 147633 h 1714500"/>
                        <a:gd name="connsiteX9" fmla="*/ 1192589 w 1298774"/>
                        <a:gd name="connsiteY9" fmla="*/ 333372 h 1714500"/>
                        <a:gd name="connsiteX10" fmla="*/ 1183064 w 1298774"/>
                        <a:gd name="connsiteY10" fmla="*/ 962023 h 1714500"/>
                        <a:gd name="connsiteX11" fmla="*/ 730627 w 1298774"/>
                        <a:gd name="connsiteY11" fmla="*/ 1700210 h 1714500"/>
                        <a:gd name="connsiteX12" fmla="*/ 601820 w 1298774"/>
                        <a:gd name="connsiteY12" fmla="*/ 1392738 h 1714500"/>
                        <a:gd name="connsiteX13" fmla="*/ 625852 w 1298774"/>
                        <a:gd name="connsiteY13" fmla="*/ 1495424 h 1714500"/>
                        <a:gd name="connsiteX14" fmla="*/ 568701 w 1298774"/>
                        <a:gd name="connsiteY14" fmla="*/ 1714500 h 1714500"/>
                        <a:gd name="connsiteX15" fmla="*/ 92453 w 1298774"/>
                        <a:gd name="connsiteY15" fmla="*/ 881061 h 1714500"/>
                        <a:gd name="connsiteX16" fmla="*/ 54353 w 1298774"/>
                        <a:gd name="connsiteY16" fmla="*/ 442911 h 1714500"/>
                        <a:gd name="connsiteX17" fmla="*/ 173415 w 1298774"/>
                        <a:gd name="connsiteY17" fmla="*/ 233361 h 1714500"/>
                        <a:gd name="connsiteX18" fmla="*/ 444878 w 1298774"/>
                        <a:gd name="connsiteY18" fmla="*/ 219073 h 1714500"/>
                        <a:gd name="connsiteX19" fmla="*/ 416302 w 1298774"/>
                        <a:gd name="connsiteY19" fmla="*/ 600075 h 1714500"/>
                        <a:gd name="connsiteX20" fmla="*/ 581267 w 1298774"/>
                        <a:gd name="connsiteY20" fmla="*/ 1304924 h 1714500"/>
                        <a:gd name="connsiteX21" fmla="*/ 567742 w 1298774"/>
                        <a:gd name="connsiteY21" fmla="*/ 1192570 h 1714500"/>
                        <a:gd name="connsiteX22" fmla="*/ 478212 w 1298774"/>
                        <a:gd name="connsiteY22" fmla="*/ 385762 h 1714500"/>
                        <a:gd name="connsiteX0" fmla="*/ 584695 w 1298774"/>
                        <a:gd name="connsiteY0" fmla="*/ 1319569 h 1714500"/>
                        <a:gd name="connsiteX1" fmla="*/ 596870 w 1298774"/>
                        <a:gd name="connsiteY1" fmla="*/ 1322105 h 1714500"/>
                        <a:gd name="connsiteX2" fmla="*/ 584695 w 1298774"/>
                        <a:gd name="connsiteY2" fmla="*/ 1319569 h 1714500"/>
                        <a:gd name="connsiteX3" fmla="*/ 602037 w 1298774"/>
                        <a:gd name="connsiteY3" fmla="*/ 0 h 1714500"/>
                        <a:gd name="connsiteX4" fmla="*/ 706812 w 1298774"/>
                        <a:gd name="connsiteY4" fmla="*/ 285750 h 1714500"/>
                        <a:gd name="connsiteX5" fmla="*/ 709194 w 1298774"/>
                        <a:gd name="connsiteY5" fmla="*/ 834033 h 1714500"/>
                        <a:gd name="connsiteX6" fmla="*/ 709443 w 1298774"/>
                        <a:gd name="connsiteY6" fmla="*/ 889256 h 1714500"/>
                        <a:gd name="connsiteX7" fmla="*/ 778252 w 1298774"/>
                        <a:gd name="connsiteY7" fmla="*/ 266696 h 1714500"/>
                        <a:gd name="connsiteX8" fmla="*/ 959227 w 1298774"/>
                        <a:gd name="connsiteY8" fmla="*/ 147633 h 1714500"/>
                        <a:gd name="connsiteX9" fmla="*/ 1192589 w 1298774"/>
                        <a:gd name="connsiteY9" fmla="*/ 333372 h 1714500"/>
                        <a:gd name="connsiteX10" fmla="*/ 1183064 w 1298774"/>
                        <a:gd name="connsiteY10" fmla="*/ 962023 h 1714500"/>
                        <a:gd name="connsiteX11" fmla="*/ 730627 w 1298774"/>
                        <a:gd name="connsiteY11" fmla="*/ 1700210 h 1714500"/>
                        <a:gd name="connsiteX12" fmla="*/ 601820 w 1298774"/>
                        <a:gd name="connsiteY12" fmla="*/ 1392738 h 1714500"/>
                        <a:gd name="connsiteX13" fmla="*/ 625852 w 1298774"/>
                        <a:gd name="connsiteY13" fmla="*/ 1495424 h 1714500"/>
                        <a:gd name="connsiteX14" fmla="*/ 568701 w 1298774"/>
                        <a:gd name="connsiteY14" fmla="*/ 1714500 h 1714500"/>
                        <a:gd name="connsiteX15" fmla="*/ 92453 w 1298774"/>
                        <a:gd name="connsiteY15" fmla="*/ 881061 h 1714500"/>
                        <a:gd name="connsiteX16" fmla="*/ 54353 w 1298774"/>
                        <a:gd name="connsiteY16" fmla="*/ 442911 h 1714500"/>
                        <a:gd name="connsiteX17" fmla="*/ 173415 w 1298774"/>
                        <a:gd name="connsiteY17" fmla="*/ 233361 h 1714500"/>
                        <a:gd name="connsiteX18" fmla="*/ 444878 w 1298774"/>
                        <a:gd name="connsiteY18" fmla="*/ 219073 h 1714500"/>
                        <a:gd name="connsiteX19" fmla="*/ 416302 w 1298774"/>
                        <a:gd name="connsiteY19" fmla="*/ 600075 h 1714500"/>
                        <a:gd name="connsiteX20" fmla="*/ 581267 w 1298774"/>
                        <a:gd name="connsiteY20" fmla="*/ 1304924 h 1714500"/>
                        <a:gd name="connsiteX21" fmla="*/ 567742 w 1298774"/>
                        <a:gd name="connsiteY21" fmla="*/ 1192570 h 1714500"/>
                        <a:gd name="connsiteX22" fmla="*/ 478212 w 1298774"/>
                        <a:gd name="connsiteY22" fmla="*/ 385762 h 1714500"/>
                        <a:gd name="connsiteX23" fmla="*/ 602037 w 1298774"/>
                        <a:gd name="connsiteY23"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625852 w 1298774"/>
                        <a:gd name="connsiteY10" fmla="*/ 149542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81267 w 1298774"/>
                        <a:gd name="connsiteY17" fmla="*/ 1304924 h 1714500"/>
                        <a:gd name="connsiteX18" fmla="*/ 567742 w 1298774"/>
                        <a:gd name="connsiteY18" fmla="*/ 1192570 h 1714500"/>
                        <a:gd name="connsiteX19" fmla="*/ 478212 w 1298774"/>
                        <a:gd name="connsiteY19" fmla="*/ 385762 h 1714500"/>
                        <a:gd name="connsiteX20" fmla="*/ 602037 w 1298774"/>
                        <a:gd name="connsiteY20"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625852 w 1298774"/>
                        <a:gd name="connsiteY10" fmla="*/ 149542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654427 w 1298774"/>
                        <a:gd name="connsiteY10" fmla="*/ 1504949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39920 w 1298774"/>
                        <a:gd name="connsiteY9" fmla="*/ 1497513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35157 w 1298774"/>
                        <a:gd name="connsiteY9" fmla="*/ 1576094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46502 w 1298774"/>
                        <a:gd name="connsiteY8" fmla="*/ 1700210 h 1714500"/>
                        <a:gd name="connsiteX9" fmla="*/ 635157 w 1298774"/>
                        <a:gd name="connsiteY9" fmla="*/ 1576094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46502 w 1298774"/>
                        <a:gd name="connsiteY8" fmla="*/ 1700210 h 1714500"/>
                        <a:gd name="connsiteX9" fmla="*/ 703638 w 1298774"/>
                        <a:gd name="connsiteY9" fmla="*/ 1654174 h 1714500"/>
                        <a:gd name="connsiteX10" fmla="*/ 635157 w 1298774"/>
                        <a:gd name="connsiteY10" fmla="*/ 157609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46502 w 1298774"/>
                        <a:gd name="connsiteY8" fmla="*/ 1700210 h 1714500"/>
                        <a:gd name="connsiteX9" fmla="*/ 703638 w 1298774"/>
                        <a:gd name="connsiteY9" fmla="*/ 1685924 h 1714500"/>
                        <a:gd name="connsiteX10" fmla="*/ 635157 w 1298774"/>
                        <a:gd name="connsiteY10" fmla="*/ 157609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98774" h="1714500">
                          <a:moveTo>
                            <a:pt x="602037" y="0"/>
                          </a:moveTo>
                          <a:lnTo>
                            <a:pt x="706812" y="285750"/>
                          </a:lnTo>
                          <a:cubicBezTo>
                            <a:pt x="700462" y="467519"/>
                            <a:pt x="706019" y="654050"/>
                            <a:pt x="709194" y="834033"/>
                          </a:cubicBezTo>
                          <a:lnTo>
                            <a:pt x="709443" y="889256"/>
                          </a:lnTo>
                          <a:lnTo>
                            <a:pt x="778252" y="266696"/>
                          </a:lnTo>
                          <a:lnTo>
                            <a:pt x="959227" y="147633"/>
                          </a:lnTo>
                          <a:cubicBezTo>
                            <a:pt x="1078290" y="63496"/>
                            <a:pt x="1102102" y="188909"/>
                            <a:pt x="1192589" y="333372"/>
                          </a:cubicBezTo>
                          <a:cubicBezTo>
                            <a:pt x="1260058" y="457992"/>
                            <a:pt x="1398171" y="643729"/>
                            <a:pt x="1183064" y="962023"/>
                          </a:cubicBezTo>
                          <a:cubicBezTo>
                            <a:pt x="1048920" y="1170779"/>
                            <a:pt x="794921" y="1631948"/>
                            <a:pt x="746502" y="1700210"/>
                          </a:cubicBezTo>
                          <a:lnTo>
                            <a:pt x="703638" y="1685924"/>
                          </a:lnTo>
                          <a:lnTo>
                            <a:pt x="635157" y="1576094"/>
                          </a:lnTo>
                          <a:lnTo>
                            <a:pt x="568701" y="1714500"/>
                          </a:lnTo>
                          <a:lnTo>
                            <a:pt x="92453" y="881061"/>
                          </a:lnTo>
                          <a:cubicBezTo>
                            <a:pt x="48003" y="847724"/>
                            <a:pt x="-67885" y="642935"/>
                            <a:pt x="54353" y="442911"/>
                          </a:cubicBezTo>
                          <a:lnTo>
                            <a:pt x="173415" y="233361"/>
                          </a:lnTo>
                          <a:cubicBezTo>
                            <a:pt x="240091" y="52386"/>
                            <a:pt x="349627" y="152399"/>
                            <a:pt x="444878" y="219073"/>
                          </a:cubicBezTo>
                          <a:cubicBezTo>
                            <a:pt x="406778" y="346074"/>
                            <a:pt x="344865" y="415924"/>
                            <a:pt x="416302" y="600075"/>
                          </a:cubicBezTo>
                          <a:lnTo>
                            <a:pt x="567742" y="1192570"/>
                          </a:lnTo>
                          <a:cubicBezTo>
                            <a:pt x="527871" y="877144"/>
                            <a:pt x="462933" y="445492"/>
                            <a:pt x="478212" y="385762"/>
                          </a:cubicBezTo>
                          <a:lnTo>
                            <a:pt x="602037"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grpSp>
          </p:grpSp>
        </p:grpSp>
      </p:grpSp>
    </p:spTree>
    <p:extLst>
      <p:ext uri="{BB962C8B-B14F-4D97-AF65-F5344CB8AC3E}">
        <p14:creationId xmlns:p14="http://schemas.microsoft.com/office/powerpoint/2010/main" val="3324594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D4EDA-9A4E-53D7-9770-4863E6EB4E33}"/>
            </a:ext>
          </a:extLst>
        </p:cNvPr>
        <p:cNvGrpSpPr/>
        <p:nvPr/>
      </p:nvGrpSpPr>
      <p:grpSpPr>
        <a:xfrm>
          <a:off x="0" y="0"/>
          <a:ext cx="0" cy="0"/>
          <a:chOff x="0" y="0"/>
          <a:chExt cx="0" cy="0"/>
        </a:xfrm>
      </p:grpSpPr>
      <p:sp>
        <p:nvSpPr>
          <p:cNvPr id="9218" name="Title 1">
            <a:extLst>
              <a:ext uri="{FF2B5EF4-FFF2-40B4-BE49-F238E27FC236}">
                <a16:creationId xmlns:a16="http://schemas.microsoft.com/office/drawing/2014/main" id="{1639107F-2C37-A0E1-3206-CD603A439C8D}"/>
              </a:ext>
            </a:extLst>
          </p:cNvPr>
          <p:cNvSpPr>
            <a:spLocks noGrp="1"/>
          </p:cNvSpPr>
          <p:nvPr>
            <p:ph type="title"/>
          </p:nvPr>
        </p:nvSpPr>
        <p:spPr/>
        <p:txBody>
          <a:bodyPr/>
          <a:lstStyle/>
          <a:p>
            <a:r>
              <a:rPr lang="en-ZA" altLang="en-US" dirty="0"/>
              <a:t>Tender Process</a:t>
            </a:r>
          </a:p>
        </p:txBody>
      </p:sp>
      <p:sp>
        <p:nvSpPr>
          <p:cNvPr id="9220" name="Slide Number Placeholder 3">
            <a:extLst>
              <a:ext uri="{FF2B5EF4-FFF2-40B4-BE49-F238E27FC236}">
                <a16:creationId xmlns:a16="http://schemas.microsoft.com/office/drawing/2014/main" id="{823B1383-6E97-941A-38A4-B5E14D07770F}"/>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CC0000"/>
              </a:buClr>
              <a:buFont typeface="Wingdings" panose="05000000000000000000" pitchFamily="2" charset="2"/>
              <a:buChar char="§"/>
              <a:defRPr sz="2000">
                <a:solidFill>
                  <a:schemeClr val="tx1"/>
                </a:solidFill>
                <a:latin typeface="Tahoma" panose="020B0604030504040204" pitchFamily="34" charset="0"/>
              </a:defRPr>
            </a:lvl1pPr>
            <a:lvl2pPr marL="742950" indent="-28575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2pPr>
            <a:lvl3pPr marL="11430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3pPr>
            <a:lvl4pPr marL="16002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4pPr>
            <a:lvl5pPr marL="20574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5pPr>
            <a:lvl6pPr marL="25146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6pPr>
            <a:lvl7pPr marL="29718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7pPr>
            <a:lvl8pPr marL="34290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8pPr>
            <a:lvl9pPr marL="38862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9pPr>
          </a:lstStyle>
          <a:p>
            <a:pPr>
              <a:spcBef>
                <a:spcPct val="0"/>
              </a:spcBef>
              <a:buClrTx/>
              <a:buFontTx/>
              <a:buNone/>
            </a:pPr>
            <a:fld id="{DBACA278-ADC1-4161-96C9-75CF51445BE9}" type="slidenum">
              <a:rPr lang="en-US" altLang="en-US" sz="1200">
                <a:solidFill>
                  <a:schemeClr val="bg1"/>
                </a:solidFill>
              </a:rPr>
              <a:pPr>
                <a:spcBef>
                  <a:spcPct val="0"/>
                </a:spcBef>
                <a:buClrTx/>
                <a:buFontTx/>
                <a:buNone/>
              </a:pPr>
              <a:t>5</a:t>
            </a:fld>
            <a:endParaRPr lang="en-US" altLang="en-US" sz="1200" dirty="0">
              <a:solidFill>
                <a:schemeClr val="bg1"/>
              </a:solidFill>
            </a:endParaRPr>
          </a:p>
        </p:txBody>
      </p:sp>
      <p:sp>
        <p:nvSpPr>
          <p:cNvPr id="6" name="Rectangle 5">
            <a:extLst>
              <a:ext uri="{FF2B5EF4-FFF2-40B4-BE49-F238E27FC236}">
                <a16:creationId xmlns:a16="http://schemas.microsoft.com/office/drawing/2014/main" id="{BAF7653B-BC78-4219-A6EE-8F99F4FD5E79}"/>
              </a:ext>
            </a:extLst>
          </p:cNvPr>
          <p:cNvSpPr/>
          <p:nvPr/>
        </p:nvSpPr>
        <p:spPr>
          <a:xfrm>
            <a:off x="3164447" y="1716759"/>
            <a:ext cx="8868290" cy="4493538"/>
          </a:xfrm>
          <a:prstGeom prst="rect">
            <a:avLst/>
          </a:prstGeom>
        </p:spPr>
        <p:txBody>
          <a:bodyPr wrap="square">
            <a:spAutoFit/>
          </a:bodyPr>
          <a:lstStyle/>
          <a:p>
            <a:pPr marL="285750" indent="-285750" defTabSz="914400">
              <a:spcBef>
                <a:spcPct val="0"/>
              </a:spcBef>
              <a:buFont typeface="Wingdings" panose="05000000000000000000" pitchFamily="2" charset="2"/>
              <a:buChar char="v"/>
              <a:defRPr/>
            </a:pPr>
            <a:r>
              <a:rPr lang="en-ZA" sz="1400" dirty="0">
                <a:solidFill>
                  <a:srgbClr val="000000"/>
                </a:solidFill>
                <a:ea typeface="Tahoma" pitchFamily="34" charset="0"/>
                <a:cs typeface="Tahoma" pitchFamily="34" charset="0"/>
              </a:rPr>
              <a:t>Respondents must ensure all the required returnable documents are submitted with their proposals – Section 5: PROPOSAL FORM AND LIST OF RETURNABLE DOCUMENTS </a:t>
            </a:r>
            <a:r>
              <a:rPr lang="en-ZA" sz="1400" dirty="0">
                <a:ea typeface="Tahoma" pitchFamily="34" charset="0"/>
                <a:cs typeface="Tahoma" pitchFamily="34" charset="0"/>
              </a:rPr>
              <a:t>(RFP page 34 ,35 &amp; 36 of 53). The below documents must be submitted with the bid documents</a:t>
            </a:r>
            <a:r>
              <a:rPr lang="en-US" sz="1400" dirty="0">
                <a:ea typeface="Tahoma" pitchFamily="34" charset="0"/>
                <a:cs typeface="Tahoma" pitchFamily="34" charset="0"/>
              </a:rPr>
              <a:t>:</a:t>
            </a:r>
            <a:endParaRPr lang="en-US" sz="1200" dirty="0"/>
          </a:p>
          <a:p>
            <a:pPr lvl="2">
              <a:spcBef>
                <a:spcPct val="0"/>
              </a:spcBef>
              <a:defRPr/>
            </a:pPr>
            <a:endParaRPr lang="en-US" sz="1200" b="1" dirty="0"/>
          </a:p>
          <a:p>
            <a:pPr lvl="2">
              <a:spcBef>
                <a:spcPct val="0"/>
              </a:spcBef>
              <a:defRPr/>
            </a:pPr>
            <a:endParaRPr lang="en-US" sz="1200" b="1" dirty="0"/>
          </a:p>
          <a:p>
            <a:pPr lvl="2">
              <a:spcBef>
                <a:spcPct val="0"/>
              </a:spcBef>
              <a:defRPr/>
            </a:pPr>
            <a:endParaRPr lang="en-US" sz="1200" b="1" dirty="0"/>
          </a:p>
          <a:p>
            <a:pPr lvl="2">
              <a:spcBef>
                <a:spcPct val="0"/>
              </a:spcBef>
              <a:defRPr/>
            </a:pPr>
            <a:endParaRPr lang="en-US" sz="1200" b="1" dirty="0"/>
          </a:p>
          <a:p>
            <a:pPr lvl="2">
              <a:spcBef>
                <a:spcPct val="0"/>
              </a:spcBef>
              <a:defRPr/>
            </a:pPr>
            <a:endParaRPr lang="en-US" sz="1200" b="1" dirty="0"/>
          </a:p>
          <a:p>
            <a:pPr lvl="2">
              <a:spcBef>
                <a:spcPct val="0"/>
              </a:spcBef>
              <a:defRPr/>
            </a:pPr>
            <a:endParaRPr lang="en-US" sz="1200" b="1" dirty="0"/>
          </a:p>
          <a:p>
            <a:pPr lvl="2">
              <a:spcBef>
                <a:spcPct val="0"/>
              </a:spcBef>
              <a:defRPr/>
            </a:pPr>
            <a:endParaRPr lang="en-US" sz="1200" b="1" dirty="0"/>
          </a:p>
          <a:p>
            <a:pPr lvl="2">
              <a:spcBef>
                <a:spcPct val="0"/>
              </a:spcBef>
              <a:defRPr/>
            </a:pPr>
            <a:endParaRPr lang="en-US" sz="1200" b="1" dirty="0"/>
          </a:p>
          <a:p>
            <a:pPr lvl="2">
              <a:spcBef>
                <a:spcPct val="0"/>
              </a:spcBef>
              <a:defRPr/>
            </a:pPr>
            <a:endParaRPr lang="en-US" sz="1200" b="1" dirty="0"/>
          </a:p>
          <a:p>
            <a:pPr lvl="2">
              <a:spcBef>
                <a:spcPct val="0"/>
              </a:spcBef>
              <a:defRPr/>
            </a:pPr>
            <a:endParaRPr lang="en-US" sz="1200" b="1" dirty="0"/>
          </a:p>
          <a:p>
            <a:pPr lvl="2">
              <a:spcBef>
                <a:spcPct val="0"/>
              </a:spcBef>
              <a:defRPr/>
            </a:pPr>
            <a:endParaRPr lang="en-US" sz="1200" b="1" dirty="0"/>
          </a:p>
          <a:p>
            <a:pPr defTabSz="914400">
              <a:spcBef>
                <a:spcPct val="0"/>
              </a:spcBef>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marL="285750" indent="-285750" defTabSz="914400">
              <a:spcBef>
                <a:spcPct val="0"/>
              </a:spcBef>
              <a:buFont typeface="Wingdings" panose="05000000000000000000" pitchFamily="2" charset="2"/>
              <a:buChar char="v"/>
              <a:defRPr/>
            </a:pPr>
            <a:endParaRPr lang="en-US" sz="1400" dirty="0">
              <a:solidFill>
                <a:srgbClr val="000000"/>
              </a:solidFill>
              <a:ea typeface="Tahoma" pitchFamily="34" charset="0"/>
              <a:cs typeface="Tahoma" pitchFamily="34" charset="0"/>
            </a:endParaRPr>
          </a:p>
          <a:p>
            <a:pPr defTabSz="914400">
              <a:spcBef>
                <a:spcPct val="0"/>
              </a:spcBef>
              <a:defRPr/>
            </a:pPr>
            <a:endParaRPr lang="en-US" sz="1400" dirty="0">
              <a:solidFill>
                <a:srgbClr val="000000"/>
              </a:solidFill>
              <a:ea typeface="Tahoma" pitchFamily="34" charset="0"/>
              <a:cs typeface="Tahoma" pitchFamily="34" charset="0"/>
            </a:endParaRPr>
          </a:p>
        </p:txBody>
      </p:sp>
      <p:sp>
        <p:nvSpPr>
          <p:cNvPr id="7" name="Freeform 31">
            <a:extLst>
              <a:ext uri="{FF2B5EF4-FFF2-40B4-BE49-F238E27FC236}">
                <a16:creationId xmlns:a16="http://schemas.microsoft.com/office/drawing/2014/main" id="{8EDDFA35-2B4B-E3B5-CCD1-166A95B8E80B}"/>
              </a:ext>
            </a:extLst>
          </p:cNvPr>
          <p:cNvSpPr>
            <a:spLocks/>
          </p:cNvSpPr>
          <p:nvPr/>
        </p:nvSpPr>
        <p:spPr bwMode="gray">
          <a:xfrm>
            <a:off x="3232600" y="1314863"/>
            <a:ext cx="8829523" cy="385664"/>
          </a:xfrm>
          <a:custGeom>
            <a:avLst/>
            <a:gdLst>
              <a:gd name="T0" fmla="*/ 2718 w 2718"/>
              <a:gd name="T1" fmla="*/ 146 h 146"/>
              <a:gd name="T2" fmla="*/ 2359 w 2718"/>
              <a:gd name="T3" fmla="*/ 0 h 146"/>
              <a:gd name="T4" fmla="*/ 2359 w 2718"/>
              <a:gd name="T5" fmla="*/ 93 h 146"/>
              <a:gd name="T6" fmla="*/ 1 w 2718"/>
              <a:gd name="T7" fmla="*/ 93 h 146"/>
              <a:gd name="T8" fmla="*/ 0 w 2718"/>
              <a:gd name="T9" fmla="*/ 146 h 146"/>
              <a:gd name="T10" fmla="*/ 2718 w 2718"/>
              <a:gd name="T11" fmla="*/ 146 h 146"/>
            </a:gdLst>
            <a:ahLst/>
            <a:cxnLst>
              <a:cxn ang="0">
                <a:pos x="T0" y="T1"/>
              </a:cxn>
              <a:cxn ang="0">
                <a:pos x="T2" y="T3"/>
              </a:cxn>
              <a:cxn ang="0">
                <a:pos x="T4" y="T5"/>
              </a:cxn>
              <a:cxn ang="0">
                <a:pos x="T6" y="T7"/>
              </a:cxn>
              <a:cxn ang="0">
                <a:pos x="T8" y="T9"/>
              </a:cxn>
              <a:cxn ang="0">
                <a:pos x="T10" y="T11"/>
              </a:cxn>
            </a:cxnLst>
            <a:rect l="0" t="0" r="r" b="b"/>
            <a:pathLst>
              <a:path w="2718" h="146">
                <a:moveTo>
                  <a:pt x="2718" y="146"/>
                </a:moveTo>
                <a:lnTo>
                  <a:pt x="2359" y="0"/>
                </a:lnTo>
                <a:lnTo>
                  <a:pt x="2359" y="93"/>
                </a:lnTo>
                <a:lnTo>
                  <a:pt x="1" y="93"/>
                </a:lnTo>
                <a:lnTo>
                  <a:pt x="0" y="146"/>
                </a:lnTo>
                <a:lnTo>
                  <a:pt x="2718" y="146"/>
                </a:lnTo>
                <a:close/>
              </a:path>
            </a:pathLst>
          </a:custGeom>
          <a:solidFill>
            <a:srgbClr val="E0DECF"/>
          </a:solidFill>
          <a:ln>
            <a:noFill/>
          </a:ln>
          <a:effectLst/>
        </p:spPr>
        <p:txBody>
          <a:bodyP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mj-lt"/>
              <a:ea typeface="ＭＳ Ｐゴシック"/>
              <a:sym typeface="Verdana" panose="020B0604030504040204" pitchFamily="34" charset="0"/>
            </a:endParaRPr>
          </a:p>
        </p:txBody>
      </p:sp>
      <p:sp>
        <p:nvSpPr>
          <p:cNvPr id="8" name="Freeform 31">
            <a:extLst>
              <a:ext uri="{FF2B5EF4-FFF2-40B4-BE49-F238E27FC236}">
                <a16:creationId xmlns:a16="http://schemas.microsoft.com/office/drawing/2014/main" id="{7734C31A-EABC-B9F7-A58F-62078C497A3B}"/>
              </a:ext>
            </a:extLst>
          </p:cNvPr>
          <p:cNvSpPr>
            <a:spLocks/>
          </p:cNvSpPr>
          <p:nvPr/>
        </p:nvSpPr>
        <p:spPr bwMode="gray">
          <a:xfrm rot="10800000">
            <a:off x="3190837" y="5883674"/>
            <a:ext cx="8829523" cy="385664"/>
          </a:xfrm>
          <a:custGeom>
            <a:avLst/>
            <a:gdLst>
              <a:gd name="T0" fmla="*/ 2718 w 2718"/>
              <a:gd name="T1" fmla="*/ 146 h 146"/>
              <a:gd name="T2" fmla="*/ 2359 w 2718"/>
              <a:gd name="T3" fmla="*/ 0 h 146"/>
              <a:gd name="T4" fmla="*/ 2359 w 2718"/>
              <a:gd name="T5" fmla="*/ 93 h 146"/>
              <a:gd name="T6" fmla="*/ 1 w 2718"/>
              <a:gd name="T7" fmla="*/ 93 h 146"/>
              <a:gd name="T8" fmla="*/ 0 w 2718"/>
              <a:gd name="T9" fmla="*/ 146 h 146"/>
              <a:gd name="T10" fmla="*/ 2718 w 2718"/>
              <a:gd name="T11" fmla="*/ 146 h 146"/>
            </a:gdLst>
            <a:ahLst/>
            <a:cxnLst>
              <a:cxn ang="0">
                <a:pos x="T0" y="T1"/>
              </a:cxn>
              <a:cxn ang="0">
                <a:pos x="T2" y="T3"/>
              </a:cxn>
              <a:cxn ang="0">
                <a:pos x="T4" y="T5"/>
              </a:cxn>
              <a:cxn ang="0">
                <a:pos x="T6" y="T7"/>
              </a:cxn>
              <a:cxn ang="0">
                <a:pos x="T8" y="T9"/>
              </a:cxn>
              <a:cxn ang="0">
                <a:pos x="T10" y="T11"/>
              </a:cxn>
            </a:cxnLst>
            <a:rect l="0" t="0" r="r" b="b"/>
            <a:pathLst>
              <a:path w="2718" h="146">
                <a:moveTo>
                  <a:pt x="2718" y="146"/>
                </a:moveTo>
                <a:lnTo>
                  <a:pt x="2359" y="0"/>
                </a:lnTo>
                <a:lnTo>
                  <a:pt x="2359" y="93"/>
                </a:lnTo>
                <a:lnTo>
                  <a:pt x="1" y="93"/>
                </a:lnTo>
                <a:lnTo>
                  <a:pt x="0" y="146"/>
                </a:lnTo>
                <a:lnTo>
                  <a:pt x="2718" y="146"/>
                </a:lnTo>
                <a:close/>
              </a:path>
            </a:pathLst>
          </a:custGeom>
          <a:solidFill>
            <a:srgbClr val="E0DECF"/>
          </a:solidFill>
          <a:ln>
            <a:noFill/>
          </a:ln>
          <a:effectLst/>
        </p:spPr>
        <p:txBody>
          <a:bodyP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mj-lt"/>
              <a:ea typeface="ＭＳ Ｐゴシック"/>
              <a:sym typeface="Verdana" panose="020B0604030504040204" pitchFamily="34" charset="0"/>
            </a:endParaRPr>
          </a:p>
        </p:txBody>
      </p:sp>
      <p:grpSp>
        <p:nvGrpSpPr>
          <p:cNvPr id="9" name="Group 8">
            <a:extLst>
              <a:ext uri="{FF2B5EF4-FFF2-40B4-BE49-F238E27FC236}">
                <a16:creationId xmlns:a16="http://schemas.microsoft.com/office/drawing/2014/main" id="{5D191FF9-D717-03C8-9FC4-FA3B3971B051}"/>
              </a:ext>
            </a:extLst>
          </p:cNvPr>
          <p:cNvGrpSpPr/>
          <p:nvPr/>
        </p:nvGrpSpPr>
        <p:grpSpPr>
          <a:xfrm>
            <a:off x="219770" y="1716759"/>
            <a:ext cx="3386317" cy="4390790"/>
            <a:chOff x="-43572" y="1088248"/>
            <a:chExt cx="3916047" cy="4887572"/>
          </a:xfrm>
        </p:grpSpPr>
        <p:grpSp>
          <p:nvGrpSpPr>
            <p:cNvPr id="10" name="Group 9">
              <a:extLst>
                <a:ext uri="{FF2B5EF4-FFF2-40B4-BE49-F238E27FC236}">
                  <a16:creationId xmlns:a16="http://schemas.microsoft.com/office/drawing/2014/main" id="{CAA79507-6473-64F4-42A4-52E2B5FAC9D4}"/>
                </a:ext>
              </a:extLst>
            </p:cNvPr>
            <p:cNvGrpSpPr/>
            <p:nvPr/>
          </p:nvGrpSpPr>
          <p:grpSpPr>
            <a:xfrm>
              <a:off x="1006067" y="1088248"/>
              <a:ext cx="2866408" cy="4887572"/>
              <a:chOff x="1504547" y="683288"/>
              <a:chExt cx="3220548" cy="5491426"/>
            </a:xfrm>
          </p:grpSpPr>
          <p:grpSp>
            <p:nvGrpSpPr>
              <p:cNvPr id="32" name="Group 31">
                <a:extLst>
                  <a:ext uri="{FF2B5EF4-FFF2-40B4-BE49-F238E27FC236}">
                    <a16:creationId xmlns:a16="http://schemas.microsoft.com/office/drawing/2014/main" id="{15B09711-C548-6595-79E3-FE2CE6F7753B}"/>
                  </a:ext>
                </a:extLst>
              </p:cNvPr>
              <p:cNvGrpSpPr/>
              <p:nvPr/>
            </p:nvGrpSpPr>
            <p:grpSpPr>
              <a:xfrm>
                <a:off x="2992184" y="2954169"/>
                <a:ext cx="1732911" cy="949664"/>
                <a:chOff x="2992184" y="2954169"/>
                <a:chExt cx="1732911" cy="949664"/>
              </a:xfrm>
            </p:grpSpPr>
            <p:grpSp>
              <p:nvGrpSpPr>
                <p:cNvPr id="53" name="Group 52">
                  <a:extLst>
                    <a:ext uri="{FF2B5EF4-FFF2-40B4-BE49-F238E27FC236}">
                      <a16:creationId xmlns:a16="http://schemas.microsoft.com/office/drawing/2014/main" id="{E0E56E99-A69A-B125-23AE-1590B22197F4}"/>
                    </a:ext>
                  </a:extLst>
                </p:cNvPr>
                <p:cNvGrpSpPr/>
                <p:nvPr/>
              </p:nvGrpSpPr>
              <p:grpSpPr>
                <a:xfrm rot="5400000">
                  <a:off x="3383808" y="2562545"/>
                  <a:ext cx="949664" cy="1732911"/>
                  <a:chOff x="4106372" y="341833"/>
                  <a:chExt cx="1017797" cy="1857238"/>
                </a:xfrm>
              </p:grpSpPr>
              <p:sp>
                <p:nvSpPr>
                  <p:cNvPr id="55" name="Oval 54">
                    <a:extLst>
                      <a:ext uri="{FF2B5EF4-FFF2-40B4-BE49-F238E27FC236}">
                        <a16:creationId xmlns:a16="http://schemas.microsoft.com/office/drawing/2014/main" id="{00716FE0-83BE-C4C8-B8FD-B00A366749B7}"/>
                      </a:ext>
                    </a:extLst>
                  </p:cNvPr>
                  <p:cNvSpPr/>
                  <p:nvPr/>
                </p:nvSpPr>
                <p:spPr>
                  <a:xfrm>
                    <a:off x="4106372" y="341833"/>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56" name="Freeform 55">
                    <a:extLst>
                      <a:ext uri="{FF2B5EF4-FFF2-40B4-BE49-F238E27FC236}">
                        <a16:creationId xmlns:a16="http://schemas.microsoft.com/office/drawing/2014/main" id="{FBD75A70-7730-DE62-51EB-68A06D1718BD}"/>
                      </a:ext>
                    </a:extLst>
                  </p:cNvPr>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335D6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54" name="Freeform 53">
                  <a:extLst>
                    <a:ext uri="{FF2B5EF4-FFF2-40B4-BE49-F238E27FC236}">
                      <a16:creationId xmlns:a16="http://schemas.microsoft.com/office/drawing/2014/main" id="{C2650F05-EADC-DC85-8FCA-3808DE0DBF67}"/>
                    </a:ext>
                  </a:extLst>
                </p:cNvPr>
                <p:cNvSpPr/>
                <p:nvPr/>
              </p:nvSpPr>
              <p:spPr>
                <a:xfrm>
                  <a:off x="4007211" y="3270115"/>
                  <a:ext cx="339388" cy="317773"/>
                </a:xfrm>
                <a:custGeom>
                  <a:avLst/>
                  <a:gdLst>
                    <a:gd name="connsiteX0" fmla="*/ 284776 w 291708"/>
                    <a:gd name="connsiteY0" fmla="*/ 159426 h 273131"/>
                    <a:gd name="connsiteX1" fmla="*/ 224313 w 291708"/>
                    <a:gd name="connsiteY1" fmla="*/ 190386 h 273131"/>
                    <a:gd name="connsiteX2" fmla="*/ 224313 w 291708"/>
                    <a:gd name="connsiteY2" fmla="*/ 266898 h 273131"/>
                    <a:gd name="connsiteX3" fmla="*/ 224419 w 291708"/>
                    <a:gd name="connsiteY3" fmla="*/ 266887 h 273131"/>
                    <a:gd name="connsiteX4" fmla="*/ 228189 w 291708"/>
                    <a:gd name="connsiteY4" fmla="*/ 265746 h 273131"/>
                    <a:gd name="connsiteX5" fmla="*/ 285025 w 291708"/>
                    <a:gd name="connsiteY5" fmla="*/ 234424 h 273131"/>
                    <a:gd name="connsiteX6" fmla="*/ 285025 w 291708"/>
                    <a:gd name="connsiteY6" fmla="*/ 159569 h 273131"/>
                    <a:gd name="connsiteX7" fmla="*/ 141601 w 291708"/>
                    <a:gd name="connsiteY7" fmla="*/ 159426 h 273131"/>
                    <a:gd name="connsiteX8" fmla="*/ 81139 w 291708"/>
                    <a:gd name="connsiteY8" fmla="*/ 190386 h 273131"/>
                    <a:gd name="connsiteX9" fmla="*/ 81139 w 291708"/>
                    <a:gd name="connsiteY9" fmla="*/ 266898 h 273131"/>
                    <a:gd name="connsiteX10" fmla="*/ 81245 w 291708"/>
                    <a:gd name="connsiteY10" fmla="*/ 266887 h 273131"/>
                    <a:gd name="connsiteX11" fmla="*/ 85015 w 291708"/>
                    <a:gd name="connsiteY11" fmla="*/ 265746 h 273131"/>
                    <a:gd name="connsiteX12" fmla="*/ 141851 w 291708"/>
                    <a:gd name="connsiteY12" fmla="*/ 234424 h 273131"/>
                    <a:gd name="connsiteX13" fmla="*/ 141851 w 291708"/>
                    <a:gd name="connsiteY13" fmla="*/ 159569 h 273131"/>
                    <a:gd name="connsiteX14" fmla="*/ 150367 w 291708"/>
                    <a:gd name="connsiteY14" fmla="*/ 158796 h 273131"/>
                    <a:gd name="connsiteX15" fmla="*/ 149577 w 291708"/>
                    <a:gd name="connsiteY15" fmla="*/ 159209 h 273131"/>
                    <a:gd name="connsiteX16" fmla="*/ 149577 w 291708"/>
                    <a:gd name="connsiteY16" fmla="*/ 233893 h 273131"/>
                    <a:gd name="connsiteX17" fmla="*/ 211073 w 291708"/>
                    <a:gd name="connsiteY17" fmla="*/ 264684 h 273131"/>
                    <a:gd name="connsiteX18" fmla="*/ 212577 w 291708"/>
                    <a:gd name="connsiteY18" fmla="*/ 265266 h 273131"/>
                    <a:gd name="connsiteX19" fmla="*/ 212577 w 291708"/>
                    <a:gd name="connsiteY19" fmla="*/ 190651 h 273131"/>
                    <a:gd name="connsiteX20" fmla="*/ 7192 w 291708"/>
                    <a:gd name="connsiteY20" fmla="*/ 158796 h 273131"/>
                    <a:gd name="connsiteX21" fmla="*/ 6402 w 291708"/>
                    <a:gd name="connsiteY21" fmla="*/ 159209 h 273131"/>
                    <a:gd name="connsiteX22" fmla="*/ 6402 w 291708"/>
                    <a:gd name="connsiteY22" fmla="*/ 233893 h 273131"/>
                    <a:gd name="connsiteX23" fmla="*/ 67898 w 291708"/>
                    <a:gd name="connsiteY23" fmla="*/ 264684 h 273131"/>
                    <a:gd name="connsiteX24" fmla="*/ 69403 w 291708"/>
                    <a:gd name="connsiteY24" fmla="*/ 265266 h 273131"/>
                    <a:gd name="connsiteX25" fmla="*/ 69403 w 291708"/>
                    <a:gd name="connsiteY25" fmla="*/ 190651 h 273131"/>
                    <a:gd name="connsiteX26" fmla="*/ 219652 w 291708"/>
                    <a:gd name="connsiteY26" fmla="*/ 122578 h 273131"/>
                    <a:gd name="connsiteX27" fmla="*/ 156853 w 291708"/>
                    <a:gd name="connsiteY27" fmla="*/ 155406 h 273131"/>
                    <a:gd name="connsiteX28" fmla="*/ 214431 w 291708"/>
                    <a:gd name="connsiteY28" fmla="*/ 184888 h 273131"/>
                    <a:gd name="connsiteX29" fmla="*/ 221942 w 291708"/>
                    <a:gd name="connsiteY29" fmla="*/ 184888 h 273131"/>
                    <a:gd name="connsiteX30" fmla="*/ 278594 w 291708"/>
                    <a:gd name="connsiteY30" fmla="*/ 155880 h 273131"/>
                    <a:gd name="connsiteX31" fmla="*/ 277717 w 291708"/>
                    <a:gd name="connsiteY31" fmla="*/ 155377 h 273131"/>
                    <a:gd name="connsiteX32" fmla="*/ 219652 w 291708"/>
                    <a:gd name="connsiteY32" fmla="*/ 122578 h 273131"/>
                    <a:gd name="connsiteX33" fmla="*/ 76478 w 291708"/>
                    <a:gd name="connsiteY33" fmla="*/ 122578 h 273131"/>
                    <a:gd name="connsiteX34" fmla="*/ 13678 w 291708"/>
                    <a:gd name="connsiteY34" fmla="*/ 155406 h 273131"/>
                    <a:gd name="connsiteX35" fmla="*/ 71256 w 291708"/>
                    <a:gd name="connsiteY35" fmla="*/ 184888 h 273131"/>
                    <a:gd name="connsiteX36" fmla="*/ 78768 w 291708"/>
                    <a:gd name="connsiteY36" fmla="*/ 184888 h 273131"/>
                    <a:gd name="connsiteX37" fmla="*/ 135419 w 291708"/>
                    <a:gd name="connsiteY37" fmla="*/ 155880 h 273131"/>
                    <a:gd name="connsiteX38" fmla="*/ 134543 w 291708"/>
                    <a:gd name="connsiteY38" fmla="*/ 155377 h 273131"/>
                    <a:gd name="connsiteX39" fmla="*/ 76478 w 291708"/>
                    <a:gd name="connsiteY39" fmla="*/ 122578 h 273131"/>
                    <a:gd name="connsiteX40" fmla="*/ 75737 w 291708"/>
                    <a:gd name="connsiteY40" fmla="*/ 41255 h 273131"/>
                    <a:gd name="connsiteX41" fmla="*/ 143575 w 291708"/>
                    <a:gd name="connsiteY41" fmla="*/ 76005 h 273131"/>
                    <a:gd name="connsiteX42" fmla="*/ 143581 w 291708"/>
                    <a:gd name="connsiteY42" fmla="*/ 147405 h 273131"/>
                    <a:gd name="connsiteX43" fmla="*/ 145945 w 291708"/>
                    <a:gd name="connsiteY43" fmla="*/ 150032 h 273131"/>
                    <a:gd name="connsiteX44" fmla="*/ 148428 w 291708"/>
                    <a:gd name="connsiteY44" fmla="*/ 147413 h 273131"/>
                    <a:gd name="connsiteX45" fmla="*/ 148355 w 291708"/>
                    <a:gd name="connsiteY45" fmla="*/ 76058 h 273131"/>
                    <a:gd name="connsiteX46" fmla="*/ 219558 w 291708"/>
                    <a:gd name="connsiteY46" fmla="*/ 41255 h 273131"/>
                    <a:gd name="connsiteX47" fmla="*/ 219536 w 291708"/>
                    <a:gd name="connsiteY47" fmla="*/ 113670 h 273131"/>
                    <a:gd name="connsiteX48" fmla="*/ 283404 w 291708"/>
                    <a:gd name="connsiteY48" fmla="*/ 150085 h 273131"/>
                    <a:gd name="connsiteX49" fmla="*/ 286457 w 291708"/>
                    <a:gd name="connsiteY49" fmla="*/ 151854 h 273131"/>
                    <a:gd name="connsiteX50" fmla="*/ 286528 w 291708"/>
                    <a:gd name="connsiteY50" fmla="*/ 151818 h 273131"/>
                    <a:gd name="connsiteX51" fmla="*/ 286584 w 291708"/>
                    <a:gd name="connsiteY51" fmla="*/ 151927 h 273131"/>
                    <a:gd name="connsiteX52" fmla="*/ 291402 w 291708"/>
                    <a:gd name="connsiteY52" fmla="*/ 154719 h 273131"/>
                    <a:gd name="connsiteX53" fmla="*/ 291402 w 291708"/>
                    <a:gd name="connsiteY53" fmla="*/ 237454 h 273131"/>
                    <a:gd name="connsiteX54" fmla="*/ 229203 w 291708"/>
                    <a:gd name="connsiteY54" fmla="*/ 272074 h 273131"/>
                    <a:gd name="connsiteX55" fmla="*/ 210472 w 291708"/>
                    <a:gd name="connsiteY55" fmla="*/ 270900 h 273131"/>
                    <a:gd name="connsiteX56" fmla="*/ 146374 w 291708"/>
                    <a:gd name="connsiteY56" fmla="*/ 238485 h 273131"/>
                    <a:gd name="connsiteX57" fmla="*/ 86029 w 291708"/>
                    <a:gd name="connsiteY57" fmla="*/ 272074 h 273131"/>
                    <a:gd name="connsiteX58" fmla="*/ 67297 w 291708"/>
                    <a:gd name="connsiteY58" fmla="*/ 270900 h 273131"/>
                    <a:gd name="connsiteX59" fmla="*/ 0 w 291708"/>
                    <a:gd name="connsiteY59" fmla="*/ 236867 h 273131"/>
                    <a:gd name="connsiteX60" fmla="*/ 0 w 291708"/>
                    <a:gd name="connsiteY60" fmla="*/ 154320 h 273131"/>
                    <a:gd name="connsiteX61" fmla="*/ 75629 w 291708"/>
                    <a:gd name="connsiteY61" fmla="*/ 114134 h 273131"/>
                    <a:gd name="connsiteX62" fmla="*/ 75737 w 291708"/>
                    <a:gd name="connsiteY62" fmla="*/ 41255 h 273131"/>
                    <a:gd name="connsiteX63" fmla="*/ 145931 w 291708"/>
                    <a:gd name="connsiteY63" fmla="*/ 0 h 273131"/>
                    <a:gd name="connsiteX64" fmla="*/ 219111 w 291708"/>
                    <a:gd name="connsiteY64" fmla="*/ 37326 h 273131"/>
                    <a:gd name="connsiteX65" fmla="*/ 146046 w 291708"/>
                    <a:gd name="connsiteY65" fmla="*/ 72245 h 273131"/>
                    <a:gd name="connsiteX66" fmla="*/ 75842 w 291708"/>
                    <a:gd name="connsiteY66" fmla="*/ 37277 h 27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91708" h="273131">
                      <a:moveTo>
                        <a:pt x="284776" y="159426"/>
                      </a:moveTo>
                      <a:lnTo>
                        <a:pt x="224313" y="190386"/>
                      </a:lnTo>
                      <a:lnTo>
                        <a:pt x="224313" y="266898"/>
                      </a:lnTo>
                      <a:lnTo>
                        <a:pt x="224419" y="266887"/>
                      </a:lnTo>
                      <a:cubicBezTo>
                        <a:pt x="225682" y="266613"/>
                        <a:pt x="226922" y="266216"/>
                        <a:pt x="228189" y="265746"/>
                      </a:cubicBezTo>
                      <a:lnTo>
                        <a:pt x="285025" y="234424"/>
                      </a:lnTo>
                      <a:cubicBezTo>
                        <a:pt x="285204" y="197262"/>
                        <a:pt x="285555" y="184581"/>
                        <a:pt x="285025" y="159569"/>
                      </a:cubicBezTo>
                      <a:close/>
                      <a:moveTo>
                        <a:pt x="141601" y="159426"/>
                      </a:moveTo>
                      <a:lnTo>
                        <a:pt x="81139" y="190386"/>
                      </a:lnTo>
                      <a:lnTo>
                        <a:pt x="81139" y="266898"/>
                      </a:lnTo>
                      <a:lnTo>
                        <a:pt x="81245" y="266887"/>
                      </a:lnTo>
                      <a:cubicBezTo>
                        <a:pt x="82508" y="266613"/>
                        <a:pt x="83748" y="266216"/>
                        <a:pt x="85015" y="265746"/>
                      </a:cubicBezTo>
                      <a:lnTo>
                        <a:pt x="141851" y="234424"/>
                      </a:lnTo>
                      <a:cubicBezTo>
                        <a:pt x="142030" y="197262"/>
                        <a:pt x="142380" y="184581"/>
                        <a:pt x="141851" y="159569"/>
                      </a:cubicBezTo>
                      <a:close/>
                      <a:moveTo>
                        <a:pt x="150367" y="158796"/>
                      </a:moveTo>
                      <a:lnTo>
                        <a:pt x="149577" y="159209"/>
                      </a:lnTo>
                      <a:lnTo>
                        <a:pt x="149577" y="233893"/>
                      </a:lnTo>
                      <a:lnTo>
                        <a:pt x="211073" y="264684"/>
                      </a:lnTo>
                      <a:lnTo>
                        <a:pt x="212577" y="265266"/>
                      </a:lnTo>
                      <a:lnTo>
                        <a:pt x="212577" y="190651"/>
                      </a:lnTo>
                      <a:close/>
                      <a:moveTo>
                        <a:pt x="7192" y="158796"/>
                      </a:moveTo>
                      <a:lnTo>
                        <a:pt x="6402" y="159209"/>
                      </a:lnTo>
                      <a:lnTo>
                        <a:pt x="6402" y="233893"/>
                      </a:lnTo>
                      <a:lnTo>
                        <a:pt x="67898" y="264684"/>
                      </a:lnTo>
                      <a:lnTo>
                        <a:pt x="69403" y="265266"/>
                      </a:lnTo>
                      <a:lnTo>
                        <a:pt x="69403" y="190651"/>
                      </a:lnTo>
                      <a:close/>
                      <a:moveTo>
                        <a:pt x="219652" y="122578"/>
                      </a:moveTo>
                      <a:lnTo>
                        <a:pt x="156853" y="155406"/>
                      </a:lnTo>
                      <a:lnTo>
                        <a:pt x="214431" y="184888"/>
                      </a:lnTo>
                      <a:lnTo>
                        <a:pt x="221942" y="184888"/>
                      </a:lnTo>
                      <a:lnTo>
                        <a:pt x="278594" y="155880"/>
                      </a:lnTo>
                      <a:lnTo>
                        <a:pt x="277717" y="155377"/>
                      </a:lnTo>
                      <a:cubicBezTo>
                        <a:pt x="243578" y="135774"/>
                        <a:pt x="244167" y="135824"/>
                        <a:pt x="219652" y="122578"/>
                      </a:cubicBezTo>
                      <a:close/>
                      <a:moveTo>
                        <a:pt x="76478" y="122578"/>
                      </a:moveTo>
                      <a:lnTo>
                        <a:pt x="13678" y="155406"/>
                      </a:lnTo>
                      <a:lnTo>
                        <a:pt x="71256" y="184888"/>
                      </a:lnTo>
                      <a:lnTo>
                        <a:pt x="78768" y="184888"/>
                      </a:lnTo>
                      <a:lnTo>
                        <a:pt x="135419" y="155880"/>
                      </a:lnTo>
                      <a:lnTo>
                        <a:pt x="134543" y="155377"/>
                      </a:lnTo>
                      <a:cubicBezTo>
                        <a:pt x="100404" y="135774"/>
                        <a:pt x="100993" y="135824"/>
                        <a:pt x="76478" y="122578"/>
                      </a:cubicBezTo>
                      <a:close/>
                      <a:moveTo>
                        <a:pt x="75737" y="41255"/>
                      </a:moveTo>
                      <a:lnTo>
                        <a:pt x="143575" y="76005"/>
                      </a:lnTo>
                      <a:cubicBezTo>
                        <a:pt x="143661" y="101376"/>
                        <a:pt x="143726" y="133012"/>
                        <a:pt x="143581" y="147405"/>
                      </a:cubicBezTo>
                      <a:lnTo>
                        <a:pt x="145945" y="150032"/>
                      </a:lnTo>
                      <a:lnTo>
                        <a:pt x="148428" y="147413"/>
                      </a:lnTo>
                      <a:cubicBezTo>
                        <a:pt x="148370" y="130379"/>
                        <a:pt x="148316" y="112435"/>
                        <a:pt x="148355" y="76058"/>
                      </a:cubicBezTo>
                      <a:lnTo>
                        <a:pt x="219558" y="41255"/>
                      </a:lnTo>
                      <a:cubicBezTo>
                        <a:pt x="219714" y="64612"/>
                        <a:pt x="219440" y="92774"/>
                        <a:pt x="219536" y="113670"/>
                      </a:cubicBezTo>
                      <a:cubicBezTo>
                        <a:pt x="246364" y="128310"/>
                        <a:pt x="246044" y="128418"/>
                        <a:pt x="283404" y="150085"/>
                      </a:cubicBezTo>
                      <a:lnTo>
                        <a:pt x="286457" y="151854"/>
                      </a:lnTo>
                      <a:lnTo>
                        <a:pt x="286528" y="151818"/>
                      </a:lnTo>
                      <a:lnTo>
                        <a:pt x="286584" y="151927"/>
                      </a:lnTo>
                      <a:lnTo>
                        <a:pt x="291402" y="154719"/>
                      </a:lnTo>
                      <a:cubicBezTo>
                        <a:pt x="291981" y="182363"/>
                        <a:pt x="291597" y="196380"/>
                        <a:pt x="291402" y="237454"/>
                      </a:cubicBezTo>
                      <a:lnTo>
                        <a:pt x="229203" y="272074"/>
                      </a:lnTo>
                      <a:cubicBezTo>
                        <a:pt x="225111" y="273639"/>
                        <a:pt x="215738" y="273639"/>
                        <a:pt x="210472" y="270900"/>
                      </a:cubicBezTo>
                      <a:lnTo>
                        <a:pt x="146374" y="238485"/>
                      </a:lnTo>
                      <a:lnTo>
                        <a:pt x="86029" y="272074"/>
                      </a:lnTo>
                      <a:cubicBezTo>
                        <a:pt x="81937" y="273639"/>
                        <a:pt x="72563" y="273639"/>
                        <a:pt x="67297" y="270900"/>
                      </a:cubicBezTo>
                      <a:lnTo>
                        <a:pt x="0" y="236867"/>
                      </a:lnTo>
                      <a:lnTo>
                        <a:pt x="0" y="154320"/>
                      </a:lnTo>
                      <a:lnTo>
                        <a:pt x="75629" y="114134"/>
                      </a:lnTo>
                      <a:cubicBezTo>
                        <a:pt x="75665" y="89192"/>
                        <a:pt x="75701" y="65710"/>
                        <a:pt x="75737" y="41255"/>
                      </a:cubicBezTo>
                      <a:close/>
                      <a:moveTo>
                        <a:pt x="145931" y="0"/>
                      </a:moveTo>
                      <a:lnTo>
                        <a:pt x="219111" y="37326"/>
                      </a:lnTo>
                      <a:lnTo>
                        <a:pt x="146046" y="72245"/>
                      </a:lnTo>
                      <a:lnTo>
                        <a:pt x="75842" y="37277"/>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prstClr val="white"/>
                      </a:solidFill>
                      <a:latin typeface="Arial" panose="020B0604020202020204" pitchFamily="34" charset="0"/>
                      <a:cs typeface="Arial" panose="020B0604020202020204" pitchFamily="34" charset="0"/>
                    </a:rPr>
                    <a:t>          </a:t>
                  </a:r>
                </a:p>
              </p:txBody>
            </p:sp>
          </p:grpSp>
          <p:grpSp>
            <p:nvGrpSpPr>
              <p:cNvPr id="33" name="Group 32">
                <a:extLst>
                  <a:ext uri="{FF2B5EF4-FFF2-40B4-BE49-F238E27FC236}">
                    <a16:creationId xmlns:a16="http://schemas.microsoft.com/office/drawing/2014/main" id="{5D1C4811-AD43-E5BA-866D-412468A1B208}"/>
                  </a:ext>
                </a:extLst>
              </p:cNvPr>
              <p:cNvGrpSpPr/>
              <p:nvPr/>
            </p:nvGrpSpPr>
            <p:grpSpPr>
              <a:xfrm>
                <a:off x="2441760" y="1625332"/>
                <a:ext cx="1732912" cy="949664"/>
                <a:chOff x="2441760" y="1625332"/>
                <a:chExt cx="1732912" cy="949664"/>
              </a:xfrm>
            </p:grpSpPr>
            <p:grpSp>
              <p:nvGrpSpPr>
                <p:cNvPr id="49" name="Group 48">
                  <a:extLst>
                    <a:ext uri="{FF2B5EF4-FFF2-40B4-BE49-F238E27FC236}">
                      <a16:creationId xmlns:a16="http://schemas.microsoft.com/office/drawing/2014/main" id="{FE12D2AA-3CF0-2F52-B771-EC920B13E023}"/>
                    </a:ext>
                  </a:extLst>
                </p:cNvPr>
                <p:cNvGrpSpPr/>
                <p:nvPr/>
              </p:nvGrpSpPr>
              <p:grpSpPr>
                <a:xfrm rot="2700000">
                  <a:off x="2833384" y="1233708"/>
                  <a:ext cx="949664" cy="1732912"/>
                  <a:chOff x="4106373" y="341832"/>
                  <a:chExt cx="1017797" cy="1857239"/>
                </a:xfrm>
              </p:grpSpPr>
              <p:sp>
                <p:nvSpPr>
                  <p:cNvPr id="51" name="Oval 50">
                    <a:extLst>
                      <a:ext uri="{FF2B5EF4-FFF2-40B4-BE49-F238E27FC236}">
                        <a16:creationId xmlns:a16="http://schemas.microsoft.com/office/drawing/2014/main" id="{07D41D60-AB8B-C423-06A1-E3E5F8AFFBFE}"/>
                      </a:ext>
                    </a:extLst>
                  </p:cNvPr>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52" name="Freeform 51">
                    <a:extLst>
                      <a:ext uri="{FF2B5EF4-FFF2-40B4-BE49-F238E27FC236}">
                        <a16:creationId xmlns:a16="http://schemas.microsoft.com/office/drawing/2014/main" id="{D0128E8F-984B-376B-8EB0-9A6DC96FBFD3}"/>
                      </a:ext>
                    </a:extLst>
                  </p:cNvPr>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9EBEA6"/>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50" name="Freeform 49">
                  <a:extLst>
                    <a:ext uri="{FF2B5EF4-FFF2-40B4-BE49-F238E27FC236}">
                      <a16:creationId xmlns:a16="http://schemas.microsoft.com/office/drawing/2014/main" id="{C7620FD7-0479-3B60-A57B-1BBAF96CA90A}"/>
                    </a:ext>
                  </a:extLst>
                </p:cNvPr>
                <p:cNvSpPr/>
                <p:nvPr/>
              </p:nvSpPr>
              <p:spPr>
                <a:xfrm>
                  <a:off x="3352925" y="1739967"/>
                  <a:ext cx="356750" cy="296628"/>
                </a:xfrm>
                <a:custGeom>
                  <a:avLst/>
                  <a:gdLst>
                    <a:gd name="connsiteX0" fmla="*/ 44101 w 220267"/>
                    <a:gd name="connsiteY0" fmla="*/ 100231 h 183146"/>
                    <a:gd name="connsiteX1" fmla="*/ 53879 w 220267"/>
                    <a:gd name="connsiteY1" fmla="*/ 104488 h 183146"/>
                    <a:gd name="connsiteX2" fmla="*/ 56669 w 220267"/>
                    <a:gd name="connsiteY2" fmla="*/ 119638 h 183146"/>
                    <a:gd name="connsiteX3" fmla="*/ 55828 w 220267"/>
                    <a:gd name="connsiteY3" fmla="*/ 121167 h 183146"/>
                    <a:gd name="connsiteX4" fmla="*/ 56191 w 220267"/>
                    <a:gd name="connsiteY4" fmla="*/ 120985 h 183146"/>
                    <a:gd name="connsiteX5" fmla="*/ 61661 w 220267"/>
                    <a:gd name="connsiteY5" fmla="*/ 120022 h 183146"/>
                    <a:gd name="connsiteX6" fmla="*/ 71829 w 220267"/>
                    <a:gd name="connsiteY6" fmla="*/ 124449 h 183146"/>
                    <a:gd name="connsiteX7" fmla="*/ 71829 w 220267"/>
                    <a:gd name="connsiteY7" fmla="*/ 124450 h 183146"/>
                    <a:gd name="connsiteX8" fmla="*/ 75574 w 220267"/>
                    <a:gd name="connsiteY8" fmla="*/ 137532 h 183146"/>
                    <a:gd name="connsiteX9" fmla="*/ 75493 w 220267"/>
                    <a:gd name="connsiteY9" fmla="*/ 137789 h 183146"/>
                    <a:gd name="connsiteX10" fmla="*/ 76354 w 220267"/>
                    <a:gd name="connsiteY10" fmla="*/ 137111 h 183146"/>
                    <a:gd name="connsiteX11" fmla="*/ 84066 w 220267"/>
                    <a:gd name="connsiteY11" fmla="*/ 134952 h 183146"/>
                    <a:gd name="connsiteX12" fmla="*/ 93851 w 220267"/>
                    <a:gd name="connsiteY12" fmla="*/ 139212 h 183146"/>
                    <a:gd name="connsiteX13" fmla="*/ 94855 w 220267"/>
                    <a:gd name="connsiteY13" fmla="*/ 140254 h 183146"/>
                    <a:gd name="connsiteX14" fmla="*/ 98459 w 220267"/>
                    <a:gd name="connsiteY14" fmla="*/ 152843 h 183146"/>
                    <a:gd name="connsiteX15" fmla="*/ 98426 w 220267"/>
                    <a:gd name="connsiteY15" fmla="*/ 152949 h 183146"/>
                    <a:gd name="connsiteX16" fmla="*/ 100544 w 220267"/>
                    <a:gd name="connsiteY16" fmla="*/ 151850 h 183146"/>
                    <a:gd name="connsiteX17" fmla="*/ 116138 w 220267"/>
                    <a:gd name="connsiteY17" fmla="*/ 154977 h 183146"/>
                    <a:gd name="connsiteX18" fmla="*/ 115325 w 220267"/>
                    <a:gd name="connsiteY18" fmla="*/ 175482 h 183146"/>
                    <a:gd name="connsiteX19" fmla="*/ 94805 w 220267"/>
                    <a:gd name="connsiteY19" fmla="*/ 175558 h 183146"/>
                    <a:gd name="connsiteX20" fmla="*/ 90961 w 220267"/>
                    <a:gd name="connsiteY20" fmla="*/ 165321 h 183146"/>
                    <a:gd name="connsiteX21" fmla="*/ 91263 w 220267"/>
                    <a:gd name="connsiteY21" fmla="*/ 163094 h 183146"/>
                    <a:gd name="connsiteX22" fmla="*/ 90038 w 220267"/>
                    <a:gd name="connsiteY22" fmla="*/ 164276 h 183146"/>
                    <a:gd name="connsiteX23" fmla="*/ 70321 w 220267"/>
                    <a:gd name="connsiteY23" fmla="*/ 163922 h 183146"/>
                    <a:gd name="connsiteX24" fmla="*/ 69317 w 220267"/>
                    <a:gd name="connsiteY24" fmla="*/ 162881 h 183146"/>
                    <a:gd name="connsiteX25" fmla="*/ 65410 w 220267"/>
                    <a:gd name="connsiteY25" fmla="*/ 152949 h 183146"/>
                    <a:gd name="connsiteX26" fmla="*/ 65689 w 220267"/>
                    <a:gd name="connsiteY26" fmla="*/ 150507 h 183146"/>
                    <a:gd name="connsiteX27" fmla="*/ 64932 w 220267"/>
                    <a:gd name="connsiteY27" fmla="*/ 151237 h 183146"/>
                    <a:gd name="connsiteX28" fmla="*/ 44444 w 220267"/>
                    <a:gd name="connsiteY28" fmla="*/ 150869 h 183146"/>
                    <a:gd name="connsiteX29" fmla="*/ 42914 w 220267"/>
                    <a:gd name="connsiteY29" fmla="*/ 132620 h 183146"/>
                    <a:gd name="connsiteX30" fmla="*/ 44026 w 220267"/>
                    <a:gd name="connsiteY30" fmla="*/ 131307 h 183146"/>
                    <a:gd name="connsiteX31" fmla="*/ 42197 w 220267"/>
                    <a:gd name="connsiteY31" fmla="*/ 131814 h 183146"/>
                    <a:gd name="connsiteX32" fmla="*/ 29753 w 220267"/>
                    <a:gd name="connsiteY32" fmla="*/ 127763 h 183146"/>
                    <a:gd name="connsiteX33" fmla="*/ 30107 w 220267"/>
                    <a:gd name="connsiteY33" fmla="*/ 108059 h 183146"/>
                    <a:gd name="connsiteX34" fmla="*/ 34176 w 220267"/>
                    <a:gd name="connsiteY34" fmla="*/ 104134 h 183146"/>
                    <a:gd name="connsiteX35" fmla="*/ 44101 w 220267"/>
                    <a:gd name="connsiteY35" fmla="*/ 100231 h 183146"/>
                    <a:gd name="connsiteX36" fmla="*/ 143014 w 220267"/>
                    <a:gd name="connsiteY36" fmla="*/ 54535 h 183146"/>
                    <a:gd name="connsiteX37" fmla="*/ 197042 w 220267"/>
                    <a:gd name="connsiteY37" fmla="*/ 103570 h 183146"/>
                    <a:gd name="connsiteX38" fmla="*/ 192227 w 220267"/>
                    <a:gd name="connsiteY38" fmla="*/ 133883 h 183146"/>
                    <a:gd name="connsiteX39" fmla="*/ 175110 w 220267"/>
                    <a:gd name="connsiteY39" fmla="*/ 156171 h 183146"/>
                    <a:gd name="connsiteX40" fmla="*/ 154782 w 220267"/>
                    <a:gd name="connsiteY40" fmla="*/ 170793 h 183146"/>
                    <a:gd name="connsiteX41" fmla="*/ 124113 w 220267"/>
                    <a:gd name="connsiteY41" fmla="*/ 179352 h 183146"/>
                    <a:gd name="connsiteX42" fmla="*/ 128928 w 220267"/>
                    <a:gd name="connsiteY42" fmla="*/ 168653 h 183146"/>
                    <a:gd name="connsiteX43" fmla="*/ 143727 w 220267"/>
                    <a:gd name="connsiteY43" fmla="*/ 165443 h 183146"/>
                    <a:gd name="connsiteX44" fmla="*/ 129106 w 220267"/>
                    <a:gd name="connsiteY44" fmla="*/ 152249 h 183146"/>
                    <a:gd name="connsiteX45" fmla="*/ 135703 w 220267"/>
                    <a:gd name="connsiteY45" fmla="*/ 143868 h 183146"/>
                    <a:gd name="connsiteX46" fmla="*/ 155496 w 220267"/>
                    <a:gd name="connsiteY46" fmla="*/ 158668 h 183146"/>
                    <a:gd name="connsiteX47" fmla="*/ 162450 w 220267"/>
                    <a:gd name="connsiteY47" fmla="*/ 150287 h 183146"/>
                    <a:gd name="connsiteX48" fmla="*/ 144262 w 220267"/>
                    <a:gd name="connsiteY48" fmla="*/ 135666 h 183146"/>
                    <a:gd name="connsiteX49" fmla="*/ 151216 w 220267"/>
                    <a:gd name="connsiteY49" fmla="*/ 127107 h 183146"/>
                    <a:gd name="connsiteX50" fmla="*/ 173148 w 220267"/>
                    <a:gd name="connsiteY50" fmla="*/ 143868 h 183146"/>
                    <a:gd name="connsiteX51" fmla="*/ 180102 w 220267"/>
                    <a:gd name="connsiteY51" fmla="*/ 135309 h 183146"/>
                    <a:gd name="connsiteX52" fmla="*/ 157100 w 220267"/>
                    <a:gd name="connsiteY52" fmla="*/ 116943 h 183146"/>
                    <a:gd name="connsiteX53" fmla="*/ 162628 w 220267"/>
                    <a:gd name="connsiteY53" fmla="*/ 107671 h 183146"/>
                    <a:gd name="connsiteX54" fmla="*/ 181172 w 220267"/>
                    <a:gd name="connsiteY54" fmla="*/ 120866 h 183146"/>
                    <a:gd name="connsiteX55" fmla="*/ 188304 w 220267"/>
                    <a:gd name="connsiteY55" fmla="*/ 110881 h 183146"/>
                    <a:gd name="connsiteX56" fmla="*/ 131602 w 220267"/>
                    <a:gd name="connsiteY56" fmla="*/ 58814 h 183146"/>
                    <a:gd name="connsiteX57" fmla="*/ 143014 w 220267"/>
                    <a:gd name="connsiteY57" fmla="*/ 54535 h 183146"/>
                    <a:gd name="connsiteX58" fmla="*/ 47678 w 220267"/>
                    <a:gd name="connsiteY58" fmla="*/ 524 h 183146"/>
                    <a:gd name="connsiteX59" fmla="*/ 57539 w 220267"/>
                    <a:gd name="connsiteY59" fmla="*/ 4171 h 183146"/>
                    <a:gd name="connsiteX60" fmla="*/ 90509 w 220267"/>
                    <a:gd name="connsiteY60" fmla="*/ 8832 h 183146"/>
                    <a:gd name="connsiteX61" fmla="*/ 92235 w 220267"/>
                    <a:gd name="connsiteY61" fmla="*/ 13838 h 183146"/>
                    <a:gd name="connsiteX62" fmla="*/ 54950 w 220267"/>
                    <a:gd name="connsiteY62" fmla="*/ 16772 h 183146"/>
                    <a:gd name="connsiteX63" fmla="*/ 40104 w 220267"/>
                    <a:gd name="connsiteY63" fmla="*/ 15046 h 183146"/>
                    <a:gd name="connsiteX64" fmla="*/ 14212 w 220267"/>
                    <a:gd name="connsiteY64" fmla="*/ 43873 h 183146"/>
                    <a:gd name="connsiteX65" fmla="*/ 13521 w 220267"/>
                    <a:gd name="connsiteY65" fmla="*/ 54576 h 183146"/>
                    <a:gd name="connsiteX66" fmla="*/ 23878 w 220267"/>
                    <a:gd name="connsiteY66" fmla="*/ 65451 h 183146"/>
                    <a:gd name="connsiteX67" fmla="*/ 28712 w 220267"/>
                    <a:gd name="connsiteY67" fmla="*/ 78570 h 183146"/>
                    <a:gd name="connsiteX68" fmla="*/ 32509 w 220267"/>
                    <a:gd name="connsiteY68" fmla="*/ 93070 h 183146"/>
                    <a:gd name="connsiteX69" fmla="*/ 24742 w 220267"/>
                    <a:gd name="connsiteY69" fmla="*/ 99803 h 183146"/>
                    <a:gd name="connsiteX70" fmla="*/ 17837 w 220267"/>
                    <a:gd name="connsiteY70" fmla="*/ 82195 h 183146"/>
                    <a:gd name="connsiteX71" fmla="*/ 7825 w 220267"/>
                    <a:gd name="connsiteY71" fmla="*/ 65106 h 183146"/>
                    <a:gd name="connsiteX72" fmla="*/ 3510 w 220267"/>
                    <a:gd name="connsiteY72" fmla="*/ 39040 h 183146"/>
                    <a:gd name="connsiteX73" fmla="*/ 35099 w 220267"/>
                    <a:gd name="connsiteY73" fmla="*/ 4516 h 183146"/>
                    <a:gd name="connsiteX74" fmla="*/ 47678 w 220267"/>
                    <a:gd name="connsiteY74" fmla="*/ 524 h 183146"/>
                    <a:gd name="connsiteX75" fmla="*/ 182574 w 220267"/>
                    <a:gd name="connsiteY75" fmla="*/ 357 h 183146"/>
                    <a:gd name="connsiteX76" fmla="*/ 190928 w 220267"/>
                    <a:gd name="connsiteY76" fmla="*/ 5012 h 183146"/>
                    <a:gd name="connsiteX77" fmla="*/ 216639 w 220267"/>
                    <a:gd name="connsiteY77" fmla="*/ 33183 h 183146"/>
                    <a:gd name="connsiteX78" fmla="*/ 219132 w 220267"/>
                    <a:gd name="connsiteY78" fmla="*/ 47858 h 183146"/>
                    <a:gd name="connsiteX79" fmla="*/ 207928 w 220267"/>
                    <a:gd name="connsiteY79" fmla="*/ 61251 h 183146"/>
                    <a:gd name="connsiteX80" fmla="*/ 200845 w 220267"/>
                    <a:gd name="connsiteY80" fmla="*/ 82500 h 183146"/>
                    <a:gd name="connsiteX81" fmla="*/ 190672 w 220267"/>
                    <a:gd name="connsiteY81" fmla="*/ 85461 h 183146"/>
                    <a:gd name="connsiteX82" fmla="*/ 153156 w 220267"/>
                    <a:gd name="connsiteY82" fmla="*/ 49730 h 183146"/>
                    <a:gd name="connsiteX83" fmla="*/ 136605 w 220267"/>
                    <a:gd name="connsiteY83" fmla="*/ 46214 h 183146"/>
                    <a:gd name="connsiteX84" fmla="*/ 122164 w 220267"/>
                    <a:gd name="connsiteY84" fmla="*/ 44267 h 183146"/>
                    <a:gd name="connsiteX85" fmla="*/ 109670 w 220267"/>
                    <a:gd name="connsiteY85" fmla="*/ 45728 h 183146"/>
                    <a:gd name="connsiteX86" fmla="*/ 76237 w 220267"/>
                    <a:gd name="connsiteY86" fmla="*/ 65087 h 183146"/>
                    <a:gd name="connsiteX87" fmla="*/ 63101 w 220267"/>
                    <a:gd name="connsiteY87" fmla="*/ 47837 h 183146"/>
                    <a:gd name="connsiteX88" fmla="*/ 103335 w 220267"/>
                    <a:gd name="connsiteY88" fmla="*/ 17150 h 183146"/>
                    <a:gd name="connsiteX89" fmla="*/ 155773 w 220267"/>
                    <a:gd name="connsiteY89" fmla="*/ 11156 h 183146"/>
                    <a:gd name="connsiteX90" fmla="*/ 172385 w 220267"/>
                    <a:gd name="connsiteY90" fmla="*/ 2656 h 183146"/>
                    <a:gd name="connsiteX91" fmla="*/ 182574 w 220267"/>
                    <a:gd name="connsiteY91" fmla="*/ 357 h 18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0267" h="183146">
                      <a:moveTo>
                        <a:pt x="44101" y="100231"/>
                      </a:moveTo>
                      <a:cubicBezTo>
                        <a:pt x="47666" y="100295"/>
                        <a:pt x="51207" y="101719"/>
                        <a:pt x="53879" y="104488"/>
                      </a:cubicBezTo>
                      <a:cubicBezTo>
                        <a:pt x="57887" y="108642"/>
                        <a:pt x="58799" y="114643"/>
                        <a:pt x="56669" y="119638"/>
                      </a:cubicBezTo>
                      <a:lnTo>
                        <a:pt x="55828" y="121167"/>
                      </a:lnTo>
                      <a:lnTo>
                        <a:pt x="56191" y="120985"/>
                      </a:lnTo>
                      <a:cubicBezTo>
                        <a:pt x="57947" y="120309"/>
                        <a:pt x="59807" y="119989"/>
                        <a:pt x="61661" y="120022"/>
                      </a:cubicBezTo>
                      <a:cubicBezTo>
                        <a:pt x="65369" y="120089"/>
                        <a:pt x="69051" y="121570"/>
                        <a:pt x="71829" y="124449"/>
                      </a:cubicBezTo>
                      <a:lnTo>
                        <a:pt x="71829" y="124450"/>
                      </a:lnTo>
                      <a:cubicBezTo>
                        <a:pt x="75302" y="128049"/>
                        <a:pt x="76540" y="132982"/>
                        <a:pt x="75574" y="137532"/>
                      </a:cubicBezTo>
                      <a:lnTo>
                        <a:pt x="75493" y="137789"/>
                      </a:lnTo>
                      <a:lnTo>
                        <a:pt x="76354" y="137111"/>
                      </a:lnTo>
                      <a:cubicBezTo>
                        <a:pt x="78700" y="135621"/>
                        <a:pt x="81390" y="134904"/>
                        <a:pt x="84066" y="134952"/>
                      </a:cubicBezTo>
                      <a:cubicBezTo>
                        <a:pt x="87634" y="135016"/>
                        <a:pt x="91178" y="136441"/>
                        <a:pt x="93851" y="139212"/>
                      </a:cubicBezTo>
                      <a:lnTo>
                        <a:pt x="94855" y="140254"/>
                      </a:lnTo>
                      <a:cubicBezTo>
                        <a:pt x="98197" y="143718"/>
                        <a:pt x="99389" y="148465"/>
                        <a:pt x="98459" y="152843"/>
                      </a:cubicBezTo>
                      <a:lnTo>
                        <a:pt x="98426" y="152949"/>
                      </a:lnTo>
                      <a:lnTo>
                        <a:pt x="100544" y="151850"/>
                      </a:lnTo>
                      <a:cubicBezTo>
                        <a:pt x="105868" y="149708"/>
                        <a:pt x="112056" y="150746"/>
                        <a:pt x="116138" y="154977"/>
                      </a:cubicBezTo>
                      <a:cubicBezTo>
                        <a:pt x="121580" y="160618"/>
                        <a:pt x="121216" y="169798"/>
                        <a:pt x="115325" y="175482"/>
                      </a:cubicBezTo>
                      <a:cubicBezTo>
                        <a:pt x="109435" y="181165"/>
                        <a:pt x="100247" y="181199"/>
                        <a:pt x="94805" y="175558"/>
                      </a:cubicBezTo>
                      <a:cubicBezTo>
                        <a:pt x="92084" y="172737"/>
                        <a:pt x="90814" y="169032"/>
                        <a:pt x="90961" y="165321"/>
                      </a:cubicBezTo>
                      <a:lnTo>
                        <a:pt x="91263" y="163094"/>
                      </a:lnTo>
                      <a:lnTo>
                        <a:pt x="90038" y="164276"/>
                      </a:lnTo>
                      <a:cubicBezTo>
                        <a:pt x="84496" y="169623"/>
                        <a:pt x="75668" y="169465"/>
                        <a:pt x="70321" y="163922"/>
                      </a:cubicBezTo>
                      <a:lnTo>
                        <a:pt x="69317" y="162881"/>
                      </a:lnTo>
                      <a:cubicBezTo>
                        <a:pt x="66643" y="160110"/>
                        <a:pt x="65346" y="156517"/>
                        <a:pt x="65410" y="152949"/>
                      </a:cubicBezTo>
                      <a:lnTo>
                        <a:pt x="65689" y="150507"/>
                      </a:lnTo>
                      <a:lnTo>
                        <a:pt x="64932" y="151237"/>
                      </a:lnTo>
                      <a:cubicBezTo>
                        <a:pt x="59173" y="156793"/>
                        <a:pt x="50000" y="156628"/>
                        <a:pt x="44444" y="150869"/>
                      </a:cubicBezTo>
                      <a:cubicBezTo>
                        <a:pt x="39582" y="145829"/>
                        <a:pt x="39101" y="138176"/>
                        <a:pt x="42914" y="132620"/>
                      </a:cubicBezTo>
                      <a:lnTo>
                        <a:pt x="44026" y="131307"/>
                      </a:lnTo>
                      <a:lnTo>
                        <a:pt x="42197" y="131814"/>
                      </a:lnTo>
                      <a:cubicBezTo>
                        <a:pt x="37791" y="132585"/>
                        <a:pt x="33093" y="131225"/>
                        <a:pt x="29753" y="127763"/>
                      </a:cubicBezTo>
                      <a:cubicBezTo>
                        <a:pt x="24410" y="122224"/>
                        <a:pt x="24568" y="113403"/>
                        <a:pt x="30107" y="108059"/>
                      </a:cubicBezTo>
                      <a:cubicBezTo>
                        <a:pt x="31463" y="106751"/>
                        <a:pt x="32819" y="105443"/>
                        <a:pt x="34176" y="104134"/>
                      </a:cubicBezTo>
                      <a:cubicBezTo>
                        <a:pt x="36945" y="101463"/>
                        <a:pt x="40535" y="100166"/>
                        <a:pt x="44101" y="100231"/>
                      </a:cubicBezTo>
                      <a:close/>
                      <a:moveTo>
                        <a:pt x="143014" y="54535"/>
                      </a:moveTo>
                      <a:cubicBezTo>
                        <a:pt x="170830" y="80984"/>
                        <a:pt x="179567" y="86214"/>
                        <a:pt x="197042" y="103570"/>
                      </a:cubicBezTo>
                      <a:cubicBezTo>
                        <a:pt x="210593" y="120153"/>
                        <a:pt x="197042" y="131921"/>
                        <a:pt x="192227" y="133883"/>
                      </a:cubicBezTo>
                      <a:cubicBezTo>
                        <a:pt x="195556" y="154804"/>
                        <a:pt x="179983" y="155933"/>
                        <a:pt x="175110" y="156171"/>
                      </a:cubicBezTo>
                      <a:cubicBezTo>
                        <a:pt x="170890" y="173943"/>
                        <a:pt x="159359" y="169782"/>
                        <a:pt x="154782" y="170793"/>
                      </a:cubicBezTo>
                      <a:cubicBezTo>
                        <a:pt x="148601" y="188386"/>
                        <a:pt x="128690" y="183156"/>
                        <a:pt x="124113" y="179352"/>
                      </a:cubicBezTo>
                      <a:lnTo>
                        <a:pt x="128928" y="168653"/>
                      </a:lnTo>
                      <a:cubicBezTo>
                        <a:pt x="141171" y="177569"/>
                        <a:pt x="144500" y="168118"/>
                        <a:pt x="143727" y="165443"/>
                      </a:cubicBezTo>
                      <a:cubicBezTo>
                        <a:pt x="145124" y="162293"/>
                        <a:pt x="132731" y="157360"/>
                        <a:pt x="129106" y="152249"/>
                      </a:cubicBezTo>
                      <a:cubicBezTo>
                        <a:pt x="125480" y="148742"/>
                        <a:pt x="129017" y="140213"/>
                        <a:pt x="135703" y="143868"/>
                      </a:cubicBezTo>
                      <a:cubicBezTo>
                        <a:pt x="140072" y="146988"/>
                        <a:pt x="150978" y="157509"/>
                        <a:pt x="155496" y="158668"/>
                      </a:cubicBezTo>
                      <a:cubicBezTo>
                        <a:pt x="164649" y="161966"/>
                        <a:pt x="165600" y="152575"/>
                        <a:pt x="162450" y="150287"/>
                      </a:cubicBezTo>
                      <a:cubicBezTo>
                        <a:pt x="155139" y="143363"/>
                        <a:pt x="153415" y="144819"/>
                        <a:pt x="144262" y="135666"/>
                      </a:cubicBezTo>
                      <a:cubicBezTo>
                        <a:pt x="141409" y="131683"/>
                        <a:pt x="143371" y="125561"/>
                        <a:pt x="151216" y="127107"/>
                      </a:cubicBezTo>
                      <a:cubicBezTo>
                        <a:pt x="155585" y="129692"/>
                        <a:pt x="168334" y="142501"/>
                        <a:pt x="173148" y="143868"/>
                      </a:cubicBezTo>
                      <a:cubicBezTo>
                        <a:pt x="180994" y="148979"/>
                        <a:pt x="184827" y="137657"/>
                        <a:pt x="180102" y="135309"/>
                      </a:cubicBezTo>
                      <a:cubicBezTo>
                        <a:pt x="178230" y="132783"/>
                        <a:pt x="160518" y="120212"/>
                        <a:pt x="157100" y="116943"/>
                      </a:cubicBezTo>
                      <a:cubicBezTo>
                        <a:pt x="151335" y="111297"/>
                        <a:pt x="158408" y="104580"/>
                        <a:pt x="162628" y="107671"/>
                      </a:cubicBezTo>
                      <a:lnTo>
                        <a:pt x="181172" y="120866"/>
                      </a:lnTo>
                      <a:cubicBezTo>
                        <a:pt x="189672" y="128117"/>
                        <a:pt x="195140" y="115576"/>
                        <a:pt x="188304" y="110881"/>
                      </a:cubicBezTo>
                      <a:lnTo>
                        <a:pt x="131602" y="58814"/>
                      </a:lnTo>
                      <a:cubicBezTo>
                        <a:pt x="127026" y="53999"/>
                        <a:pt x="138853" y="54178"/>
                        <a:pt x="143014" y="54535"/>
                      </a:cubicBezTo>
                      <a:close/>
                      <a:moveTo>
                        <a:pt x="47678" y="524"/>
                      </a:moveTo>
                      <a:cubicBezTo>
                        <a:pt x="51540" y="1006"/>
                        <a:pt x="54950" y="2761"/>
                        <a:pt x="57539" y="4171"/>
                      </a:cubicBezTo>
                      <a:cubicBezTo>
                        <a:pt x="64271" y="8314"/>
                        <a:pt x="65997" y="17463"/>
                        <a:pt x="90509" y="8832"/>
                      </a:cubicBezTo>
                      <a:cubicBezTo>
                        <a:pt x="107598" y="6214"/>
                        <a:pt x="98679" y="9752"/>
                        <a:pt x="92235" y="13838"/>
                      </a:cubicBezTo>
                      <a:cubicBezTo>
                        <a:pt x="84755" y="17923"/>
                        <a:pt x="80785" y="32365"/>
                        <a:pt x="54950" y="16772"/>
                      </a:cubicBezTo>
                      <a:cubicBezTo>
                        <a:pt x="47757" y="8601"/>
                        <a:pt x="42291" y="12169"/>
                        <a:pt x="40104" y="15046"/>
                      </a:cubicBezTo>
                      <a:lnTo>
                        <a:pt x="14212" y="43873"/>
                      </a:lnTo>
                      <a:cubicBezTo>
                        <a:pt x="9580" y="47959"/>
                        <a:pt x="11651" y="51785"/>
                        <a:pt x="13521" y="54576"/>
                      </a:cubicBezTo>
                      <a:cubicBezTo>
                        <a:pt x="16398" y="58978"/>
                        <a:pt x="19333" y="59381"/>
                        <a:pt x="23878" y="65451"/>
                      </a:cubicBezTo>
                      <a:cubicBezTo>
                        <a:pt x="28827" y="69623"/>
                        <a:pt x="27734" y="74456"/>
                        <a:pt x="28712" y="78570"/>
                      </a:cubicBezTo>
                      <a:cubicBezTo>
                        <a:pt x="29517" y="85619"/>
                        <a:pt x="31790" y="90222"/>
                        <a:pt x="32509" y="93070"/>
                      </a:cubicBezTo>
                      <a:cubicBezTo>
                        <a:pt x="29143" y="96091"/>
                        <a:pt x="24080" y="101759"/>
                        <a:pt x="24742" y="99803"/>
                      </a:cubicBezTo>
                      <a:cubicBezTo>
                        <a:pt x="22296" y="97990"/>
                        <a:pt x="19678" y="90855"/>
                        <a:pt x="17837" y="82195"/>
                      </a:cubicBezTo>
                      <a:cubicBezTo>
                        <a:pt x="18240" y="70256"/>
                        <a:pt x="11594" y="69796"/>
                        <a:pt x="7825" y="65106"/>
                      </a:cubicBezTo>
                      <a:cubicBezTo>
                        <a:pt x="-3021" y="54461"/>
                        <a:pt x="-691" y="49541"/>
                        <a:pt x="3510" y="39040"/>
                      </a:cubicBezTo>
                      <a:lnTo>
                        <a:pt x="35099" y="4516"/>
                      </a:lnTo>
                      <a:cubicBezTo>
                        <a:pt x="39500" y="834"/>
                        <a:pt x="43816" y="42"/>
                        <a:pt x="47678" y="524"/>
                      </a:cubicBezTo>
                      <a:close/>
                      <a:moveTo>
                        <a:pt x="182574" y="357"/>
                      </a:moveTo>
                      <a:cubicBezTo>
                        <a:pt x="185820" y="1136"/>
                        <a:pt x="188760" y="3074"/>
                        <a:pt x="190928" y="5012"/>
                      </a:cubicBezTo>
                      <a:lnTo>
                        <a:pt x="216639" y="33183"/>
                      </a:lnTo>
                      <a:cubicBezTo>
                        <a:pt x="219016" y="35628"/>
                        <a:pt x="221907" y="39618"/>
                        <a:pt x="219132" y="47858"/>
                      </a:cubicBezTo>
                      <a:cubicBezTo>
                        <a:pt x="216556" y="52665"/>
                        <a:pt x="211019" y="57988"/>
                        <a:pt x="207928" y="61251"/>
                      </a:cubicBezTo>
                      <a:cubicBezTo>
                        <a:pt x="205138" y="69536"/>
                        <a:pt x="203764" y="75116"/>
                        <a:pt x="200845" y="82500"/>
                      </a:cubicBezTo>
                      <a:cubicBezTo>
                        <a:pt x="199514" y="85161"/>
                        <a:pt x="195737" y="87951"/>
                        <a:pt x="190672" y="85461"/>
                      </a:cubicBezTo>
                      <a:lnTo>
                        <a:pt x="153156" y="49730"/>
                      </a:lnTo>
                      <a:cubicBezTo>
                        <a:pt x="150722" y="47585"/>
                        <a:pt x="146503" y="44141"/>
                        <a:pt x="136605" y="46214"/>
                      </a:cubicBezTo>
                      <a:cubicBezTo>
                        <a:pt x="132440" y="46467"/>
                        <a:pt x="129493" y="46296"/>
                        <a:pt x="122164" y="44267"/>
                      </a:cubicBezTo>
                      <a:cubicBezTo>
                        <a:pt x="120352" y="43213"/>
                        <a:pt x="117838" y="40960"/>
                        <a:pt x="109670" y="45728"/>
                      </a:cubicBezTo>
                      <a:cubicBezTo>
                        <a:pt x="92197" y="55480"/>
                        <a:pt x="85921" y="60689"/>
                        <a:pt x="76237" y="65087"/>
                      </a:cubicBezTo>
                      <a:cubicBezTo>
                        <a:pt x="67856" y="68802"/>
                        <a:pt x="51524" y="60024"/>
                        <a:pt x="63101" y="47837"/>
                      </a:cubicBezTo>
                      <a:lnTo>
                        <a:pt x="103335" y="17150"/>
                      </a:lnTo>
                      <a:cubicBezTo>
                        <a:pt x="124222" y="1846"/>
                        <a:pt x="144135" y="11044"/>
                        <a:pt x="155773" y="11156"/>
                      </a:cubicBezTo>
                      <a:cubicBezTo>
                        <a:pt x="164143" y="11756"/>
                        <a:pt x="167234" y="6047"/>
                        <a:pt x="172385" y="2656"/>
                      </a:cubicBezTo>
                      <a:cubicBezTo>
                        <a:pt x="175776" y="-42"/>
                        <a:pt x="179328" y="-422"/>
                        <a:pt x="182574" y="357"/>
                      </a:cubicBezTo>
                      <a:close/>
                    </a:path>
                  </a:pathLst>
                </a:custGeom>
                <a:solidFill>
                  <a:schemeClr val="bg1"/>
                </a:solidFill>
                <a:ln w="12700" cap="flat" cmpd="sng" algn="ctr">
                  <a:noFill/>
                  <a:prstDash val="solid"/>
                  <a:miter lim="800000"/>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34" name="Group 33">
                <a:extLst>
                  <a:ext uri="{FF2B5EF4-FFF2-40B4-BE49-F238E27FC236}">
                    <a16:creationId xmlns:a16="http://schemas.microsoft.com/office/drawing/2014/main" id="{EE362233-4D8F-6059-EFCD-61678ACF5E56}"/>
                  </a:ext>
                </a:extLst>
              </p:cNvPr>
              <p:cNvGrpSpPr/>
              <p:nvPr/>
            </p:nvGrpSpPr>
            <p:grpSpPr>
              <a:xfrm>
                <a:off x="2833384" y="3891381"/>
                <a:ext cx="949664" cy="1732911"/>
                <a:chOff x="2833384" y="3891381"/>
                <a:chExt cx="949664" cy="1732911"/>
              </a:xfrm>
            </p:grpSpPr>
            <p:grpSp>
              <p:nvGrpSpPr>
                <p:cNvPr id="45" name="Group 44">
                  <a:extLst>
                    <a:ext uri="{FF2B5EF4-FFF2-40B4-BE49-F238E27FC236}">
                      <a16:creationId xmlns:a16="http://schemas.microsoft.com/office/drawing/2014/main" id="{20BEF0B9-E3DC-8F35-8F94-01CED26A3891}"/>
                    </a:ext>
                  </a:extLst>
                </p:cNvPr>
                <p:cNvGrpSpPr/>
                <p:nvPr/>
              </p:nvGrpSpPr>
              <p:grpSpPr>
                <a:xfrm rot="8100000">
                  <a:off x="2833384" y="3891381"/>
                  <a:ext cx="949664" cy="1732911"/>
                  <a:chOff x="4106373" y="341832"/>
                  <a:chExt cx="1017797" cy="1857239"/>
                </a:xfrm>
              </p:grpSpPr>
              <p:sp>
                <p:nvSpPr>
                  <p:cNvPr id="47" name="Oval 46">
                    <a:extLst>
                      <a:ext uri="{FF2B5EF4-FFF2-40B4-BE49-F238E27FC236}">
                        <a16:creationId xmlns:a16="http://schemas.microsoft.com/office/drawing/2014/main" id="{2D34DB6D-D7C9-7FFC-99C5-7FECACFB8069}"/>
                      </a:ext>
                    </a:extLst>
                  </p:cNvPr>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48" name="Freeform 47">
                    <a:extLst>
                      <a:ext uri="{FF2B5EF4-FFF2-40B4-BE49-F238E27FC236}">
                        <a16:creationId xmlns:a16="http://schemas.microsoft.com/office/drawing/2014/main" id="{4858378A-F2CE-A3AA-999A-48C797608C92}"/>
                      </a:ext>
                    </a:extLst>
                  </p:cNvPr>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D34B29"/>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46" name="Freeform 45">
                  <a:extLst>
                    <a:ext uri="{FF2B5EF4-FFF2-40B4-BE49-F238E27FC236}">
                      <a16:creationId xmlns:a16="http://schemas.microsoft.com/office/drawing/2014/main" id="{3853E0FE-B764-E0F7-B95E-1F961FF2051C}"/>
                    </a:ext>
                  </a:extLst>
                </p:cNvPr>
                <p:cNvSpPr/>
                <p:nvPr/>
              </p:nvSpPr>
              <p:spPr>
                <a:xfrm>
                  <a:off x="3347330" y="4783633"/>
                  <a:ext cx="367940" cy="367938"/>
                </a:xfrm>
                <a:custGeom>
                  <a:avLst/>
                  <a:gdLst>
                    <a:gd name="connsiteX0" fmla="*/ 630627 w 1357911"/>
                    <a:gd name="connsiteY0" fmla="*/ 0 h 1357911"/>
                    <a:gd name="connsiteX1" fmla="*/ 727283 w 1357911"/>
                    <a:gd name="connsiteY1" fmla="*/ 0 h 1357911"/>
                    <a:gd name="connsiteX2" fmla="*/ 769573 w 1357911"/>
                    <a:gd name="connsiteY2" fmla="*/ 42290 h 1357911"/>
                    <a:gd name="connsiteX3" fmla="*/ 769573 w 1357911"/>
                    <a:gd name="connsiteY3" fmla="*/ 105138 h 1357911"/>
                    <a:gd name="connsiteX4" fmla="*/ 796163 w 1357911"/>
                    <a:gd name="connsiteY4" fmla="*/ 109195 h 1357911"/>
                    <a:gd name="connsiteX5" fmla="*/ 1004119 w 1357911"/>
                    <a:gd name="connsiteY5" fmla="*/ 196704 h 1357911"/>
                    <a:gd name="connsiteX6" fmla="*/ 1019973 w 1357911"/>
                    <a:gd name="connsiteY6" fmla="*/ 209784 h 1357911"/>
                    <a:gd name="connsiteX7" fmla="*/ 1065069 w 1357911"/>
                    <a:gd name="connsiteY7" fmla="*/ 164688 h 1357911"/>
                    <a:gd name="connsiteX8" fmla="*/ 1094973 w 1357911"/>
                    <a:gd name="connsiteY8" fmla="*/ 152302 h 1357911"/>
                    <a:gd name="connsiteX9" fmla="*/ 1124876 w 1357911"/>
                    <a:gd name="connsiteY9" fmla="*/ 164688 h 1357911"/>
                    <a:gd name="connsiteX10" fmla="*/ 1193223 w 1357911"/>
                    <a:gd name="connsiteY10" fmla="*/ 233034 h 1357911"/>
                    <a:gd name="connsiteX11" fmla="*/ 1193223 w 1357911"/>
                    <a:gd name="connsiteY11" fmla="*/ 292841 h 1357911"/>
                    <a:gd name="connsiteX12" fmla="*/ 1148126 w 1357911"/>
                    <a:gd name="connsiteY12" fmla="*/ 337938 h 1357911"/>
                    <a:gd name="connsiteX13" fmla="*/ 1161206 w 1357911"/>
                    <a:gd name="connsiteY13" fmla="*/ 353791 h 1357911"/>
                    <a:gd name="connsiteX14" fmla="*/ 1248714 w 1357911"/>
                    <a:gd name="connsiteY14" fmla="*/ 561746 h 1357911"/>
                    <a:gd name="connsiteX15" fmla="*/ 1252771 w 1357911"/>
                    <a:gd name="connsiteY15" fmla="*/ 588337 h 1357911"/>
                    <a:gd name="connsiteX16" fmla="*/ 1315621 w 1357911"/>
                    <a:gd name="connsiteY16" fmla="*/ 588337 h 1357911"/>
                    <a:gd name="connsiteX17" fmla="*/ 1357911 w 1357911"/>
                    <a:gd name="connsiteY17" fmla="*/ 630626 h 1357911"/>
                    <a:gd name="connsiteX18" fmla="*/ 1357911 w 1357911"/>
                    <a:gd name="connsiteY18" fmla="*/ 727283 h 1357911"/>
                    <a:gd name="connsiteX19" fmla="*/ 1315621 w 1357911"/>
                    <a:gd name="connsiteY19" fmla="*/ 769573 h 1357911"/>
                    <a:gd name="connsiteX20" fmla="*/ 1252771 w 1357911"/>
                    <a:gd name="connsiteY20" fmla="*/ 769573 h 1357911"/>
                    <a:gd name="connsiteX21" fmla="*/ 1248715 w 1357911"/>
                    <a:gd name="connsiteY21" fmla="*/ 796162 h 1357911"/>
                    <a:gd name="connsiteX22" fmla="*/ 1161206 w 1357911"/>
                    <a:gd name="connsiteY22" fmla="*/ 1004119 h 1357911"/>
                    <a:gd name="connsiteX23" fmla="*/ 1148126 w 1357911"/>
                    <a:gd name="connsiteY23" fmla="*/ 1019972 h 1357911"/>
                    <a:gd name="connsiteX24" fmla="*/ 1193222 w 1357911"/>
                    <a:gd name="connsiteY24" fmla="*/ 1065067 h 1357911"/>
                    <a:gd name="connsiteX25" fmla="*/ 1193222 w 1357911"/>
                    <a:gd name="connsiteY25" fmla="*/ 1124876 h 1357911"/>
                    <a:gd name="connsiteX26" fmla="*/ 1124877 w 1357911"/>
                    <a:gd name="connsiteY26" fmla="*/ 1193221 h 1357911"/>
                    <a:gd name="connsiteX27" fmla="*/ 1065068 w 1357911"/>
                    <a:gd name="connsiteY27" fmla="*/ 1193221 h 1357911"/>
                    <a:gd name="connsiteX28" fmla="*/ 1019973 w 1357911"/>
                    <a:gd name="connsiteY28" fmla="*/ 1148125 h 1357911"/>
                    <a:gd name="connsiteX29" fmla="*/ 1004119 w 1357911"/>
                    <a:gd name="connsiteY29" fmla="*/ 1161206 h 1357911"/>
                    <a:gd name="connsiteX30" fmla="*/ 796162 w 1357911"/>
                    <a:gd name="connsiteY30" fmla="*/ 1248714 h 1357911"/>
                    <a:gd name="connsiteX31" fmla="*/ 769572 w 1357911"/>
                    <a:gd name="connsiteY31" fmla="*/ 1252771 h 1357911"/>
                    <a:gd name="connsiteX32" fmla="*/ 769572 w 1357911"/>
                    <a:gd name="connsiteY32" fmla="*/ 1315621 h 1357911"/>
                    <a:gd name="connsiteX33" fmla="*/ 727283 w 1357911"/>
                    <a:gd name="connsiteY33" fmla="*/ 1357911 h 1357911"/>
                    <a:gd name="connsiteX34" fmla="*/ 630627 w 1357911"/>
                    <a:gd name="connsiteY34" fmla="*/ 1357910 h 1357911"/>
                    <a:gd name="connsiteX35" fmla="*/ 588337 w 1357911"/>
                    <a:gd name="connsiteY35" fmla="*/ 1315620 h 1357911"/>
                    <a:gd name="connsiteX36" fmla="*/ 588337 w 1357911"/>
                    <a:gd name="connsiteY36" fmla="*/ 1252772 h 1357911"/>
                    <a:gd name="connsiteX37" fmla="*/ 561746 w 1357911"/>
                    <a:gd name="connsiteY37" fmla="*/ 1248714 h 1357911"/>
                    <a:gd name="connsiteX38" fmla="*/ 353791 w 1357911"/>
                    <a:gd name="connsiteY38" fmla="*/ 1161206 h 1357911"/>
                    <a:gd name="connsiteX39" fmla="*/ 337938 w 1357911"/>
                    <a:gd name="connsiteY39" fmla="*/ 1148126 h 1357911"/>
                    <a:gd name="connsiteX40" fmla="*/ 292841 w 1357911"/>
                    <a:gd name="connsiteY40" fmla="*/ 1193222 h 1357911"/>
                    <a:gd name="connsiteX41" fmla="*/ 233034 w 1357911"/>
                    <a:gd name="connsiteY41" fmla="*/ 1193222 h 1357911"/>
                    <a:gd name="connsiteX42" fmla="*/ 164688 w 1357911"/>
                    <a:gd name="connsiteY42" fmla="*/ 1124876 h 1357911"/>
                    <a:gd name="connsiteX43" fmla="*/ 164688 w 1357911"/>
                    <a:gd name="connsiteY43" fmla="*/ 1065068 h 1357911"/>
                    <a:gd name="connsiteX44" fmla="*/ 209784 w 1357911"/>
                    <a:gd name="connsiteY44" fmla="*/ 1019972 h 1357911"/>
                    <a:gd name="connsiteX45" fmla="*/ 196704 w 1357911"/>
                    <a:gd name="connsiteY45" fmla="*/ 1004119 h 1357911"/>
                    <a:gd name="connsiteX46" fmla="*/ 109195 w 1357911"/>
                    <a:gd name="connsiteY46" fmla="*/ 796162 h 1357911"/>
                    <a:gd name="connsiteX47" fmla="*/ 105137 w 1357911"/>
                    <a:gd name="connsiteY47" fmla="*/ 769574 h 1357911"/>
                    <a:gd name="connsiteX48" fmla="*/ 42290 w 1357911"/>
                    <a:gd name="connsiteY48" fmla="*/ 769573 h 1357911"/>
                    <a:gd name="connsiteX49" fmla="*/ 0 w 1357911"/>
                    <a:gd name="connsiteY49" fmla="*/ 727283 h 1357911"/>
                    <a:gd name="connsiteX50" fmla="*/ 0 w 1357911"/>
                    <a:gd name="connsiteY50" fmla="*/ 630626 h 1357911"/>
                    <a:gd name="connsiteX51" fmla="*/ 42290 w 1357911"/>
                    <a:gd name="connsiteY51" fmla="*/ 588337 h 1357911"/>
                    <a:gd name="connsiteX52" fmla="*/ 105138 w 1357911"/>
                    <a:gd name="connsiteY52" fmla="*/ 588337 h 1357911"/>
                    <a:gd name="connsiteX53" fmla="*/ 109196 w 1357911"/>
                    <a:gd name="connsiteY53" fmla="*/ 561748 h 1357911"/>
                    <a:gd name="connsiteX54" fmla="*/ 196704 w 1357911"/>
                    <a:gd name="connsiteY54" fmla="*/ 353791 h 1357911"/>
                    <a:gd name="connsiteX55" fmla="*/ 209784 w 1357911"/>
                    <a:gd name="connsiteY55" fmla="*/ 337937 h 1357911"/>
                    <a:gd name="connsiteX56" fmla="*/ 164688 w 1357911"/>
                    <a:gd name="connsiteY56" fmla="*/ 292842 h 1357911"/>
                    <a:gd name="connsiteX57" fmla="*/ 164688 w 1357911"/>
                    <a:gd name="connsiteY57" fmla="*/ 233033 h 1357911"/>
                    <a:gd name="connsiteX58" fmla="*/ 233033 w 1357911"/>
                    <a:gd name="connsiteY58" fmla="*/ 164688 h 1357911"/>
                    <a:gd name="connsiteX59" fmla="*/ 262938 w 1357911"/>
                    <a:gd name="connsiteY59" fmla="*/ 152302 h 1357911"/>
                    <a:gd name="connsiteX60" fmla="*/ 292842 w 1357911"/>
                    <a:gd name="connsiteY60" fmla="*/ 164688 h 1357911"/>
                    <a:gd name="connsiteX61" fmla="*/ 337938 w 1357911"/>
                    <a:gd name="connsiteY61" fmla="*/ 209783 h 1357911"/>
                    <a:gd name="connsiteX62" fmla="*/ 353791 w 1357911"/>
                    <a:gd name="connsiteY62" fmla="*/ 196704 h 1357911"/>
                    <a:gd name="connsiteX63" fmla="*/ 561746 w 1357911"/>
                    <a:gd name="connsiteY63" fmla="*/ 109195 h 1357911"/>
                    <a:gd name="connsiteX64" fmla="*/ 588337 w 1357911"/>
                    <a:gd name="connsiteY64" fmla="*/ 105138 h 1357911"/>
                    <a:gd name="connsiteX65" fmla="*/ 588337 w 1357911"/>
                    <a:gd name="connsiteY65" fmla="*/ 42290 h 1357911"/>
                    <a:gd name="connsiteX66" fmla="*/ 630627 w 1357911"/>
                    <a:gd name="connsiteY66" fmla="*/ 0 h 1357911"/>
                    <a:gd name="connsiteX67" fmla="*/ 678955 w 1357911"/>
                    <a:gd name="connsiteY67" fmla="*/ 339023 h 1357911"/>
                    <a:gd name="connsiteX68" fmla="*/ 339023 w 1357911"/>
                    <a:gd name="connsiteY68" fmla="*/ 678955 h 1357911"/>
                    <a:gd name="connsiteX69" fmla="*/ 678955 w 1357911"/>
                    <a:gd name="connsiteY69" fmla="*/ 1018887 h 1357911"/>
                    <a:gd name="connsiteX70" fmla="*/ 1018888 w 1357911"/>
                    <a:gd name="connsiteY70" fmla="*/ 678955 h 1357911"/>
                    <a:gd name="connsiteX71" fmla="*/ 678955 w 1357911"/>
                    <a:gd name="connsiteY71" fmla="*/ 339023 h 135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57911" h="1357911">
                      <a:moveTo>
                        <a:pt x="630627" y="0"/>
                      </a:moveTo>
                      <a:lnTo>
                        <a:pt x="727283" y="0"/>
                      </a:lnTo>
                      <a:cubicBezTo>
                        <a:pt x="750640" y="0"/>
                        <a:pt x="769573" y="18934"/>
                        <a:pt x="769573" y="42290"/>
                      </a:cubicBezTo>
                      <a:lnTo>
                        <a:pt x="769573" y="105138"/>
                      </a:lnTo>
                      <a:lnTo>
                        <a:pt x="796163" y="109195"/>
                      </a:lnTo>
                      <a:cubicBezTo>
                        <a:pt x="871880" y="124690"/>
                        <a:pt x="942239" y="154899"/>
                        <a:pt x="1004119" y="196704"/>
                      </a:cubicBezTo>
                      <a:lnTo>
                        <a:pt x="1019973" y="209784"/>
                      </a:lnTo>
                      <a:lnTo>
                        <a:pt x="1065069" y="164688"/>
                      </a:lnTo>
                      <a:cubicBezTo>
                        <a:pt x="1073327" y="156430"/>
                        <a:pt x="1084150" y="152302"/>
                        <a:pt x="1094973" y="152302"/>
                      </a:cubicBezTo>
                      <a:cubicBezTo>
                        <a:pt x="1105796" y="152302"/>
                        <a:pt x="1116618" y="156430"/>
                        <a:pt x="1124876" y="164688"/>
                      </a:cubicBezTo>
                      <a:lnTo>
                        <a:pt x="1193223" y="233034"/>
                      </a:lnTo>
                      <a:cubicBezTo>
                        <a:pt x="1209738" y="249550"/>
                        <a:pt x="1209738" y="276326"/>
                        <a:pt x="1193223" y="292841"/>
                      </a:cubicBezTo>
                      <a:lnTo>
                        <a:pt x="1148126" y="337938"/>
                      </a:lnTo>
                      <a:lnTo>
                        <a:pt x="1161206" y="353791"/>
                      </a:lnTo>
                      <a:cubicBezTo>
                        <a:pt x="1203011" y="415670"/>
                        <a:pt x="1233219" y="486029"/>
                        <a:pt x="1248714" y="561746"/>
                      </a:cubicBezTo>
                      <a:lnTo>
                        <a:pt x="1252771" y="588337"/>
                      </a:lnTo>
                      <a:lnTo>
                        <a:pt x="1315621" y="588337"/>
                      </a:lnTo>
                      <a:cubicBezTo>
                        <a:pt x="1338976" y="588337"/>
                        <a:pt x="1357911" y="607271"/>
                        <a:pt x="1357911" y="630626"/>
                      </a:cubicBezTo>
                      <a:lnTo>
                        <a:pt x="1357911" y="727283"/>
                      </a:lnTo>
                      <a:cubicBezTo>
                        <a:pt x="1357911" y="750638"/>
                        <a:pt x="1338977" y="769574"/>
                        <a:pt x="1315621" y="769573"/>
                      </a:cubicBezTo>
                      <a:lnTo>
                        <a:pt x="1252771" y="769573"/>
                      </a:lnTo>
                      <a:lnTo>
                        <a:pt x="1248715" y="796162"/>
                      </a:lnTo>
                      <a:cubicBezTo>
                        <a:pt x="1233220" y="871880"/>
                        <a:pt x="1203011" y="942239"/>
                        <a:pt x="1161206" y="1004119"/>
                      </a:cubicBezTo>
                      <a:lnTo>
                        <a:pt x="1148126" y="1019972"/>
                      </a:lnTo>
                      <a:lnTo>
                        <a:pt x="1193222" y="1065067"/>
                      </a:lnTo>
                      <a:cubicBezTo>
                        <a:pt x="1209737" y="1081584"/>
                        <a:pt x="1209737" y="1108360"/>
                        <a:pt x="1193222" y="1124876"/>
                      </a:cubicBezTo>
                      <a:lnTo>
                        <a:pt x="1124877" y="1193221"/>
                      </a:lnTo>
                      <a:cubicBezTo>
                        <a:pt x="1108361" y="1209737"/>
                        <a:pt x="1081584" y="1209737"/>
                        <a:pt x="1065068" y="1193221"/>
                      </a:cubicBezTo>
                      <a:lnTo>
                        <a:pt x="1019973" y="1148125"/>
                      </a:lnTo>
                      <a:lnTo>
                        <a:pt x="1004119" y="1161206"/>
                      </a:lnTo>
                      <a:cubicBezTo>
                        <a:pt x="942239" y="1203010"/>
                        <a:pt x="871880" y="1233219"/>
                        <a:pt x="796162" y="1248714"/>
                      </a:cubicBezTo>
                      <a:lnTo>
                        <a:pt x="769572" y="1252771"/>
                      </a:lnTo>
                      <a:lnTo>
                        <a:pt x="769572" y="1315621"/>
                      </a:lnTo>
                      <a:cubicBezTo>
                        <a:pt x="769573" y="1338975"/>
                        <a:pt x="750639" y="1357910"/>
                        <a:pt x="727283" y="1357911"/>
                      </a:cubicBezTo>
                      <a:lnTo>
                        <a:pt x="630627" y="1357910"/>
                      </a:lnTo>
                      <a:cubicBezTo>
                        <a:pt x="607271" y="1357911"/>
                        <a:pt x="588337" y="1338976"/>
                        <a:pt x="588337" y="1315620"/>
                      </a:cubicBezTo>
                      <a:lnTo>
                        <a:pt x="588337" y="1252772"/>
                      </a:lnTo>
                      <a:lnTo>
                        <a:pt x="561746" y="1248714"/>
                      </a:lnTo>
                      <a:cubicBezTo>
                        <a:pt x="486028" y="1233219"/>
                        <a:pt x="415671" y="1203010"/>
                        <a:pt x="353791" y="1161206"/>
                      </a:cubicBezTo>
                      <a:lnTo>
                        <a:pt x="337938" y="1148126"/>
                      </a:lnTo>
                      <a:lnTo>
                        <a:pt x="292841" y="1193222"/>
                      </a:lnTo>
                      <a:cubicBezTo>
                        <a:pt x="276327" y="1209737"/>
                        <a:pt x="249550" y="1209737"/>
                        <a:pt x="233034" y="1193222"/>
                      </a:cubicBezTo>
                      <a:lnTo>
                        <a:pt x="164688" y="1124876"/>
                      </a:lnTo>
                      <a:cubicBezTo>
                        <a:pt x="148173" y="1108360"/>
                        <a:pt x="148173" y="1081583"/>
                        <a:pt x="164688" y="1065068"/>
                      </a:cubicBezTo>
                      <a:lnTo>
                        <a:pt x="209784" y="1019972"/>
                      </a:lnTo>
                      <a:lnTo>
                        <a:pt x="196704" y="1004119"/>
                      </a:lnTo>
                      <a:cubicBezTo>
                        <a:pt x="154898" y="942239"/>
                        <a:pt x="124689" y="871881"/>
                        <a:pt x="109195" y="796162"/>
                      </a:cubicBezTo>
                      <a:lnTo>
                        <a:pt x="105137" y="769574"/>
                      </a:lnTo>
                      <a:lnTo>
                        <a:pt x="42290" y="769573"/>
                      </a:lnTo>
                      <a:cubicBezTo>
                        <a:pt x="18934" y="769574"/>
                        <a:pt x="0" y="750639"/>
                        <a:pt x="0" y="727283"/>
                      </a:cubicBezTo>
                      <a:lnTo>
                        <a:pt x="0" y="630626"/>
                      </a:lnTo>
                      <a:cubicBezTo>
                        <a:pt x="0" y="607271"/>
                        <a:pt x="18933" y="588337"/>
                        <a:pt x="42290" y="588337"/>
                      </a:cubicBezTo>
                      <a:lnTo>
                        <a:pt x="105138" y="588337"/>
                      </a:lnTo>
                      <a:lnTo>
                        <a:pt x="109196" y="561748"/>
                      </a:lnTo>
                      <a:cubicBezTo>
                        <a:pt x="124689" y="486029"/>
                        <a:pt x="154898" y="415670"/>
                        <a:pt x="196704" y="353791"/>
                      </a:cubicBezTo>
                      <a:lnTo>
                        <a:pt x="209784" y="337937"/>
                      </a:lnTo>
                      <a:lnTo>
                        <a:pt x="164688" y="292842"/>
                      </a:lnTo>
                      <a:cubicBezTo>
                        <a:pt x="148174" y="276325"/>
                        <a:pt x="148174" y="249550"/>
                        <a:pt x="164688" y="233033"/>
                      </a:cubicBezTo>
                      <a:lnTo>
                        <a:pt x="233033" y="164688"/>
                      </a:lnTo>
                      <a:cubicBezTo>
                        <a:pt x="241293" y="156431"/>
                        <a:pt x="252115" y="152303"/>
                        <a:pt x="262938" y="152302"/>
                      </a:cubicBezTo>
                      <a:cubicBezTo>
                        <a:pt x="273761" y="152303"/>
                        <a:pt x="284584" y="156431"/>
                        <a:pt x="292842" y="164688"/>
                      </a:cubicBezTo>
                      <a:lnTo>
                        <a:pt x="337938" y="209783"/>
                      </a:lnTo>
                      <a:lnTo>
                        <a:pt x="353791" y="196704"/>
                      </a:lnTo>
                      <a:cubicBezTo>
                        <a:pt x="415671" y="154899"/>
                        <a:pt x="486029" y="124689"/>
                        <a:pt x="561746" y="109195"/>
                      </a:cubicBezTo>
                      <a:lnTo>
                        <a:pt x="588337" y="105138"/>
                      </a:lnTo>
                      <a:lnTo>
                        <a:pt x="588337" y="42290"/>
                      </a:lnTo>
                      <a:cubicBezTo>
                        <a:pt x="588337" y="18934"/>
                        <a:pt x="607272" y="0"/>
                        <a:pt x="630627" y="0"/>
                      </a:cubicBezTo>
                      <a:close/>
                      <a:moveTo>
                        <a:pt x="678955" y="339023"/>
                      </a:moveTo>
                      <a:cubicBezTo>
                        <a:pt x="491215" y="339022"/>
                        <a:pt x="339023" y="491215"/>
                        <a:pt x="339023" y="678955"/>
                      </a:cubicBezTo>
                      <a:cubicBezTo>
                        <a:pt x="339023" y="866696"/>
                        <a:pt x="491215" y="1018887"/>
                        <a:pt x="678955" y="1018887"/>
                      </a:cubicBezTo>
                      <a:cubicBezTo>
                        <a:pt x="866696" y="1018887"/>
                        <a:pt x="1018888" y="866696"/>
                        <a:pt x="1018888" y="678955"/>
                      </a:cubicBezTo>
                      <a:cubicBezTo>
                        <a:pt x="1018888" y="491215"/>
                        <a:pt x="866696" y="339022"/>
                        <a:pt x="678955" y="339023"/>
                      </a:cubicBezTo>
                      <a:close/>
                    </a:path>
                  </a:pathLst>
                </a:custGeom>
                <a:solidFill>
                  <a:schemeClr val="bg1"/>
                </a:solidFill>
                <a:ln w="12700" cap="flat" cmpd="sng" algn="ctr">
                  <a:noFill/>
                  <a:prstDash val="solid"/>
                  <a:miter lim="800000"/>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35" name="Group 34">
                <a:extLst>
                  <a:ext uri="{FF2B5EF4-FFF2-40B4-BE49-F238E27FC236}">
                    <a16:creationId xmlns:a16="http://schemas.microsoft.com/office/drawing/2014/main" id="{CE7A44B7-EFE9-0561-0E1A-6B2C67DE132D}"/>
                  </a:ext>
                </a:extLst>
              </p:cNvPr>
              <p:cNvGrpSpPr/>
              <p:nvPr/>
            </p:nvGrpSpPr>
            <p:grpSpPr>
              <a:xfrm>
                <a:off x="1504547" y="4441803"/>
                <a:ext cx="949664" cy="1732911"/>
                <a:chOff x="1504547" y="4441803"/>
                <a:chExt cx="949664" cy="1732911"/>
              </a:xfrm>
            </p:grpSpPr>
            <p:grpSp>
              <p:nvGrpSpPr>
                <p:cNvPr id="41" name="Group 40">
                  <a:extLst>
                    <a:ext uri="{FF2B5EF4-FFF2-40B4-BE49-F238E27FC236}">
                      <a16:creationId xmlns:a16="http://schemas.microsoft.com/office/drawing/2014/main" id="{DCE3CC43-18C5-5B20-C0CD-0892598DA2C0}"/>
                    </a:ext>
                  </a:extLst>
                </p:cNvPr>
                <p:cNvGrpSpPr/>
                <p:nvPr/>
              </p:nvGrpSpPr>
              <p:grpSpPr>
                <a:xfrm flipV="1">
                  <a:off x="1504547" y="4441803"/>
                  <a:ext cx="949664" cy="1732911"/>
                  <a:chOff x="4106373" y="341832"/>
                  <a:chExt cx="1017797" cy="1857239"/>
                </a:xfrm>
              </p:grpSpPr>
              <p:sp>
                <p:nvSpPr>
                  <p:cNvPr id="43" name="Oval 42">
                    <a:extLst>
                      <a:ext uri="{FF2B5EF4-FFF2-40B4-BE49-F238E27FC236}">
                        <a16:creationId xmlns:a16="http://schemas.microsoft.com/office/drawing/2014/main" id="{7291F9A7-5C95-0171-70FC-87F6B02EB8D4}"/>
                      </a:ext>
                    </a:extLst>
                  </p:cNvPr>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44" name="Freeform 43">
                    <a:extLst>
                      <a:ext uri="{FF2B5EF4-FFF2-40B4-BE49-F238E27FC236}">
                        <a16:creationId xmlns:a16="http://schemas.microsoft.com/office/drawing/2014/main" id="{0354CC7A-1F79-DA95-5280-473AC9133E66}"/>
                      </a:ext>
                    </a:extLst>
                  </p:cNvPr>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79897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42" name="Freeform 41">
                  <a:extLst>
                    <a:ext uri="{FF2B5EF4-FFF2-40B4-BE49-F238E27FC236}">
                      <a16:creationId xmlns:a16="http://schemas.microsoft.com/office/drawing/2014/main" id="{D1765BE4-D19B-22B0-8618-A6E453DD0224}"/>
                    </a:ext>
                  </a:extLst>
                </p:cNvPr>
                <p:cNvSpPr/>
                <p:nvPr/>
              </p:nvSpPr>
              <p:spPr>
                <a:xfrm>
                  <a:off x="1807995" y="5474546"/>
                  <a:ext cx="323030" cy="287604"/>
                </a:xfrm>
                <a:custGeom>
                  <a:avLst/>
                  <a:gdLst>
                    <a:gd name="connsiteX0" fmla="*/ 79398 w 213033"/>
                    <a:gd name="connsiteY0" fmla="*/ 138405 h 189670"/>
                    <a:gd name="connsiteX1" fmla="*/ 100083 w 213033"/>
                    <a:gd name="connsiteY1" fmla="*/ 138405 h 189670"/>
                    <a:gd name="connsiteX2" fmla="*/ 100083 w 213033"/>
                    <a:gd name="connsiteY2" fmla="*/ 161290 h 189670"/>
                    <a:gd name="connsiteX3" fmla="*/ 79398 w 213033"/>
                    <a:gd name="connsiteY3" fmla="*/ 161290 h 189670"/>
                    <a:gd name="connsiteX4" fmla="*/ 47379 w 213033"/>
                    <a:gd name="connsiteY4" fmla="*/ 138405 h 189670"/>
                    <a:gd name="connsiteX5" fmla="*/ 68064 w 213033"/>
                    <a:gd name="connsiteY5" fmla="*/ 138405 h 189670"/>
                    <a:gd name="connsiteX6" fmla="*/ 68064 w 213033"/>
                    <a:gd name="connsiteY6" fmla="*/ 161290 h 189670"/>
                    <a:gd name="connsiteX7" fmla="*/ 47379 w 213033"/>
                    <a:gd name="connsiteY7" fmla="*/ 161290 h 189670"/>
                    <a:gd name="connsiteX8" fmla="*/ 143681 w 213033"/>
                    <a:gd name="connsiteY8" fmla="*/ 106502 h 189670"/>
                    <a:gd name="connsiteX9" fmla="*/ 164366 w 213033"/>
                    <a:gd name="connsiteY9" fmla="*/ 106502 h 189670"/>
                    <a:gd name="connsiteX10" fmla="*/ 164366 w 213033"/>
                    <a:gd name="connsiteY10" fmla="*/ 129387 h 189670"/>
                    <a:gd name="connsiteX11" fmla="*/ 143681 w 213033"/>
                    <a:gd name="connsiteY11" fmla="*/ 129387 h 189670"/>
                    <a:gd name="connsiteX12" fmla="*/ 111580 w 213033"/>
                    <a:gd name="connsiteY12" fmla="*/ 106502 h 189670"/>
                    <a:gd name="connsiteX13" fmla="*/ 132265 w 213033"/>
                    <a:gd name="connsiteY13" fmla="*/ 106502 h 189670"/>
                    <a:gd name="connsiteX14" fmla="*/ 132265 w 213033"/>
                    <a:gd name="connsiteY14" fmla="*/ 129387 h 189670"/>
                    <a:gd name="connsiteX15" fmla="*/ 111580 w 213033"/>
                    <a:gd name="connsiteY15" fmla="*/ 129387 h 189670"/>
                    <a:gd name="connsiteX16" fmla="*/ 79480 w 213033"/>
                    <a:gd name="connsiteY16" fmla="*/ 106502 h 189670"/>
                    <a:gd name="connsiteX17" fmla="*/ 100165 w 213033"/>
                    <a:gd name="connsiteY17" fmla="*/ 106502 h 189670"/>
                    <a:gd name="connsiteX18" fmla="*/ 100165 w 213033"/>
                    <a:gd name="connsiteY18" fmla="*/ 129387 h 189670"/>
                    <a:gd name="connsiteX19" fmla="*/ 79480 w 213033"/>
                    <a:gd name="connsiteY19" fmla="*/ 129387 h 189670"/>
                    <a:gd name="connsiteX20" fmla="*/ 47379 w 213033"/>
                    <a:gd name="connsiteY20" fmla="*/ 106502 h 189670"/>
                    <a:gd name="connsiteX21" fmla="*/ 68064 w 213033"/>
                    <a:gd name="connsiteY21" fmla="*/ 106502 h 189670"/>
                    <a:gd name="connsiteX22" fmla="*/ 68064 w 213033"/>
                    <a:gd name="connsiteY22" fmla="*/ 129387 h 189670"/>
                    <a:gd name="connsiteX23" fmla="*/ 47379 w 213033"/>
                    <a:gd name="connsiteY23" fmla="*/ 129387 h 189670"/>
                    <a:gd name="connsiteX24" fmla="*/ 143681 w 213033"/>
                    <a:gd name="connsiteY24" fmla="*/ 74380 h 189670"/>
                    <a:gd name="connsiteX25" fmla="*/ 164366 w 213033"/>
                    <a:gd name="connsiteY25" fmla="*/ 74380 h 189670"/>
                    <a:gd name="connsiteX26" fmla="*/ 164366 w 213033"/>
                    <a:gd name="connsiteY26" fmla="*/ 97265 h 189670"/>
                    <a:gd name="connsiteX27" fmla="*/ 143681 w 213033"/>
                    <a:gd name="connsiteY27" fmla="*/ 97265 h 189670"/>
                    <a:gd name="connsiteX28" fmla="*/ 111539 w 213033"/>
                    <a:gd name="connsiteY28" fmla="*/ 74380 h 189670"/>
                    <a:gd name="connsiteX29" fmla="*/ 132224 w 213033"/>
                    <a:gd name="connsiteY29" fmla="*/ 74380 h 189670"/>
                    <a:gd name="connsiteX30" fmla="*/ 132224 w 213033"/>
                    <a:gd name="connsiteY30" fmla="*/ 97265 h 189670"/>
                    <a:gd name="connsiteX31" fmla="*/ 111539 w 213033"/>
                    <a:gd name="connsiteY31" fmla="*/ 97265 h 189670"/>
                    <a:gd name="connsiteX32" fmla="*/ 79398 w 213033"/>
                    <a:gd name="connsiteY32" fmla="*/ 74380 h 189670"/>
                    <a:gd name="connsiteX33" fmla="*/ 100083 w 213033"/>
                    <a:gd name="connsiteY33" fmla="*/ 74380 h 189670"/>
                    <a:gd name="connsiteX34" fmla="*/ 100083 w 213033"/>
                    <a:gd name="connsiteY34" fmla="*/ 97265 h 189670"/>
                    <a:gd name="connsiteX35" fmla="*/ 79398 w 213033"/>
                    <a:gd name="connsiteY35" fmla="*/ 97265 h 189670"/>
                    <a:gd name="connsiteX36" fmla="*/ 27519 w 213033"/>
                    <a:gd name="connsiteY36" fmla="*/ 64477 h 189670"/>
                    <a:gd name="connsiteX37" fmla="*/ 27519 w 213033"/>
                    <a:gd name="connsiteY37" fmla="*/ 172742 h 189670"/>
                    <a:gd name="connsiteX38" fmla="*/ 185515 w 213033"/>
                    <a:gd name="connsiteY38" fmla="*/ 172742 h 189670"/>
                    <a:gd name="connsiteX39" fmla="*/ 185515 w 213033"/>
                    <a:gd name="connsiteY39" fmla="*/ 64477 h 189670"/>
                    <a:gd name="connsiteX40" fmla="*/ 20729 w 213033"/>
                    <a:gd name="connsiteY40" fmla="*/ 15317 h 189670"/>
                    <a:gd name="connsiteX41" fmla="*/ 47094 w 213033"/>
                    <a:gd name="connsiteY41" fmla="*/ 15317 h 189670"/>
                    <a:gd name="connsiteX42" fmla="*/ 47094 w 213033"/>
                    <a:gd name="connsiteY42" fmla="*/ 23216 h 189670"/>
                    <a:gd name="connsiteX43" fmla="*/ 45680 w 213033"/>
                    <a:gd name="connsiteY43" fmla="*/ 24383 h 189670"/>
                    <a:gd name="connsiteX44" fmla="*/ 40815 w 213033"/>
                    <a:gd name="connsiteY44" fmla="*/ 36126 h 189670"/>
                    <a:gd name="connsiteX45" fmla="*/ 57424 w 213033"/>
                    <a:gd name="connsiteY45" fmla="*/ 52734 h 189670"/>
                    <a:gd name="connsiteX46" fmla="*/ 74032 w 213033"/>
                    <a:gd name="connsiteY46" fmla="*/ 36126 h 189670"/>
                    <a:gd name="connsiteX47" fmla="*/ 69167 w 213033"/>
                    <a:gd name="connsiteY47" fmla="*/ 24383 h 189670"/>
                    <a:gd name="connsiteX48" fmla="*/ 67753 w 213033"/>
                    <a:gd name="connsiteY48" fmla="*/ 23216 h 189670"/>
                    <a:gd name="connsiteX49" fmla="*/ 67753 w 213033"/>
                    <a:gd name="connsiteY49" fmla="*/ 15317 h 189670"/>
                    <a:gd name="connsiteX50" fmla="*/ 146572 w 213033"/>
                    <a:gd name="connsiteY50" fmla="*/ 15317 h 189670"/>
                    <a:gd name="connsiteX51" fmla="*/ 146572 w 213033"/>
                    <a:gd name="connsiteY51" fmla="*/ 23216 h 189670"/>
                    <a:gd name="connsiteX52" fmla="*/ 145158 w 213033"/>
                    <a:gd name="connsiteY52" fmla="*/ 24383 h 189670"/>
                    <a:gd name="connsiteX53" fmla="*/ 140293 w 213033"/>
                    <a:gd name="connsiteY53" fmla="*/ 36126 h 189670"/>
                    <a:gd name="connsiteX54" fmla="*/ 156901 w 213033"/>
                    <a:gd name="connsiteY54" fmla="*/ 52734 h 189670"/>
                    <a:gd name="connsiteX55" fmla="*/ 173510 w 213033"/>
                    <a:gd name="connsiteY55" fmla="*/ 36126 h 189670"/>
                    <a:gd name="connsiteX56" fmla="*/ 168645 w 213033"/>
                    <a:gd name="connsiteY56" fmla="*/ 24383 h 189670"/>
                    <a:gd name="connsiteX57" fmla="*/ 167231 w 213033"/>
                    <a:gd name="connsiteY57" fmla="*/ 23216 h 189670"/>
                    <a:gd name="connsiteX58" fmla="*/ 167231 w 213033"/>
                    <a:gd name="connsiteY58" fmla="*/ 15317 h 189670"/>
                    <a:gd name="connsiteX59" fmla="*/ 192304 w 213033"/>
                    <a:gd name="connsiteY59" fmla="*/ 15317 h 189670"/>
                    <a:gd name="connsiteX60" fmla="*/ 213033 w 213033"/>
                    <a:gd name="connsiteY60" fmla="*/ 36046 h 189670"/>
                    <a:gd name="connsiteX61" fmla="*/ 213033 w 213033"/>
                    <a:gd name="connsiteY61" fmla="*/ 168941 h 189670"/>
                    <a:gd name="connsiteX62" fmla="*/ 192304 w 213033"/>
                    <a:gd name="connsiteY62" fmla="*/ 189670 h 189670"/>
                    <a:gd name="connsiteX63" fmla="*/ 20729 w 213033"/>
                    <a:gd name="connsiteY63" fmla="*/ 189670 h 189670"/>
                    <a:gd name="connsiteX64" fmla="*/ 0 w 213033"/>
                    <a:gd name="connsiteY64" fmla="*/ 168941 h 189670"/>
                    <a:gd name="connsiteX65" fmla="*/ 0 w 213033"/>
                    <a:gd name="connsiteY65" fmla="*/ 36046 h 189670"/>
                    <a:gd name="connsiteX66" fmla="*/ 20729 w 213033"/>
                    <a:gd name="connsiteY66" fmla="*/ 15317 h 189670"/>
                    <a:gd name="connsiteX67" fmla="*/ 156901 w 213033"/>
                    <a:gd name="connsiteY67" fmla="*/ 0 h 189670"/>
                    <a:gd name="connsiteX68" fmla="*/ 162997 w 213033"/>
                    <a:gd name="connsiteY68" fmla="*/ 6096 h 189670"/>
                    <a:gd name="connsiteX69" fmla="*/ 162997 w 213033"/>
                    <a:gd name="connsiteY69" fmla="*/ 35936 h 189670"/>
                    <a:gd name="connsiteX70" fmla="*/ 156901 w 213033"/>
                    <a:gd name="connsiteY70" fmla="*/ 42032 h 189670"/>
                    <a:gd name="connsiteX71" fmla="*/ 150805 w 213033"/>
                    <a:gd name="connsiteY71" fmla="*/ 35936 h 189670"/>
                    <a:gd name="connsiteX72" fmla="*/ 150805 w 213033"/>
                    <a:gd name="connsiteY72" fmla="*/ 6096 h 189670"/>
                    <a:gd name="connsiteX73" fmla="*/ 156901 w 213033"/>
                    <a:gd name="connsiteY73" fmla="*/ 0 h 189670"/>
                    <a:gd name="connsiteX74" fmla="*/ 57424 w 213033"/>
                    <a:gd name="connsiteY74" fmla="*/ 0 h 189670"/>
                    <a:gd name="connsiteX75" fmla="*/ 63520 w 213033"/>
                    <a:gd name="connsiteY75" fmla="*/ 6096 h 189670"/>
                    <a:gd name="connsiteX76" fmla="*/ 63520 w 213033"/>
                    <a:gd name="connsiteY76" fmla="*/ 35936 h 189670"/>
                    <a:gd name="connsiteX77" fmla="*/ 57424 w 213033"/>
                    <a:gd name="connsiteY77" fmla="*/ 42032 h 189670"/>
                    <a:gd name="connsiteX78" fmla="*/ 51328 w 213033"/>
                    <a:gd name="connsiteY78" fmla="*/ 35936 h 189670"/>
                    <a:gd name="connsiteX79" fmla="*/ 51328 w 213033"/>
                    <a:gd name="connsiteY79" fmla="*/ 6096 h 189670"/>
                    <a:gd name="connsiteX80" fmla="*/ 57424 w 213033"/>
                    <a:gd name="connsiteY80" fmla="*/ 0 h 18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13033" h="189670">
                      <a:moveTo>
                        <a:pt x="79398" y="138405"/>
                      </a:moveTo>
                      <a:lnTo>
                        <a:pt x="100083" y="138405"/>
                      </a:lnTo>
                      <a:lnTo>
                        <a:pt x="100083" y="161290"/>
                      </a:lnTo>
                      <a:lnTo>
                        <a:pt x="79398" y="161290"/>
                      </a:lnTo>
                      <a:close/>
                      <a:moveTo>
                        <a:pt x="47379" y="138405"/>
                      </a:moveTo>
                      <a:lnTo>
                        <a:pt x="68064" y="138405"/>
                      </a:lnTo>
                      <a:lnTo>
                        <a:pt x="68064" y="161290"/>
                      </a:lnTo>
                      <a:lnTo>
                        <a:pt x="47379" y="161290"/>
                      </a:lnTo>
                      <a:close/>
                      <a:moveTo>
                        <a:pt x="143681" y="106502"/>
                      </a:moveTo>
                      <a:lnTo>
                        <a:pt x="164366" y="106502"/>
                      </a:lnTo>
                      <a:lnTo>
                        <a:pt x="164366" y="129387"/>
                      </a:lnTo>
                      <a:lnTo>
                        <a:pt x="143681" y="129387"/>
                      </a:lnTo>
                      <a:close/>
                      <a:moveTo>
                        <a:pt x="111580" y="106502"/>
                      </a:moveTo>
                      <a:lnTo>
                        <a:pt x="132265" y="106502"/>
                      </a:lnTo>
                      <a:lnTo>
                        <a:pt x="132265" y="129387"/>
                      </a:lnTo>
                      <a:lnTo>
                        <a:pt x="111580" y="129387"/>
                      </a:lnTo>
                      <a:close/>
                      <a:moveTo>
                        <a:pt x="79480" y="106502"/>
                      </a:moveTo>
                      <a:lnTo>
                        <a:pt x="100165" y="106502"/>
                      </a:lnTo>
                      <a:lnTo>
                        <a:pt x="100165" y="129387"/>
                      </a:lnTo>
                      <a:lnTo>
                        <a:pt x="79480" y="129387"/>
                      </a:lnTo>
                      <a:close/>
                      <a:moveTo>
                        <a:pt x="47379" y="106502"/>
                      </a:moveTo>
                      <a:lnTo>
                        <a:pt x="68064" y="106502"/>
                      </a:lnTo>
                      <a:lnTo>
                        <a:pt x="68064" y="129387"/>
                      </a:lnTo>
                      <a:lnTo>
                        <a:pt x="47379" y="129387"/>
                      </a:lnTo>
                      <a:close/>
                      <a:moveTo>
                        <a:pt x="143681" y="74380"/>
                      </a:moveTo>
                      <a:lnTo>
                        <a:pt x="164366" y="74380"/>
                      </a:lnTo>
                      <a:lnTo>
                        <a:pt x="164366" y="97265"/>
                      </a:lnTo>
                      <a:lnTo>
                        <a:pt x="143681" y="97265"/>
                      </a:lnTo>
                      <a:close/>
                      <a:moveTo>
                        <a:pt x="111539" y="74380"/>
                      </a:moveTo>
                      <a:lnTo>
                        <a:pt x="132224" y="74380"/>
                      </a:lnTo>
                      <a:lnTo>
                        <a:pt x="132224" y="97265"/>
                      </a:lnTo>
                      <a:lnTo>
                        <a:pt x="111539" y="97265"/>
                      </a:lnTo>
                      <a:close/>
                      <a:moveTo>
                        <a:pt x="79398" y="74380"/>
                      </a:moveTo>
                      <a:lnTo>
                        <a:pt x="100083" y="74380"/>
                      </a:lnTo>
                      <a:lnTo>
                        <a:pt x="100083" y="97265"/>
                      </a:lnTo>
                      <a:lnTo>
                        <a:pt x="79398" y="97265"/>
                      </a:lnTo>
                      <a:close/>
                      <a:moveTo>
                        <a:pt x="27519" y="64477"/>
                      </a:moveTo>
                      <a:lnTo>
                        <a:pt x="27519" y="172742"/>
                      </a:lnTo>
                      <a:lnTo>
                        <a:pt x="185515" y="172742"/>
                      </a:lnTo>
                      <a:lnTo>
                        <a:pt x="185515" y="64477"/>
                      </a:lnTo>
                      <a:close/>
                      <a:moveTo>
                        <a:pt x="20729" y="15317"/>
                      </a:moveTo>
                      <a:lnTo>
                        <a:pt x="47094" y="15317"/>
                      </a:lnTo>
                      <a:lnTo>
                        <a:pt x="47094" y="23216"/>
                      </a:lnTo>
                      <a:lnTo>
                        <a:pt x="45680" y="24383"/>
                      </a:lnTo>
                      <a:cubicBezTo>
                        <a:pt x="42674" y="27388"/>
                        <a:pt x="40815" y="31540"/>
                        <a:pt x="40815" y="36126"/>
                      </a:cubicBezTo>
                      <a:cubicBezTo>
                        <a:pt x="40815" y="45299"/>
                        <a:pt x="48251" y="52734"/>
                        <a:pt x="57424" y="52734"/>
                      </a:cubicBezTo>
                      <a:cubicBezTo>
                        <a:pt x="66596" y="52734"/>
                        <a:pt x="74032" y="45299"/>
                        <a:pt x="74032" y="36126"/>
                      </a:cubicBezTo>
                      <a:cubicBezTo>
                        <a:pt x="74032" y="31540"/>
                        <a:pt x="72173" y="27388"/>
                        <a:pt x="69167" y="24383"/>
                      </a:cubicBezTo>
                      <a:lnTo>
                        <a:pt x="67753" y="23216"/>
                      </a:lnTo>
                      <a:lnTo>
                        <a:pt x="67753" y="15317"/>
                      </a:lnTo>
                      <a:lnTo>
                        <a:pt x="146572" y="15317"/>
                      </a:lnTo>
                      <a:lnTo>
                        <a:pt x="146572" y="23216"/>
                      </a:lnTo>
                      <a:lnTo>
                        <a:pt x="145158" y="24383"/>
                      </a:lnTo>
                      <a:cubicBezTo>
                        <a:pt x="142152" y="27388"/>
                        <a:pt x="140293" y="31540"/>
                        <a:pt x="140293" y="36126"/>
                      </a:cubicBezTo>
                      <a:cubicBezTo>
                        <a:pt x="140293" y="45299"/>
                        <a:pt x="147729" y="52734"/>
                        <a:pt x="156901" y="52734"/>
                      </a:cubicBezTo>
                      <a:cubicBezTo>
                        <a:pt x="166074" y="52734"/>
                        <a:pt x="173510" y="45299"/>
                        <a:pt x="173510" y="36126"/>
                      </a:cubicBezTo>
                      <a:cubicBezTo>
                        <a:pt x="173510" y="31540"/>
                        <a:pt x="171651" y="27388"/>
                        <a:pt x="168645" y="24383"/>
                      </a:cubicBezTo>
                      <a:lnTo>
                        <a:pt x="167231" y="23216"/>
                      </a:lnTo>
                      <a:lnTo>
                        <a:pt x="167231" y="15317"/>
                      </a:lnTo>
                      <a:lnTo>
                        <a:pt x="192304" y="15317"/>
                      </a:lnTo>
                      <a:cubicBezTo>
                        <a:pt x="203752" y="15317"/>
                        <a:pt x="213033" y="24597"/>
                        <a:pt x="213033" y="36046"/>
                      </a:cubicBezTo>
                      <a:lnTo>
                        <a:pt x="213033" y="168941"/>
                      </a:lnTo>
                      <a:cubicBezTo>
                        <a:pt x="213033" y="180390"/>
                        <a:pt x="203752" y="189670"/>
                        <a:pt x="192304" y="189670"/>
                      </a:cubicBezTo>
                      <a:lnTo>
                        <a:pt x="20729" y="189670"/>
                      </a:lnTo>
                      <a:cubicBezTo>
                        <a:pt x="9281" y="189670"/>
                        <a:pt x="0" y="180390"/>
                        <a:pt x="0" y="168941"/>
                      </a:cubicBezTo>
                      <a:lnTo>
                        <a:pt x="0" y="36046"/>
                      </a:lnTo>
                      <a:cubicBezTo>
                        <a:pt x="0" y="24597"/>
                        <a:pt x="9281" y="15317"/>
                        <a:pt x="20729" y="15317"/>
                      </a:cubicBezTo>
                      <a:close/>
                      <a:moveTo>
                        <a:pt x="156901" y="0"/>
                      </a:moveTo>
                      <a:cubicBezTo>
                        <a:pt x="160268" y="0"/>
                        <a:pt x="162997" y="2729"/>
                        <a:pt x="162997" y="6096"/>
                      </a:cubicBezTo>
                      <a:lnTo>
                        <a:pt x="162997" y="35936"/>
                      </a:lnTo>
                      <a:cubicBezTo>
                        <a:pt x="162997" y="39303"/>
                        <a:pt x="160268" y="42032"/>
                        <a:pt x="156901" y="42032"/>
                      </a:cubicBezTo>
                      <a:cubicBezTo>
                        <a:pt x="153534" y="42032"/>
                        <a:pt x="150805" y="39303"/>
                        <a:pt x="150805" y="35936"/>
                      </a:cubicBezTo>
                      <a:lnTo>
                        <a:pt x="150805" y="6096"/>
                      </a:lnTo>
                      <a:cubicBezTo>
                        <a:pt x="150805" y="2729"/>
                        <a:pt x="153534" y="0"/>
                        <a:pt x="156901" y="0"/>
                      </a:cubicBezTo>
                      <a:close/>
                      <a:moveTo>
                        <a:pt x="57424" y="0"/>
                      </a:moveTo>
                      <a:cubicBezTo>
                        <a:pt x="60791" y="0"/>
                        <a:pt x="63520" y="2729"/>
                        <a:pt x="63520" y="6096"/>
                      </a:cubicBezTo>
                      <a:lnTo>
                        <a:pt x="63520" y="35936"/>
                      </a:lnTo>
                      <a:cubicBezTo>
                        <a:pt x="63520" y="39303"/>
                        <a:pt x="60791" y="42032"/>
                        <a:pt x="57424" y="42032"/>
                      </a:cubicBezTo>
                      <a:cubicBezTo>
                        <a:pt x="54057" y="42032"/>
                        <a:pt x="51328" y="39303"/>
                        <a:pt x="51328" y="35936"/>
                      </a:cubicBezTo>
                      <a:lnTo>
                        <a:pt x="51328" y="6096"/>
                      </a:lnTo>
                      <a:cubicBezTo>
                        <a:pt x="51328" y="2729"/>
                        <a:pt x="54057" y="0"/>
                        <a:pt x="57424"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Arial" panose="020B0604020202020204" pitchFamily="34" charset="0"/>
                    <a:cs typeface="Arial" panose="020B0604020202020204" pitchFamily="34" charset="0"/>
                  </a:endParaRPr>
                </a:p>
              </p:txBody>
            </p:sp>
          </p:grpSp>
          <p:grpSp>
            <p:nvGrpSpPr>
              <p:cNvPr id="36" name="Group 35">
                <a:extLst>
                  <a:ext uri="{FF2B5EF4-FFF2-40B4-BE49-F238E27FC236}">
                    <a16:creationId xmlns:a16="http://schemas.microsoft.com/office/drawing/2014/main" id="{8C9B320B-5844-46FA-BC78-1E008BA7A5B4}"/>
                  </a:ext>
                </a:extLst>
              </p:cNvPr>
              <p:cNvGrpSpPr/>
              <p:nvPr/>
            </p:nvGrpSpPr>
            <p:grpSpPr>
              <a:xfrm>
                <a:off x="1504547" y="683288"/>
                <a:ext cx="949664" cy="1732911"/>
                <a:chOff x="1504547" y="683288"/>
                <a:chExt cx="949664" cy="1732911"/>
              </a:xfrm>
            </p:grpSpPr>
            <p:grpSp>
              <p:nvGrpSpPr>
                <p:cNvPr id="37" name="Group 36">
                  <a:extLst>
                    <a:ext uri="{FF2B5EF4-FFF2-40B4-BE49-F238E27FC236}">
                      <a16:creationId xmlns:a16="http://schemas.microsoft.com/office/drawing/2014/main" id="{F16EF249-9E2C-9287-F908-5618A76587EB}"/>
                    </a:ext>
                  </a:extLst>
                </p:cNvPr>
                <p:cNvGrpSpPr/>
                <p:nvPr/>
              </p:nvGrpSpPr>
              <p:grpSpPr>
                <a:xfrm>
                  <a:off x="1504547" y="683288"/>
                  <a:ext cx="949664" cy="1732911"/>
                  <a:chOff x="4106373" y="341832"/>
                  <a:chExt cx="1017797" cy="1857239"/>
                </a:xfrm>
              </p:grpSpPr>
              <p:sp>
                <p:nvSpPr>
                  <p:cNvPr id="39" name="Oval 38">
                    <a:extLst>
                      <a:ext uri="{FF2B5EF4-FFF2-40B4-BE49-F238E27FC236}">
                        <a16:creationId xmlns:a16="http://schemas.microsoft.com/office/drawing/2014/main" id="{B50A4358-8B92-5D36-DA0D-8A1B37D77F0B}"/>
                      </a:ext>
                    </a:extLst>
                  </p:cNvPr>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40" name="Freeform 39">
                    <a:extLst>
                      <a:ext uri="{FF2B5EF4-FFF2-40B4-BE49-F238E27FC236}">
                        <a16:creationId xmlns:a16="http://schemas.microsoft.com/office/drawing/2014/main" id="{599C426C-FE0D-DB00-C84B-DC87ACE42130}"/>
                      </a:ext>
                    </a:extLst>
                  </p:cNvPr>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E9C35A"/>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38" name="Freeform 37">
                  <a:extLst>
                    <a:ext uri="{FF2B5EF4-FFF2-40B4-BE49-F238E27FC236}">
                      <a16:creationId xmlns:a16="http://schemas.microsoft.com/office/drawing/2014/main" id="{C77263B5-84D9-612D-9026-AFB254A84060}"/>
                    </a:ext>
                  </a:extLst>
                </p:cNvPr>
                <p:cNvSpPr/>
                <p:nvPr/>
              </p:nvSpPr>
              <p:spPr>
                <a:xfrm>
                  <a:off x="1790511" y="1060636"/>
                  <a:ext cx="357998" cy="350974"/>
                </a:xfrm>
                <a:custGeom>
                  <a:avLst/>
                  <a:gdLst>
                    <a:gd name="connsiteX0" fmla="*/ 3991804 w 4867848"/>
                    <a:gd name="connsiteY0" fmla="*/ 1855150 h 4867848"/>
                    <a:gd name="connsiteX1" fmla="*/ 3300230 w 4867848"/>
                    <a:gd name="connsiteY1" fmla="*/ 2128830 h 4867848"/>
                    <a:gd name="connsiteX2" fmla="*/ 3317838 w 4867848"/>
                    <a:gd name="connsiteY2" fmla="*/ 2176079 h 4867848"/>
                    <a:gd name="connsiteX3" fmla="*/ 3359000 w 4867848"/>
                    <a:gd name="connsiteY3" fmla="*/ 2443449 h 4867848"/>
                    <a:gd name="connsiteX4" fmla="*/ 2715704 w 4867848"/>
                    <a:gd name="connsiteY4" fmla="*/ 3302146 h 4867848"/>
                    <a:gd name="connsiteX5" fmla="*/ 2663618 w 4867848"/>
                    <a:gd name="connsiteY5" fmla="*/ 3315299 h 4867848"/>
                    <a:gd name="connsiteX6" fmla="*/ 2663618 w 4867848"/>
                    <a:gd name="connsiteY6" fmla="*/ 4070708 h 4867848"/>
                    <a:gd name="connsiteX7" fmla="*/ 2777956 w 4867848"/>
                    <a:gd name="connsiteY7" fmla="*/ 4053431 h 4867848"/>
                    <a:gd name="connsiteX8" fmla="*/ 4103248 w 4867848"/>
                    <a:gd name="connsiteY8" fmla="*/ 2443449 h 4867848"/>
                    <a:gd name="connsiteX9" fmla="*/ 4028626 w 4867848"/>
                    <a:gd name="connsiteY9" fmla="*/ 1954761 h 4867848"/>
                    <a:gd name="connsiteX10" fmla="*/ 2663618 w 4867848"/>
                    <a:gd name="connsiteY10" fmla="*/ 814945 h 4867848"/>
                    <a:gd name="connsiteX11" fmla="*/ 2663618 w 4867848"/>
                    <a:gd name="connsiteY11" fmla="*/ 1571599 h 4867848"/>
                    <a:gd name="connsiteX12" fmla="*/ 2715704 w 4867848"/>
                    <a:gd name="connsiteY12" fmla="*/ 1584752 h 4867848"/>
                    <a:gd name="connsiteX13" fmla="*/ 3090840 w 4867848"/>
                    <a:gd name="connsiteY13" fmla="*/ 1807676 h 4867848"/>
                    <a:gd name="connsiteX14" fmla="*/ 3161446 w 4867848"/>
                    <a:gd name="connsiteY14" fmla="*/ 1891713 h 4867848"/>
                    <a:gd name="connsiteX15" fmla="*/ 3872390 w 4867848"/>
                    <a:gd name="connsiteY15" fmla="*/ 1610367 h 4867848"/>
                    <a:gd name="connsiteX16" fmla="*/ 3819780 w 4867848"/>
                    <a:gd name="connsiteY16" fmla="*/ 1524626 h 4867848"/>
                    <a:gd name="connsiteX17" fmla="*/ 2858258 w 4867848"/>
                    <a:gd name="connsiteY17" fmla="*/ 851818 h 4867848"/>
                    <a:gd name="connsiteX18" fmla="*/ 2439304 w 4867848"/>
                    <a:gd name="connsiteY18" fmla="*/ 800287 h 4867848"/>
                    <a:gd name="connsiteX19" fmla="*/ 2273742 w 4867848"/>
                    <a:gd name="connsiteY19" fmla="*/ 808565 h 4867848"/>
                    <a:gd name="connsiteX20" fmla="*/ 783644 w 4867848"/>
                    <a:gd name="connsiteY20" fmla="*/ 2443449 h 4867848"/>
                    <a:gd name="connsiteX21" fmla="*/ 2273742 w 4867848"/>
                    <a:gd name="connsiteY21" fmla="*/ 4078333 h 4867848"/>
                    <a:gd name="connsiteX22" fmla="*/ 2439304 w 4867848"/>
                    <a:gd name="connsiteY22" fmla="*/ 4086611 h 4867848"/>
                    <a:gd name="connsiteX23" fmla="*/ 2439304 w 4867848"/>
                    <a:gd name="connsiteY23" fmla="*/ 3342364 h 4867848"/>
                    <a:gd name="connsiteX24" fmla="*/ 2349838 w 4867848"/>
                    <a:gd name="connsiteY24" fmla="*/ 3337927 h 4867848"/>
                    <a:gd name="connsiteX25" fmla="*/ 1527894 w 4867848"/>
                    <a:gd name="connsiteY25" fmla="*/ 2443449 h 4867848"/>
                    <a:gd name="connsiteX26" fmla="*/ 2349838 w 4867848"/>
                    <a:gd name="connsiteY26" fmla="*/ 1548971 h 4867848"/>
                    <a:gd name="connsiteX27" fmla="*/ 2439304 w 4867848"/>
                    <a:gd name="connsiteY27" fmla="*/ 1544535 h 4867848"/>
                    <a:gd name="connsiteX28" fmla="*/ 2433924 w 4867848"/>
                    <a:gd name="connsiteY28" fmla="*/ 0 h 4867848"/>
                    <a:gd name="connsiteX29" fmla="*/ 4867848 w 4867848"/>
                    <a:gd name="connsiteY29" fmla="*/ 2433924 h 4867848"/>
                    <a:gd name="connsiteX30" fmla="*/ 2433924 w 4867848"/>
                    <a:gd name="connsiteY30" fmla="*/ 4867848 h 4867848"/>
                    <a:gd name="connsiteX31" fmla="*/ 0 w 4867848"/>
                    <a:gd name="connsiteY31" fmla="*/ 2433924 h 4867848"/>
                    <a:gd name="connsiteX32" fmla="*/ 2433924 w 4867848"/>
                    <a:gd name="connsiteY32" fmla="*/ 0 h 486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67848" h="4867848">
                      <a:moveTo>
                        <a:pt x="3991804" y="1855150"/>
                      </a:moveTo>
                      <a:lnTo>
                        <a:pt x="3300230" y="2128830"/>
                      </a:lnTo>
                      <a:lnTo>
                        <a:pt x="3317838" y="2176079"/>
                      </a:lnTo>
                      <a:cubicBezTo>
                        <a:pt x="3344590" y="2260541"/>
                        <a:pt x="3359000" y="2350342"/>
                        <a:pt x="3359000" y="2443449"/>
                      </a:cubicBezTo>
                      <a:cubicBezTo>
                        <a:pt x="3359000" y="2846912"/>
                        <a:pt x="3088396" y="3188307"/>
                        <a:pt x="2715704" y="3302146"/>
                      </a:cubicBezTo>
                      <a:lnTo>
                        <a:pt x="2663618" y="3315299"/>
                      </a:lnTo>
                      <a:lnTo>
                        <a:pt x="2663618" y="4070708"/>
                      </a:lnTo>
                      <a:lnTo>
                        <a:pt x="2777956" y="4053431"/>
                      </a:lnTo>
                      <a:cubicBezTo>
                        <a:pt x="3534298" y="3900193"/>
                        <a:pt x="4103248" y="3237606"/>
                        <a:pt x="4103248" y="2443449"/>
                      </a:cubicBezTo>
                      <a:cubicBezTo>
                        <a:pt x="4103248" y="2273273"/>
                        <a:pt x="4077122" y="2109138"/>
                        <a:pt x="4028626" y="1954761"/>
                      </a:cubicBezTo>
                      <a:close/>
                      <a:moveTo>
                        <a:pt x="2663618" y="814945"/>
                      </a:moveTo>
                      <a:lnTo>
                        <a:pt x="2663618" y="1571599"/>
                      </a:lnTo>
                      <a:lnTo>
                        <a:pt x="2715704" y="1584752"/>
                      </a:lnTo>
                      <a:cubicBezTo>
                        <a:pt x="2859048" y="1628536"/>
                        <a:pt x="2987288" y="1705983"/>
                        <a:pt x="3090840" y="1807676"/>
                      </a:cubicBezTo>
                      <a:lnTo>
                        <a:pt x="3161446" y="1891713"/>
                      </a:lnTo>
                      <a:lnTo>
                        <a:pt x="3872390" y="1610367"/>
                      </a:lnTo>
                      <a:lnTo>
                        <a:pt x="3819780" y="1524626"/>
                      </a:lnTo>
                      <a:cubicBezTo>
                        <a:pt x="3596072" y="1196772"/>
                        <a:pt x="3256010" y="953142"/>
                        <a:pt x="2858258" y="851818"/>
                      </a:cubicBezTo>
                      <a:close/>
                      <a:moveTo>
                        <a:pt x="2439304" y="800287"/>
                      </a:moveTo>
                      <a:lnTo>
                        <a:pt x="2273742" y="808565"/>
                      </a:lnTo>
                      <a:cubicBezTo>
                        <a:pt x="1436776" y="892722"/>
                        <a:pt x="783644" y="1592567"/>
                        <a:pt x="783644" y="2443449"/>
                      </a:cubicBezTo>
                      <a:cubicBezTo>
                        <a:pt x="783644" y="3294331"/>
                        <a:pt x="1436776" y="3994177"/>
                        <a:pt x="2273742" y="4078333"/>
                      </a:cubicBezTo>
                      <a:lnTo>
                        <a:pt x="2439304" y="4086611"/>
                      </a:lnTo>
                      <a:lnTo>
                        <a:pt x="2439304" y="3342364"/>
                      </a:lnTo>
                      <a:lnTo>
                        <a:pt x="2349838" y="3337927"/>
                      </a:lnTo>
                      <a:cubicBezTo>
                        <a:pt x="1888162" y="3291883"/>
                        <a:pt x="1527894" y="2908983"/>
                        <a:pt x="1527894" y="2443449"/>
                      </a:cubicBezTo>
                      <a:cubicBezTo>
                        <a:pt x="1527894" y="1977915"/>
                        <a:pt x="1888162" y="1595015"/>
                        <a:pt x="2349838" y="1548971"/>
                      </a:cubicBezTo>
                      <a:lnTo>
                        <a:pt x="2439304" y="1544535"/>
                      </a:lnTo>
                      <a:close/>
                      <a:moveTo>
                        <a:pt x="2433924" y="0"/>
                      </a:moveTo>
                      <a:cubicBezTo>
                        <a:pt x="3778142" y="0"/>
                        <a:pt x="4867848" y="1089705"/>
                        <a:pt x="4867848" y="2433924"/>
                      </a:cubicBezTo>
                      <a:cubicBezTo>
                        <a:pt x="4867848" y="3778143"/>
                        <a:pt x="3778142" y="4867848"/>
                        <a:pt x="2433924" y="4867848"/>
                      </a:cubicBezTo>
                      <a:cubicBezTo>
                        <a:pt x="1089704" y="4867848"/>
                        <a:pt x="0" y="3778143"/>
                        <a:pt x="0" y="2433924"/>
                      </a:cubicBezTo>
                      <a:cubicBezTo>
                        <a:pt x="0" y="1089705"/>
                        <a:pt x="1089704" y="0"/>
                        <a:pt x="2433924" y="0"/>
                      </a:cubicBezTo>
                      <a:close/>
                    </a:path>
                  </a:pathLst>
                </a:custGeom>
                <a:solidFill>
                  <a:schemeClr val="bg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grpSp>
          <p:nvGrpSpPr>
            <p:cNvPr id="11" name="Group 10">
              <a:extLst>
                <a:ext uri="{FF2B5EF4-FFF2-40B4-BE49-F238E27FC236}">
                  <a16:creationId xmlns:a16="http://schemas.microsoft.com/office/drawing/2014/main" id="{B0E11525-DC8B-62D3-8E8A-C36E57F53095}"/>
                </a:ext>
              </a:extLst>
            </p:cNvPr>
            <p:cNvGrpSpPr/>
            <p:nvPr/>
          </p:nvGrpSpPr>
          <p:grpSpPr>
            <a:xfrm>
              <a:off x="-43572" y="2705217"/>
              <a:ext cx="2244024" cy="1653631"/>
              <a:chOff x="-43572" y="2705217"/>
              <a:chExt cx="2244024" cy="1653631"/>
            </a:xfrm>
          </p:grpSpPr>
          <p:grpSp>
            <p:nvGrpSpPr>
              <p:cNvPr id="12" name="Group 11">
                <a:extLst>
                  <a:ext uri="{FF2B5EF4-FFF2-40B4-BE49-F238E27FC236}">
                    <a16:creationId xmlns:a16="http://schemas.microsoft.com/office/drawing/2014/main" id="{376E6459-BCDB-EDD1-C8F9-A2CBC9701A42}"/>
                  </a:ext>
                </a:extLst>
              </p:cNvPr>
              <p:cNvGrpSpPr/>
              <p:nvPr/>
            </p:nvGrpSpPr>
            <p:grpSpPr>
              <a:xfrm>
                <a:off x="546816" y="2705217"/>
                <a:ext cx="1653636" cy="1653631"/>
                <a:chOff x="2672841" y="1791451"/>
                <a:chExt cx="3798321" cy="3798318"/>
              </a:xfrm>
            </p:grpSpPr>
            <p:sp>
              <p:nvSpPr>
                <p:cNvPr id="27" name="Oval 26">
                  <a:extLst>
                    <a:ext uri="{FF2B5EF4-FFF2-40B4-BE49-F238E27FC236}">
                      <a16:creationId xmlns:a16="http://schemas.microsoft.com/office/drawing/2014/main" id="{501A5628-9CC6-41EF-52FB-28C838E14C45}"/>
                    </a:ext>
                  </a:extLst>
                </p:cNvPr>
                <p:cNvSpPr/>
                <p:nvPr/>
              </p:nvSpPr>
              <p:spPr>
                <a:xfrm>
                  <a:off x="2672841" y="1791451"/>
                  <a:ext cx="3798321" cy="3798318"/>
                </a:xfrm>
                <a:prstGeom prst="ellipse">
                  <a:avLst/>
                </a:prstGeom>
                <a:solidFill>
                  <a:srgbClr val="C00000"/>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8" name="Oval 27">
                  <a:extLst>
                    <a:ext uri="{FF2B5EF4-FFF2-40B4-BE49-F238E27FC236}">
                      <a16:creationId xmlns:a16="http://schemas.microsoft.com/office/drawing/2014/main" id="{F18F18CC-04D8-38E4-CC10-94CED4EA0DA8}"/>
                    </a:ext>
                  </a:extLst>
                </p:cNvPr>
                <p:cNvSpPr/>
                <p:nvPr/>
              </p:nvSpPr>
              <p:spPr>
                <a:xfrm>
                  <a:off x="3047447" y="2166056"/>
                  <a:ext cx="3049109" cy="3049108"/>
                </a:xfrm>
                <a:prstGeom prst="ellipse">
                  <a:avLst/>
                </a:prstGeom>
                <a:solidFill>
                  <a:schemeClr val="bg1"/>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4C028E9C-A1A9-DFD3-D7CC-5A3393FD5E97}"/>
                    </a:ext>
                  </a:extLst>
                </p:cNvPr>
                <p:cNvSpPr/>
                <p:nvPr/>
              </p:nvSpPr>
              <p:spPr>
                <a:xfrm>
                  <a:off x="3395918" y="2514526"/>
                  <a:ext cx="2352169" cy="2352170"/>
                </a:xfrm>
                <a:prstGeom prst="ellipse">
                  <a:avLst/>
                </a:prstGeom>
                <a:solidFill>
                  <a:srgbClr val="C00000"/>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30" name="Oval 29">
                  <a:extLst>
                    <a:ext uri="{FF2B5EF4-FFF2-40B4-BE49-F238E27FC236}">
                      <a16:creationId xmlns:a16="http://schemas.microsoft.com/office/drawing/2014/main" id="{60B8489F-FC42-65B9-0FBC-4812A82710AC}"/>
                    </a:ext>
                  </a:extLst>
                </p:cNvPr>
                <p:cNvSpPr/>
                <p:nvPr/>
              </p:nvSpPr>
              <p:spPr>
                <a:xfrm>
                  <a:off x="3735674" y="2854284"/>
                  <a:ext cx="1672656" cy="1672655"/>
                </a:xfrm>
                <a:prstGeom prst="ellipse">
                  <a:avLst/>
                </a:prstGeom>
                <a:solidFill>
                  <a:schemeClr val="bg1"/>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CA76ADFA-973E-E8CF-037F-27DF0B4E506B}"/>
                    </a:ext>
                  </a:extLst>
                </p:cNvPr>
                <p:cNvSpPr/>
                <p:nvPr/>
              </p:nvSpPr>
              <p:spPr>
                <a:xfrm>
                  <a:off x="4101567" y="3220177"/>
                  <a:ext cx="940868" cy="940867"/>
                </a:xfrm>
                <a:prstGeom prst="ellipse">
                  <a:avLst/>
                </a:prstGeom>
                <a:solidFill>
                  <a:srgbClr val="C00000"/>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18A754D2-D289-6885-C8D9-9EB6EA43E462}"/>
                  </a:ext>
                </a:extLst>
              </p:cNvPr>
              <p:cNvGrpSpPr/>
              <p:nvPr/>
            </p:nvGrpSpPr>
            <p:grpSpPr>
              <a:xfrm rot="18484634">
                <a:off x="553752" y="2257100"/>
                <a:ext cx="412981" cy="1607630"/>
                <a:chOff x="7820943" y="2080072"/>
                <a:chExt cx="1124816" cy="4378604"/>
              </a:xfrm>
            </p:grpSpPr>
            <p:grpSp>
              <p:nvGrpSpPr>
                <p:cNvPr id="14" name="Group 13">
                  <a:extLst>
                    <a:ext uri="{FF2B5EF4-FFF2-40B4-BE49-F238E27FC236}">
                      <a16:creationId xmlns:a16="http://schemas.microsoft.com/office/drawing/2014/main" id="{40CCEA13-D18F-291C-287C-C47FEE55CAC0}"/>
                    </a:ext>
                  </a:extLst>
                </p:cNvPr>
                <p:cNvGrpSpPr/>
                <p:nvPr/>
              </p:nvGrpSpPr>
              <p:grpSpPr>
                <a:xfrm>
                  <a:off x="8209084" y="3313325"/>
                  <a:ext cx="325316" cy="2586136"/>
                  <a:chOff x="8209084" y="3313325"/>
                  <a:chExt cx="325316" cy="2586136"/>
                </a:xfrm>
              </p:grpSpPr>
              <p:sp>
                <p:nvSpPr>
                  <p:cNvPr id="20" name="Rectangle 9">
                    <a:extLst>
                      <a:ext uri="{FF2B5EF4-FFF2-40B4-BE49-F238E27FC236}">
                        <a16:creationId xmlns:a16="http://schemas.microsoft.com/office/drawing/2014/main" id="{F964EC44-625B-9B16-0897-55DD55BA3ECA}"/>
                      </a:ext>
                    </a:extLst>
                  </p:cNvPr>
                  <p:cNvSpPr/>
                  <p:nvPr/>
                </p:nvSpPr>
                <p:spPr>
                  <a:xfrm>
                    <a:off x="8240190" y="3313325"/>
                    <a:ext cx="290855" cy="2586136"/>
                  </a:xfrm>
                  <a:custGeom>
                    <a:avLst/>
                    <a:gdLst>
                      <a:gd name="connsiteX0" fmla="*/ 0 w 219075"/>
                      <a:gd name="connsiteY0" fmla="*/ 0 h 1300162"/>
                      <a:gd name="connsiteX1" fmla="*/ 219075 w 219075"/>
                      <a:gd name="connsiteY1" fmla="*/ 0 h 1300162"/>
                      <a:gd name="connsiteX2" fmla="*/ 219075 w 219075"/>
                      <a:gd name="connsiteY2" fmla="*/ 1300162 h 1300162"/>
                      <a:gd name="connsiteX3" fmla="*/ 0 w 219075"/>
                      <a:gd name="connsiteY3" fmla="*/ 1300162 h 1300162"/>
                      <a:gd name="connsiteX4" fmla="*/ 0 w 219075"/>
                      <a:gd name="connsiteY4" fmla="*/ 0 h 1300162"/>
                      <a:gd name="connsiteX0" fmla="*/ 42863 w 261938"/>
                      <a:gd name="connsiteY0" fmla="*/ 0 h 2586037"/>
                      <a:gd name="connsiteX1" fmla="*/ 261938 w 261938"/>
                      <a:gd name="connsiteY1" fmla="*/ 0 h 2586037"/>
                      <a:gd name="connsiteX2" fmla="*/ 261938 w 261938"/>
                      <a:gd name="connsiteY2" fmla="*/ 1300162 h 2586037"/>
                      <a:gd name="connsiteX3" fmla="*/ 0 w 261938"/>
                      <a:gd name="connsiteY3" fmla="*/ 2586037 h 2586037"/>
                      <a:gd name="connsiteX4" fmla="*/ 42863 w 261938"/>
                      <a:gd name="connsiteY4" fmla="*/ 0 h 2586037"/>
                      <a:gd name="connsiteX0" fmla="*/ 42863 w 295275"/>
                      <a:gd name="connsiteY0" fmla="*/ 0 h 2586037"/>
                      <a:gd name="connsiteX1" fmla="*/ 261938 w 295275"/>
                      <a:gd name="connsiteY1" fmla="*/ 0 h 2586037"/>
                      <a:gd name="connsiteX2" fmla="*/ 295275 w 295275"/>
                      <a:gd name="connsiteY2" fmla="*/ 2543174 h 2586037"/>
                      <a:gd name="connsiteX3" fmla="*/ 0 w 295275"/>
                      <a:gd name="connsiteY3" fmla="*/ 2586037 h 2586037"/>
                      <a:gd name="connsiteX4" fmla="*/ 42863 w 295275"/>
                      <a:gd name="connsiteY4" fmla="*/ 0 h 2586037"/>
                      <a:gd name="connsiteX0" fmla="*/ 42863 w 295275"/>
                      <a:gd name="connsiteY0" fmla="*/ 0 h 2693443"/>
                      <a:gd name="connsiteX1" fmla="*/ 261938 w 295275"/>
                      <a:gd name="connsiteY1" fmla="*/ 0 h 2693443"/>
                      <a:gd name="connsiteX2" fmla="*/ 295275 w 295275"/>
                      <a:gd name="connsiteY2" fmla="*/ 2543174 h 2693443"/>
                      <a:gd name="connsiteX3" fmla="*/ 0 w 295275"/>
                      <a:gd name="connsiteY3" fmla="*/ 2586037 h 2693443"/>
                      <a:gd name="connsiteX4" fmla="*/ 42863 w 295275"/>
                      <a:gd name="connsiteY4" fmla="*/ 0 h 2693443"/>
                      <a:gd name="connsiteX0" fmla="*/ 42863 w 295275"/>
                      <a:gd name="connsiteY0" fmla="*/ 0 h 2804997"/>
                      <a:gd name="connsiteX1" fmla="*/ 261938 w 295275"/>
                      <a:gd name="connsiteY1" fmla="*/ 0 h 2804997"/>
                      <a:gd name="connsiteX2" fmla="*/ 295275 w 295275"/>
                      <a:gd name="connsiteY2" fmla="*/ 2543174 h 2804997"/>
                      <a:gd name="connsiteX3" fmla="*/ 0 w 295275"/>
                      <a:gd name="connsiteY3" fmla="*/ 2586037 h 2804997"/>
                      <a:gd name="connsiteX4" fmla="*/ 42863 w 295275"/>
                      <a:gd name="connsiteY4" fmla="*/ 0 h 2804997"/>
                      <a:gd name="connsiteX0" fmla="*/ 42863 w 295275"/>
                      <a:gd name="connsiteY0" fmla="*/ 0 h 2820247"/>
                      <a:gd name="connsiteX1" fmla="*/ 261938 w 295275"/>
                      <a:gd name="connsiteY1" fmla="*/ 0 h 2820247"/>
                      <a:gd name="connsiteX2" fmla="*/ 295275 w 295275"/>
                      <a:gd name="connsiteY2" fmla="*/ 2543174 h 2820247"/>
                      <a:gd name="connsiteX3" fmla="*/ 0 w 295275"/>
                      <a:gd name="connsiteY3" fmla="*/ 2586037 h 2820247"/>
                      <a:gd name="connsiteX4" fmla="*/ 42863 w 295275"/>
                      <a:gd name="connsiteY4" fmla="*/ 0 h 2820247"/>
                      <a:gd name="connsiteX0" fmla="*/ 42863 w 295389"/>
                      <a:gd name="connsiteY0" fmla="*/ 0 h 2808332"/>
                      <a:gd name="connsiteX1" fmla="*/ 261938 w 295389"/>
                      <a:gd name="connsiteY1" fmla="*/ 0 h 2808332"/>
                      <a:gd name="connsiteX2" fmla="*/ 295275 w 295389"/>
                      <a:gd name="connsiteY2" fmla="*/ 2543174 h 2808332"/>
                      <a:gd name="connsiteX3" fmla="*/ 0 w 295389"/>
                      <a:gd name="connsiteY3" fmla="*/ 2586037 h 2808332"/>
                      <a:gd name="connsiteX4" fmla="*/ 42863 w 295389"/>
                      <a:gd name="connsiteY4" fmla="*/ 0 h 2808332"/>
                      <a:gd name="connsiteX0" fmla="*/ 66308 w 318834"/>
                      <a:gd name="connsiteY0" fmla="*/ 0 h 2808332"/>
                      <a:gd name="connsiteX1" fmla="*/ 285383 w 318834"/>
                      <a:gd name="connsiteY1" fmla="*/ 0 h 2808332"/>
                      <a:gd name="connsiteX2" fmla="*/ 318720 w 318834"/>
                      <a:gd name="connsiteY2" fmla="*/ 2543174 h 2808332"/>
                      <a:gd name="connsiteX3" fmla="*/ 23445 w 318834"/>
                      <a:gd name="connsiteY3" fmla="*/ 2586037 h 2808332"/>
                      <a:gd name="connsiteX4" fmla="*/ 66308 w 318834"/>
                      <a:gd name="connsiteY4" fmla="*/ 0 h 2808332"/>
                      <a:gd name="connsiteX0" fmla="*/ 66308 w 336507"/>
                      <a:gd name="connsiteY0" fmla="*/ 0 h 2808332"/>
                      <a:gd name="connsiteX1" fmla="*/ 285383 w 336507"/>
                      <a:gd name="connsiteY1" fmla="*/ 0 h 2808332"/>
                      <a:gd name="connsiteX2" fmla="*/ 318720 w 336507"/>
                      <a:gd name="connsiteY2" fmla="*/ 2543174 h 2808332"/>
                      <a:gd name="connsiteX3" fmla="*/ 23445 w 336507"/>
                      <a:gd name="connsiteY3" fmla="*/ 2586037 h 2808332"/>
                      <a:gd name="connsiteX4" fmla="*/ 66308 w 336507"/>
                      <a:gd name="connsiteY4" fmla="*/ 0 h 2808332"/>
                      <a:gd name="connsiteX0" fmla="*/ 70327 w 335764"/>
                      <a:gd name="connsiteY0" fmla="*/ 0 h 2936919"/>
                      <a:gd name="connsiteX1" fmla="*/ 284640 w 335764"/>
                      <a:gd name="connsiteY1" fmla="*/ 128587 h 2936919"/>
                      <a:gd name="connsiteX2" fmla="*/ 317977 w 335764"/>
                      <a:gd name="connsiteY2" fmla="*/ 2671761 h 2936919"/>
                      <a:gd name="connsiteX3" fmla="*/ 22702 w 335764"/>
                      <a:gd name="connsiteY3" fmla="*/ 2714624 h 2936919"/>
                      <a:gd name="connsiteX4" fmla="*/ 70327 w 335764"/>
                      <a:gd name="connsiteY4" fmla="*/ 0 h 2936919"/>
                      <a:gd name="connsiteX0" fmla="*/ 70327 w 330403"/>
                      <a:gd name="connsiteY0" fmla="*/ 185738 h 3122657"/>
                      <a:gd name="connsiteX1" fmla="*/ 237015 w 330403"/>
                      <a:gd name="connsiteY1" fmla="*/ 0 h 3122657"/>
                      <a:gd name="connsiteX2" fmla="*/ 317977 w 330403"/>
                      <a:gd name="connsiteY2" fmla="*/ 2857499 h 3122657"/>
                      <a:gd name="connsiteX3" fmla="*/ 22702 w 330403"/>
                      <a:gd name="connsiteY3" fmla="*/ 2900362 h 3122657"/>
                      <a:gd name="connsiteX4" fmla="*/ 70327 w 330403"/>
                      <a:gd name="connsiteY4" fmla="*/ 185738 h 3122657"/>
                      <a:gd name="connsiteX0" fmla="*/ 70327 w 329058"/>
                      <a:gd name="connsiteY0" fmla="*/ 42863 h 2979782"/>
                      <a:gd name="connsiteX1" fmla="*/ 217965 w 329058"/>
                      <a:gd name="connsiteY1" fmla="*/ 0 h 2979782"/>
                      <a:gd name="connsiteX2" fmla="*/ 317977 w 329058"/>
                      <a:gd name="connsiteY2" fmla="*/ 2714624 h 2979782"/>
                      <a:gd name="connsiteX3" fmla="*/ 22702 w 329058"/>
                      <a:gd name="connsiteY3" fmla="*/ 2757487 h 2979782"/>
                      <a:gd name="connsiteX4" fmla="*/ 70327 w 329058"/>
                      <a:gd name="connsiteY4" fmla="*/ 42863 h 2979782"/>
                      <a:gd name="connsiteX0" fmla="*/ 70327 w 331203"/>
                      <a:gd name="connsiteY0" fmla="*/ 33338 h 2970257"/>
                      <a:gd name="connsiteX1" fmla="*/ 246540 w 331203"/>
                      <a:gd name="connsiteY1" fmla="*/ 0 h 2970257"/>
                      <a:gd name="connsiteX2" fmla="*/ 317977 w 331203"/>
                      <a:gd name="connsiteY2" fmla="*/ 2705099 h 2970257"/>
                      <a:gd name="connsiteX3" fmla="*/ 22702 w 331203"/>
                      <a:gd name="connsiteY3" fmla="*/ 2747962 h 2970257"/>
                      <a:gd name="connsiteX4" fmla="*/ 70327 w 331203"/>
                      <a:gd name="connsiteY4" fmla="*/ 33338 h 2970257"/>
                      <a:gd name="connsiteX0" fmla="*/ 70327 w 335837"/>
                      <a:gd name="connsiteY0" fmla="*/ 33338 h 2970257"/>
                      <a:gd name="connsiteX1" fmla="*/ 246540 w 335837"/>
                      <a:gd name="connsiteY1" fmla="*/ 0 h 2970257"/>
                      <a:gd name="connsiteX2" fmla="*/ 317977 w 335837"/>
                      <a:gd name="connsiteY2" fmla="*/ 2705099 h 2970257"/>
                      <a:gd name="connsiteX3" fmla="*/ 22702 w 335837"/>
                      <a:gd name="connsiteY3" fmla="*/ 2747962 h 2970257"/>
                      <a:gd name="connsiteX4" fmla="*/ 70327 w 335837"/>
                      <a:gd name="connsiteY4" fmla="*/ 33338 h 2970257"/>
                      <a:gd name="connsiteX0" fmla="*/ 70327 w 335837"/>
                      <a:gd name="connsiteY0" fmla="*/ 33338 h 2989327"/>
                      <a:gd name="connsiteX1" fmla="*/ 246540 w 335837"/>
                      <a:gd name="connsiteY1" fmla="*/ 0 h 2989327"/>
                      <a:gd name="connsiteX2" fmla="*/ 317977 w 335837"/>
                      <a:gd name="connsiteY2" fmla="*/ 2705099 h 2989327"/>
                      <a:gd name="connsiteX3" fmla="*/ 22702 w 335837"/>
                      <a:gd name="connsiteY3" fmla="*/ 2747962 h 2989327"/>
                      <a:gd name="connsiteX4" fmla="*/ 70327 w 335837"/>
                      <a:gd name="connsiteY4" fmla="*/ 33338 h 2989327"/>
                      <a:gd name="connsiteX0" fmla="*/ 70327 w 335837"/>
                      <a:gd name="connsiteY0" fmla="*/ 33338 h 2984514"/>
                      <a:gd name="connsiteX1" fmla="*/ 246540 w 335837"/>
                      <a:gd name="connsiteY1" fmla="*/ 0 h 2984514"/>
                      <a:gd name="connsiteX2" fmla="*/ 317977 w 335837"/>
                      <a:gd name="connsiteY2" fmla="*/ 2705099 h 2984514"/>
                      <a:gd name="connsiteX3" fmla="*/ 22702 w 335837"/>
                      <a:gd name="connsiteY3" fmla="*/ 2747962 h 2984514"/>
                      <a:gd name="connsiteX4" fmla="*/ 70327 w 335837"/>
                      <a:gd name="connsiteY4" fmla="*/ 33338 h 2984514"/>
                      <a:gd name="connsiteX0" fmla="*/ 70327 w 335837"/>
                      <a:gd name="connsiteY0" fmla="*/ 33338 h 2986111"/>
                      <a:gd name="connsiteX1" fmla="*/ 246540 w 335837"/>
                      <a:gd name="connsiteY1" fmla="*/ 0 h 2986111"/>
                      <a:gd name="connsiteX2" fmla="*/ 317977 w 335837"/>
                      <a:gd name="connsiteY2" fmla="*/ 2705099 h 2986111"/>
                      <a:gd name="connsiteX3" fmla="*/ 22702 w 335837"/>
                      <a:gd name="connsiteY3" fmla="*/ 2747962 h 2986111"/>
                      <a:gd name="connsiteX4" fmla="*/ 70327 w 335837"/>
                      <a:gd name="connsiteY4" fmla="*/ 33338 h 298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837" h="2986111">
                        <a:moveTo>
                          <a:pt x="70327" y="33338"/>
                        </a:moveTo>
                        <a:lnTo>
                          <a:pt x="246540" y="0"/>
                        </a:lnTo>
                        <a:cubicBezTo>
                          <a:pt x="300515" y="823913"/>
                          <a:pt x="368777" y="1966912"/>
                          <a:pt x="317977" y="2705099"/>
                        </a:cubicBezTo>
                        <a:cubicBezTo>
                          <a:pt x="324327" y="3024188"/>
                          <a:pt x="44927" y="3114674"/>
                          <a:pt x="22702" y="2747962"/>
                        </a:cubicBezTo>
                        <a:cubicBezTo>
                          <a:pt x="-43972" y="1857375"/>
                          <a:pt x="56039" y="895350"/>
                          <a:pt x="70327" y="33338"/>
                        </a:cubicBezTo>
                        <a:close/>
                      </a:path>
                    </a:pathLst>
                  </a:cu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AD3C8F13-280C-1979-D3FC-0F11A6C96522}"/>
                      </a:ext>
                    </a:extLst>
                  </p:cNvPr>
                  <p:cNvGrpSpPr/>
                  <p:nvPr/>
                </p:nvGrpSpPr>
                <p:grpSpPr>
                  <a:xfrm>
                    <a:off x="8209084" y="3441892"/>
                    <a:ext cx="325316" cy="2454012"/>
                    <a:chOff x="8209084" y="3441892"/>
                    <a:chExt cx="325316" cy="2454012"/>
                  </a:xfrm>
                </p:grpSpPr>
                <p:sp>
                  <p:nvSpPr>
                    <p:cNvPr id="22" name="Freeform 21">
                      <a:extLst>
                        <a:ext uri="{FF2B5EF4-FFF2-40B4-BE49-F238E27FC236}">
                          <a16:creationId xmlns:a16="http://schemas.microsoft.com/office/drawing/2014/main" id="{985B0B75-4B6D-5689-3D6F-23FE548354C6}"/>
                        </a:ext>
                      </a:extLst>
                    </p:cNvPr>
                    <p:cNvSpPr/>
                    <p:nvPr/>
                  </p:nvSpPr>
                  <p:spPr>
                    <a:xfrm rot="21446038">
                      <a:off x="8209084" y="3441892"/>
                      <a:ext cx="322958" cy="2454012"/>
                    </a:xfrm>
                    <a:custGeom>
                      <a:avLst/>
                      <a:gdLst>
                        <a:gd name="connsiteX0" fmla="*/ 141810 w 319760"/>
                        <a:gd name="connsiteY0" fmla="*/ 0 h 2454012"/>
                        <a:gd name="connsiteX1" fmla="*/ 161368 w 319760"/>
                        <a:gd name="connsiteY1" fmla="*/ 5733 h 2454012"/>
                        <a:gd name="connsiteX2" fmla="*/ 22382 w 319760"/>
                        <a:gd name="connsiteY2" fmla="*/ 2232774 h 2454012"/>
                        <a:gd name="connsiteX3" fmla="*/ 132565 w 319760"/>
                        <a:gd name="connsiteY3" fmla="*/ 2433393 h 2454012"/>
                        <a:gd name="connsiteX4" fmla="*/ 169472 w 319760"/>
                        <a:gd name="connsiteY4" fmla="*/ 2418353 h 2454012"/>
                        <a:gd name="connsiteX5" fmla="*/ 129571 w 319760"/>
                        <a:gd name="connsiteY5" fmla="*/ 2408537 h 2454012"/>
                        <a:gd name="connsiteX6" fmla="*/ 93021 w 319760"/>
                        <a:gd name="connsiteY6" fmla="*/ 2284110 h 2454012"/>
                        <a:gd name="connsiteX7" fmla="*/ 278873 w 319760"/>
                        <a:gd name="connsiteY7" fmla="*/ 24765 h 2454012"/>
                        <a:gd name="connsiteX8" fmla="*/ 312752 w 319760"/>
                        <a:gd name="connsiteY8" fmla="*/ 14805 h 2454012"/>
                        <a:gd name="connsiteX9" fmla="*/ 314186 w 319760"/>
                        <a:gd name="connsiteY9" fmla="*/ 1299331 h 2454012"/>
                        <a:gd name="connsiteX10" fmla="*/ 256543 w 319760"/>
                        <a:gd name="connsiteY10" fmla="*/ 2265859 h 2454012"/>
                        <a:gd name="connsiteX11" fmla="*/ 232195 w 319760"/>
                        <a:gd name="connsiteY11" fmla="*/ 2361446 h 2454012"/>
                        <a:gd name="connsiteX12" fmla="*/ 213205 w 319760"/>
                        <a:gd name="connsiteY12" fmla="*/ 2384650 h 2454012"/>
                        <a:gd name="connsiteX13" fmla="*/ 215656 w 319760"/>
                        <a:gd name="connsiteY13" fmla="*/ 2384760 h 2454012"/>
                        <a:gd name="connsiteX14" fmla="*/ 187837 w 319760"/>
                        <a:gd name="connsiteY14" fmla="*/ 2420652 h 2454012"/>
                        <a:gd name="connsiteX15" fmla="*/ 2856 w 319760"/>
                        <a:gd name="connsiteY15" fmla="*/ 2242554 h 2454012"/>
                        <a:gd name="connsiteX16" fmla="*/ 128930 w 319760"/>
                        <a:gd name="connsiteY16" fmla="*/ 178841 h 245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9760" h="2454012">
                          <a:moveTo>
                            <a:pt x="141810" y="0"/>
                          </a:moveTo>
                          <a:lnTo>
                            <a:pt x="161368" y="5733"/>
                          </a:lnTo>
                          <a:cubicBezTo>
                            <a:pt x="117919" y="712947"/>
                            <a:pt x="408" y="1499121"/>
                            <a:pt x="22382" y="2232774"/>
                          </a:cubicBezTo>
                          <a:cubicBezTo>
                            <a:pt x="24610" y="2374289"/>
                            <a:pt x="76931" y="2435405"/>
                            <a:pt x="132565" y="2433393"/>
                          </a:cubicBezTo>
                          <a:lnTo>
                            <a:pt x="169472" y="2418353"/>
                          </a:lnTo>
                          <a:lnTo>
                            <a:pt x="129571" y="2408537"/>
                          </a:lnTo>
                          <a:cubicBezTo>
                            <a:pt x="113430" y="2387721"/>
                            <a:pt x="100087" y="2348355"/>
                            <a:pt x="93021" y="2284110"/>
                          </a:cubicBezTo>
                          <a:cubicBezTo>
                            <a:pt x="71048" y="1550457"/>
                            <a:pt x="175092" y="696243"/>
                            <a:pt x="278873" y="24765"/>
                          </a:cubicBezTo>
                          <a:lnTo>
                            <a:pt x="312752" y="14805"/>
                          </a:lnTo>
                          <a:cubicBezTo>
                            <a:pt x="319756" y="225333"/>
                            <a:pt x="323554" y="924156"/>
                            <a:pt x="314186" y="1299331"/>
                          </a:cubicBezTo>
                          <a:cubicBezTo>
                            <a:pt x="304725" y="1676567"/>
                            <a:pt x="278419" y="2108230"/>
                            <a:pt x="256543" y="2265859"/>
                          </a:cubicBezTo>
                          <a:cubicBezTo>
                            <a:pt x="254899" y="2299398"/>
                            <a:pt x="245624" y="2333370"/>
                            <a:pt x="232195" y="2361446"/>
                          </a:cubicBezTo>
                          <a:lnTo>
                            <a:pt x="213205" y="2384650"/>
                          </a:lnTo>
                          <a:lnTo>
                            <a:pt x="215656" y="2384760"/>
                          </a:lnTo>
                          <a:lnTo>
                            <a:pt x="187837" y="2420652"/>
                          </a:lnTo>
                          <a:cubicBezTo>
                            <a:pt x="112892" y="2494048"/>
                            <a:pt x="6144" y="2451331"/>
                            <a:pt x="2856" y="2242554"/>
                          </a:cubicBezTo>
                          <a:cubicBezTo>
                            <a:pt x="-17404" y="1566084"/>
                            <a:pt x="74872" y="847239"/>
                            <a:pt x="128930" y="178841"/>
                          </a:cubicBezTo>
                          <a:close/>
                        </a:path>
                      </a:pathLst>
                    </a:custGeom>
                    <a:solidFill>
                      <a:schemeClr val="bg1">
                        <a:alpha val="4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nvGrpSpPr>
                    <p:cNvPr id="23" name="Group 22">
                      <a:extLst>
                        <a:ext uri="{FF2B5EF4-FFF2-40B4-BE49-F238E27FC236}">
                          <a16:creationId xmlns:a16="http://schemas.microsoft.com/office/drawing/2014/main" id="{6476FA37-DDA9-F8A8-B573-896949F75F10}"/>
                        </a:ext>
                      </a:extLst>
                    </p:cNvPr>
                    <p:cNvGrpSpPr/>
                    <p:nvPr/>
                  </p:nvGrpSpPr>
                  <p:grpSpPr>
                    <a:xfrm>
                      <a:off x="8329388" y="4799397"/>
                      <a:ext cx="205012" cy="448878"/>
                      <a:chOff x="8329388" y="4799397"/>
                      <a:chExt cx="205012" cy="448878"/>
                    </a:xfrm>
                  </p:grpSpPr>
                  <p:sp>
                    <p:nvSpPr>
                      <p:cNvPr id="24" name="Rectangle 23">
                        <a:extLst>
                          <a:ext uri="{FF2B5EF4-FFF2-40B4-BE49-F238E27FC236}">
                            <a16:creationId xmlns:a16="http://schemas.microsoft.com/office/drawing/2014/main" id="{FD465353-AD56-AFB5-183F-06F1389DA826}"/>
                          </a:ext>
                        </a:extLst>
                      </p:cNvPr>
                      <p:cNvSpPr/>
                      <p:nvPr/>
                    </p:nvSpPr>
                    <p:spPr>
                      <a:xfrm>
                        <a:off x="8334409" y="4799397"/>
                        <a:ext cx="195291" cy="7014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D0FE6252-9735-9FCB-A4F3-B6EF28D5D0DC}"/>
                          </a:ext>
                        </a:extLst>
                      </p:cNvPr>
                      <p:cNvSpPr/>
                      <p:nvPr/>
                    </p:nvSpPr>
                    <p:spPr>
                      <a:xfrm>
                        <a:off x="8330445" y="5117795"/>
                        <a:ext cx="203220" cy="4791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C697751A-24D0-A0E7-1C4E-3C249EEE6F70}"/>
                          </a:ext>
                        </a:extLst>
                      </p:cNvPr>
                      <p:cNvSpPr/>
                      <p:nvPr/>
                    </p:nvSpPr>
                    <p:spPr>
                      <a:xfrm>
                        <a:off x="8329388" y="5200287"/>
                        <a:ext cx="205012" cy="4798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grpSp>
            </p:grpSp>
            <p:grpSp>
              <p:nvGrpSpPr>
                <p:cNvPr id="15" name="Group 14">
                  <a:extLst>
                    <a:ext uri="{FF2B5EF4-FFF2-40B4-BE49-F238E27FC236}">
                      <a16:creationId xmlns:a16="http://schemas.microsoft.com/office/drawing/2014/main" id="{19DA0A30-B29B-278A-15F5-17690F5B40B7}"/>
                    </a:ext>
                  </a:extLst>
                </p:cNvPr>
                <p:cNvGrpSpPr/>
                <p:nvPr/>
              </p:nvGrpSpPr>
              <p:grpSpPr>
                <a:xfrm>
                  <a:off x="7820943" y="2080072"/>
                  <a:ext cx="1124816" cy="4378604"/>
                  <a:chOff x="7820943" y="2080072"/>
                  <a:chExt cx="1124816" cy="4378604"/>
                </a:xfrm>
              </p:grpSpPr>
              <p:sp>
                <p:nvSpPr>
                  <p:cNvPr id="16" name="Freeform 15">
                    <a:extLst>
                      <a:ext uri="{FF2B5EF4-FFF2-40B4-BE49-F238E27FC236}">
                        <a16:creationId xmlns:a16="http://schemas.microsoft.com/office/drawing/2014/main" id="{BFE0573E-C627-5C45-796F-4DB586D78618}"/>
                      </a:ext>
                    </a:extLst>
                  </p:cNvPr>
                  <p:cNvSpPr/>
                  <p:nvPr/>
                </p:nvSpPr>
                <p:spPr>
                  <a:xfrm flipV="1">
                    <a:off x="8341786" y="5881232"/>
                    <a:ext cx="70121" cy="577444"/>
                  </a:xfrm>
                  <a:custGeom>
                    <a:avLst/>
                    <a:gdLst>
                      <a:gd name="connsiteX0" fmla="*/ 0 w 80962"/>
                      <a:gd name="connsiteY0" fmla="*/ 666751 h 666751"/>
                      <a:gd name="connsiteX1" fmla="*/ 80962 w 80962"/>
                      <a:gd name="connsiteY1" fmla="*/ 666751 h 666751"/>
                      <a:gd name="connsiteX2" fmla="*/ 80962 w 80962"/>
                      <a:gd name="connsiteY2" fmla="*/ 152401 h 666751"/>
                      <a:gd name="connsiteX3" fmla="*/ 70051 w 80962"/>
                      <a:gd name="connsiteY3" fmla="*/ 152401 h 666751"/>
                      <a:gd name="connsiteX4" fmla="*/ 40481 w 80962"/>
                      <a:gd name="connsiteY4" fmla="*/ 0 h 666751"/>
                      <a:gd name="connsiteX5" fmla="*/ 10911 w 80962"/>
                      <a:gd name="connsiteY5" fmla="*/ 152401 h 666751"/>
                      <a:gd name="connsiteX6" fmla="*/ 0 w 80962"/>
                      <a:gd name="connsiteY6" fmla="*/ 152401 h 66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962" h="666751">
                        <a:moveTo>
                          <a:pt x="0" y="666751"/>
                        </a:moveTo>
                        <a:lnTo>
                          <a:pt x="80962" y="666751"/>
                        </a:lnTo>
                        <a:lnTo>
                          <a:pt x="80962" y="152401"/>
                        </a:lnTo>
                        <a:lnTo>
                          <a:pt x="70051" y="152401"/>
                        </a:lnTo>
                        <a:lnTo>
                          <a:pt x="40481" y="0"/>
                        </a:lnTo>
                        <a:lnTo>
                          <a:pt x="10911" y="152401"/>
                        </a:lnTo>
                        <a:lnTo>
                          <a:pt x="0" y="152401"/>
                        </a:lnTo>
                        <a:close/>
                      </a:path>
                    </a:pathLst>
                  </a:cu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id="{58E7A375-F32E-3B50-19EC-7C476A4D1B3A}"/>
                      </a:ext>
                    </a:extLst>
                  </p:cNvPr>
                  <p:cNvGrpSpPr/>
                  <p:nvPr/>
                </p:nvGrpSpPr>
                <p:grpSpPr>
                  <a:xfrm>
                    <a:off x="7820943" y="2080072"/>
                    <a:ext cx="1124816" cy="1484851"/>
                    <a:chOff x="7820943" y="2080072"/>
                    <a:chExt cx="1124816" cy="1484851"/>
                  </a:xfrm>
                  <a:solidFill>
                    <a:schemeClr val="tx1">
                      <a:lumMod val="75000"/>
                      <a:lumOff val="25000"/>
                    </a:schemeClr>
                  </a:solidFill>
                </p:grpSpPr>
                <p:sp>
                  <p:nvSpPr>
                    <p:cNvPr id="18" name="Isosceles Triangle 17">
                      <a:extLst>
                        <a:ext uri="{FF2B5EF4-FFF2-40B4-BE49-F238E27FC236}">
                          <a16:creationId xmlns:a16="http://schemas.microsoft.com/office/drawing/2014/main" id="{D9394629-74AF-B7EB-AA64-50B53F2CD385}"/>
                        </a:ext>
                      </a:extLst>
                    </p:cNvPr>
                    <p:cNvSpPr/>
                    <p:nvPr/>
                  </p:nvSpPr>
                  <p:spPr>
                    <a:xfrm rot="2238657" flipV="1">
                      <a:off x="8472139" y="2099421"/>
                      <a:ext cx="103371" cy="122162"/>
                    </a:xfrm>
                    <a:prstGeom prst="triangl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19" name="Freeform 18">
                      <a:extLst>
                        <a:ext uri="{FF2B5EF4-FFF2-40B4-BE49-F238E27FC236}">
                          <a16:creationId xmlns:a16="http://schemas.microsoft.com/office/drawing/2014/main" id="{F00D2726-A808-83F7-A57B-313DE7A429F3}"/>
                        </a:ext>
                      </a:extLst>
                    </p:cNvPr>
                    <p:cNvSpPr/>
                    <p:nvPr/>
                  </p:nvSpPr>
                  <p:spPr>
                    <a:xfrm>
                      <a:off x="7820943" y="2080072"/>
                      <a:ext cx="1124816" cy="1484851"/>
                    </a:xfrm>
                    <a:custGeom>
                      <a:avLst/>
                      <a:gdLst>
                        <a:gd name="connsiteX0" fmla="*/ 584695 w 1298774"/>
                        <a:gd name="connsiteY0" fmla="*/ 1319569 h 1714500"/>
                        <a:gd name="connsiteX1" fmla="*/ 588788 w 1298774"/>
                        <a:gd name="connsiteY1" fmla="*/ 1337058 h 1714500"/>
                        <a:gd name="connsiteX2" fmla="*/ 596870 w 1298774"/>
                        <a:gd name="connsiteY2" fmla="*/ 1322105 h 1714500"/>
                        <a:gd name="connsiteX3" fmla="*/ 602037 w 1298774"/>
                        <a:gd name="connsiteY3" fmla="*/ 0 h 1714500"/>
                        <a:gd name="connsiteX4" fmla="*/ 706812 w 1298774"/>
                        <a:gd name="connsiteY4" fmla="*/ 285750 h 1714500"/>
                        <a:gd name="connsiteX5" fmla="*/ 709194 w 1298774"/>
                        <a:gd name="connsiteY5" fmla="*/ 834033 h 1714500"/>
                        <a:gd name="connsiteX6" fmla="*/ 709443 w 1298774"/>
                        <a:gd name="connsiteY6" fmla="*/ 889256 h 1714500"/>
                        <a:gd name="connsiteX7" fmla="*/ 778252 w 1298774"/>
                        <a:gd name="connsiteY7" fmla="*/ 266696 h 1714500"/>
                        <a:gd name="connsiteX8" fmla="*/ 959227 w 1298774"/>
                        <a:gd name="connsiteY8" fmla="*/ 147633 h 1714500"/>
                        <a:gd name="connsiteX9" fmla="*/ 1192589 w 1298774"/>
                        <a:gd name="connsiteY9" fmla="*/ 333372 h 1714500"/>
                        <a:gd name="connsiteX10" fmla="*/ 1183064 w 1298774"/>
                        <a:gd name="connsiteY10" fmla="*/ 962023 h 1714500"/>
                        <a:gd name="connsiteX11" fmla="*/ 730627 w 1298774"/>
                        <a:gd name="connsiteY11" fmla="*/ 1700210 h 1714500"/>
                        <a:gd name="connsiteX12" fmla="*/ 601820 w 1298774"/>
                        <a:gd name="connsiteY12" fmla="*/ 1392738 h 1714500"/>
                        <a:gd name="connsiteX13" fmla="*/ 625852 w 1298774"/>
                        <a:gd name="connsiteY13" fmla="*/ 1495424 h 1714500"/>
                        <a:gd name="connsiteX14" fmla="*/ 568701 w 1298774"/>
                        <a:gd name="connsiteY14" fmla="*/ 1714500 h 1714500"/>
                        <a:gd name="connsiteX15" fmla="*/ 92453 w 1298774"/>
                        <a:gd name="connsiteY15" fmla="*/ 881061 h 1714500"/>
                        <a:gd name="connsiteX16" fmla="*/ 54353 w 1298774"/>
                        <a:gd name="connsiteY16" fmla="*/ 442911 h 1714500"/>
                        <a:gd name="connsiteX17" fmla="*/ 173415 w 1298774"/>
                        <a:gd name="connsiteY17" fmla="*/ 233361 h 1714500"/>
                        <a:gd name="connsiteX18" fmla="*/ 444878 w 1298774"/>
                        <a:gd name="connsiteY18" fmla="*/ 219073 h 1714500"/>
                        <a:gd name="connsiteX19" fmla="*/ 416302 w 1298774"/>
                        <a:gd name="connsiteY19" fmla="*/ 600075 h 1714500"/>
                        <a:gd name="connsiteX20" fmla="*/ 581267 w 1298774"/>
                        <a:gd name="connsiteY20" fmla="*/ 1304924 h 1714500"/>
                        <a:gd name="connsiteX21" fmla="*/ 567742 w 1298774"/>
                        <a:gd name="connsiteY21" fmla="*/ 1192570 h 1714500"/>
                        <a:gd name="connsiteX22" fmla="*/ 478212 w 1298774"/>
                        <a:gd name="connsiteY22" fmla="*/ 385762 h 1714500"/>
                        <a:gd name="connsiteX0" fmla="*/ 584695 w 1298774"/>
                        <a:gd name="connsiteY0" fmla="*/ 1319569 h 1714500"/>
                        <a:gd name="connsiteX1" fmla="*/ 596870 w 1298774"/>
                        <a:gd name="connsiteY1" fmla="*/ 1322105 h 1714500"/>
                        <a:gd name="connsiteX2" fmla="*/ 584695 w 1298774"/>
                        <a:gd name="connsiteY2" fmla="*/ 1319569 h 1714500"/>
                        <a:gd name="connsiteX3" fmla="*/ 602037 w 1298774"/>
                        <a:gd name="connsiteY3" fmla="*/ 0 h 1714500"/>
                        <a:gd name="connsiteX4" fmla="*/ 706812 w 1298774"/>
                        <a:gd name="connsiteY4" fmla="*/ 285750 h 1714500"/>
                        <a:gd name="connsiteX5" fmla="*/ 709194 w 1298774"/>
                        <a:gd name="connsiteY5" fmla="*/ 834033 h 1714500"/>
                        <a:gd name="connsiteX6" fmla="*/ 709443 w 1298774"/>
                        <a:gd name="connsiteY6" fmla="*/ 889256 h 1714500"/>
                        <a:gd name="connsiteX7" fmla="*/ 778252 w 1298774"/>
                        <a:gd name="connsiteY7" fmla="*/ 266696 h 1714500"/>
                        <a:gd name="connsiteX8" fmla="*/ 959227 w 1298774"/>
                        <a:gd name="connsiteY8" fmla="*/ 147633 h 1714500"/>
                        <a:gd name="connsiteX9" fmla="*/ 1192589 w 1298774"/>
                        <a:gd name="connsiteY9" fmla="*/ 333372 h 1714500"/>
                        <a:gd name="connsiteX10" fmla="*/ 1183064 w 1298774"/>
                        <a:gd name="connsiteY10" fmla="*/ 962023 h 1714500"/>
                        <a:gd name="connsiteX11" fmla="*/ 730627 w 1298774"/>
                        <a:gd name="connsiteY11" fmla="*/ 1700210 h 1714500"/>
                        <a:gd name="connsiteX12" fmla="*/ 601820 w 1298774"/>
                        <a:gd name="connsiteY12" fmla="*/ 1392738 h 1714500"/>
                        <a:gd name="connsiteX13" fmla="*/ 625852 w 1298774"/>
                        <a:gd name="connsiteY13" fmla="*/ 1495424 h 1714500"/>
                        <a:gd name="connsiteX14" fmla="*/ 568701 w 1298774"/>
                        <a:gd name="connsiteY14" fmla="*/ 1714500 h 1714500"/>
                        <a:gd name="connsiteX15" fmla="*/ 92453 w 1298774"/>
                        <a:gd name="connsiteY15" fmla="*/ 881061 h 1714500"/>
                        <a:gd name="connsiteX16" fmla="*/ 54353 w 1298774"/>
                        <a:gd name="connsiteY16" fmla="*/ 442911 h 1714500"/>
                        <a:gd name="connsiteX17" fmla="*/ 173415 w 1298774"/>
                        <a:gd name="connsiteY17" fmla="*/ 233361 h 1714500"/>
                        <a:gd name="connsiteX18" fmla="*/ 444878 w 1298774"/>
                        <a:gd name="connsiteY18" fmla="*/ 219073 h 1714500"/>
                        <a:gd name="connsiteX19" fmla="*/ 416302 w 1298774"/>
                        <a:gd name="connsiteY19" fmla="*/ 600075 h 1714500"/>
                        <a:gd name="connsiteX20" fmla="*/ 581267 w 1298774"/>
                        <a:gd name="connsiteY20" fmla="*/ 1304924 h 1714500"/>
                        <a:gd name="connsiteX21" fmla="*/ 567742 w 1298774"/>
                        <a:gd name="connsiteY21" fmla="*/ 1192570 h 1714500"/>
                        <a:gd name="connsiteX22" fmla="*/ 478212 w 1298774"/>
                        <a:gd name="connsiteY22" fmla="*/ 385762 h 1714500"/>
                        <a:gd name="connsiteX23" fmla="*/ 602037 w 1298774"/>
                        <a:gd name="connsiteY23"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625852 w 1298774"/>
                        <a:gd name="connsiteY10" fmla="*/ 149542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81267 w 1298774"/>
                        <a:gd name="connsiteY17" fmla="*/ 1304924 h 1714500"/>
                        <a:gd name="connsiteX18" fmla="*/ 567742 w 1298774"/>
                        <a:gd name="connsiteY18" fmla="*/ 1192570 h 1714500"/>
                        <a:gd name="connsiteX19" fmla="*/ 478212 w 1298774"/>
                        <a:gd name="connsiteY19" fmla="*/ 385762 h 1714500"/>
                        <a:gd name="connsiteX20" fmla="*/ 602037 w 1298774"/>
                        <a:gd name="connsiteY20"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625852 w 1298774"/>
                        <a:gd name="connsiteY10" fmla="*/ 149542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654427 w 1298774"/>
                        <a:gd name="connsiteY10" fmla="*/ 1504949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39920 w 1298774"/>
                        <a:gd name="connsiteY9" fmla="*/ 1497513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35157 w 1298774"/>
                        <a:gd name="connsiteY9" fmla="*/ 1576094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46502 w 1298774"/>
                        <a:gd name="connsiteY8" fmla="*/ 1700210 h 1714500"/>
                        <a:gd name="connsiteX9" fmla="*/ 635157 w 1298774"/>
                        <a:gd name="connsiteY9" fmla="*/ 1576094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46502 w 1298774"/>
                        <a:gd name="connsiteY8" fmla="*/ 1700210 h 1714500"/>
                        <a:gd name="connsiteX9" fmla="*/ 703638 w 1298774"/>
                        <a:gd name="connsiteY9" fmla="*/ 1654174 h 1714500"/>
                        <a:gd name="connsiteX10" fmla="*/ 635157 w 1298774"/>
                        <a:gd name="connsiteY10" fmla="*/ 157609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46502 w 1298774"/>
                        <a:gd name="connsiteY8" fmla="*/ 1700210 h 1714500"/>
                        <a:gd name="connsiteX9" fmla="*/ 703638 w 1298774"/>
                        <a:gd name="connsiteY9" fmla="*/ 1685924 h 1714500"/>
                        <a:gd name="connsiteX10" fmla="*/ 635157 w 1298774"/>
                        <a:gd name="connsiteY10" fmla="*/ 157609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98774" h="1714500">
                          <a:moveTo>
                            <a:pt x="602037" y="0"/>
                          </a:moveTo>
                          <a:lnTo>
                            <a:pt x="706812" y="285750"/>
                          </a:lnTo>
                          <a:cubicBezTo>
                            <a:pt x="700462" y="467519"/>
                            <a:pt x="706019" y="654050"/>
                            <a:pt x="709194" y="834033"/>
                          </a:cubicBezTo>
                          <a:lnTo>
                            <a:pt x="709443" y="889256"/>
                          </a:lnTo>
                          <a:lnTo>
                            <a:pt x="778252" y="266696"/>
                          </a:lnTo>
                          <a:lnTo>
                            <a:pt x="959227" y="147633"/>
                          </a:lnTo>
                          <a:cubicBezTo>
                            <a:pt x="1078290" y="63496"/>
                            <a:pt x="1102102" y="188909"/>
                            <a:pt x="1192589" y="333372"/>
                          </a:cubicBezTo>
                          <a:cubicBezTo>
                            <a:pt x="1260058" y="457992"/>
                            <a:pt x="1398171" y="643729"/>
                            <a:pt x="1183064" y="962023"/>
                          </a:cubicBezTo>
                          <a:cubicBezTo>
                            <a:pt x="1048920" y="1170779"/>
                            <a:pt x="794921" y="1631948"/>
                            <a:pt x="746502" y="1700210"/>
                          </a:cubicBezTo>
                          <a:lnTo>
                            <a:pt x="703638" y="1685924"/>
                          </a:lnTo>
                          <a:lnTo>
                            <a:pt x="635157" y="1576094"/>
                          </a:lnTo>
                          <a:lnTo>
                            <a:pt x="568701" y="1714500"/>
                          </a:lnTo>
                          <a:lnTo>
                            <a:pt x="92453" y="881061"/>
                          </a:lnTo>
                          <a:cubicBezTo>
                            <a:pt x="48003" y="847724"/>
                            <a:pt x="-67885" y="642935"/>
                            <a:pt x="54353" y="442911"/>
                          </a:cubicBezTo>
                          <a:lnTo>
                            <a:pt x="173415" y="233361"/>
                          </a:lnTo>
                          <a:cubicBezTo>
                            <a:pt x="240091" y="52386"/>
                            <a:pt x="349627" y="152399"/>
                            <a:pt x="444878" y="219073"/>
                          </a:cubicBezTo>
                          <a:cubicBezTo>
                            <a:pt x="406778" y="346074"/>
                            <a:pt x="344865" y="415924"/>
                            <a:pt x="416302" y="600075"/>
                          </a:cubicBezTo>
                          <a:lnTo>
                            <a:pt x="567742" y="1192570"/>
                          </a:lnTo>
                          <a:cubicBezTo>
                            <a:pt x="527871" y="877144"/>
                            <a:pt x="462933" y="445492"/>
                            <a:pt x="478212" y="385762"/>
                          </a:cubicBezTo>
                          <a:lnTo>
                            <a:pt x="602037"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grpSp>
          </p:grpSp>
        </p:grpSp>
      </p:grpSp>
      <p:graphicFrame>
        <p:nvGraphicFramePr>
          <p:cNvPr id="3" name="Table 2">
            <a:extLst>
              <a:ext uri="{FF2B5EF4-FFF2-40B4-BE49-F238E27FC236}">
                <a16:creationId xmlns:a16="http://schemas.microsoft.com/office/drawing/2014/main" id="{4549DEEB-A5C8-0A6A-A3F8-25D729235B5E}"/>
              </a:ext>
            </a:extLst>
          </p:cNvPr>
          <p:cNvGraphicFramePr>
            <a:graphicFrameLocks noGrp="1"/>
          </p:cNvGraphicFramePr>
          <p:nvPr>
            <p:extLst>
              <p:ext uri="{D42A27DB-BD31-4B8C-83A1-F6EECF244321}">
                <p14:modId xmlns:p14="http://schemas.microsoft.com/office/powerpoint/2010/main" val="3742825264"/>
              </p:ext>
            </p:extLst>
          </p:nvPr>
        </p:nvGraphicFramePr>
        <p:xfrm>
          <a:off x="3446064" y="2404885"/>
          <a:ext cx="7874613" cy="2709653"/>
        </p:xfrm>
        <a:graphic>
          <a:graphicData uri="http://schemas.openxmlformats.org/drawingml/2006/table">
            <a:tbl>
              <a:tblPr firstRow="1" firstCol="1" lastRow="1" lastCol="1" bandRow="1" bandCol="1">
                <a:tableStyleId>{5C22544A-7EE6-4342-B048-85BDC9FD1C3A}</a:tableStyleId>
              </a:tblPr>
              <a:tblGrid>
                <a:gridCol w="6675882">
                  <a:extLst>
                    <a:ext uri="{9D8B030D-6E8A-4147-A177-3AD203B41FA5}">
                      <a16:colId xmlns:a16="http://schemas.microsoft.com/office/drawing/2014/main" val="2298026609"/>
                    </a:ext>
                  </a:extLst>
                </a:gridCol>
                <a:gridCol w="1198731">
                  <a:extLst>
                    <a:ext uri="{9D8B030D-6E8A-4147-A177-3AD203B41FA5}">
                      <a16:colId xmlns:a16="http://schemas.microsoft.com/office/drawing/2014/main" val="2302627401"/>
                    </a:ext>
                  </a:extLst>
                </a:gridCol>
              </a:tblGrid>
              <a:tr h="612635">
                <a:tc>
                  <a:txBody>
                    <a:bodyPr/>
                    <a:lstStyle/>
                    <a:p>
                      <a:pPr algn="ctr">
                        <a:lnSpc>
                          <a:spcPct val="150000"/>
                        </a:lnSpc>
                        <a:spcBef>
                          <a:spcPts val="300"/>
                        </a:spcBef>
                        <a:buNone/>
                      </a:pPr>
                      <a:r>
                        <a:rPr lang="en-GB" sz="1100" dirty="0">
                          <a:effectLst/>
                        </a:rPr>
                        <a:t>MANDATORY RETURNABLE DOCUMENTS</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50000"/>
                        </a:lnSpc>
                        <a:spcBef>
                          <a:spcPts val="300"/>
                        </a:spcBef>
                        <a:buNone/>
                      </a:pPr>
                      <a:r>
                        <a:rPr lang="en-GB" sz="1100">
                          <a:effectLst/>
                        </a:rPr>
                        <a:t>SUBMITTED</a:t>
                      </a:r>
                      <a:endParaRPr lang="en-ZA" sz="1100">
                        <a:effectLst/>
                      </a:endParaRPr>
                    </a:p>
                    <a:p>
                      <a:pPr algn="ctr">
                        <a:lnSpc>
                          <a:spcPct val="150000"/>
                        </a:lnSpc>
                        <a:spcBef>
                          <a:spcPts val="300"/>
                        </a:spcBef>
                        <a:buNone/>
                      </a:pPr>
                      <a:r>
                        <a:rPr lang="en-GB" sz="1100">
                          <a:effectLst/>
                        </a:rPr>
                        <a:t>[Yes/No]</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946654655"/>
                  </a:ext>
                </a:extLst>
              </a:tr>
              <a:tr h="332107">
                <a:tc>
                  <a:txBody>
                    <a:bodyPr/>
                    <a:lstStyle/>
                    <a:p>
                      <a:pPr algn="l">
                        <a:lnSpc>
                          <a:spcPct val="150000"/>
                        </a:lnSpc>
                        <a:spcBef>
                          <a:spcPts val="300"/>
                        </a:spcBef>
                        <a:buNone/>
                      </a:pPr>
                      <a:r>
                        <a:rPr lang="en-GB" sz="1100" dirty="0">
                          <a:effectLst/>
                        </a:rPr>
                        <a:t>Section 4: Pricing And Delivery Schedule</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50000"/>
                        </a:lnSpc>
                        <a:spcBef>
                          <a:spcPts val="300"/>
                        </a:spcBef>
                        <a:buNone/>
                      </a:pPr>
                      <a:r>
                        <a:rPr lang="en-GB" sz="1100">
                          <a:effectLst/>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827610808"/>
                  </a:ext>
                </a:extLst>
              </a:tr>
              <a:tr h="716402">
                <a:tc>
                  <a:txBody>
                    <a:bodyPr/>
                    <a:lstStyle/>
                    <a:p>
                      <a:pPr algn="just">
                        <a:lnSpc>
                          <a:spcPct val="150000"/>
                        </a:lnSpc>
                        <a:spcBef>
                          <a:spcPts val="300"/>
                        </a:spcBef>
                        <a:buNone/>
                      </a:pPr>
                      <a:r>
                        <a:rPr lang="en-ZA" sz="1100" dirty="0">
                          <a:effectLst/>
                        </a:rPr>
                        <a:t>Pricing schedule that outlines the individual costs associated with different components of the project, such as cost of modifications and cost of delivery.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983888301"/>
                  </a:ext>
                </a:extLst>
              </a:tr>
              <a:tr h="716402">
                <a:tc>
                  <a:txBody>
                    <a:bodyPr/>
                    <a:lstStyle/>
                    <a:p>
                      <a:pPr algn="just">
                        <a:lnSpc>
                          <a:spcPct val="150000"/>
                        </a:lnSpc>
                        <a:spcBef>
                          <a:spcPts val="300"/>
                        </a:spcBef>
                        <a:buNone/>
                      </a:pPr>
                      <a:r>
                        <a:rPr lang="en-ZA" sz="1100">
                          <a:effectLst/>
                        </a:rPr>
                        <a:t>Delivery schedule that outlines the delivery lead times with start and end date for the customised track bulldozers and the off the shelve excavators and lowbed trailers.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a:effectLst/>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563456557"/>
                  </a:ext>
                </a:extLst>
              </a:tr>
              <a:tr h="332107">
                <a:tc>
                  <a:txBody>
                    <a:bodyPr/>
                    <a:lstStyle/>
                    <a:p>
                      <a:pPr algn="just">
                        <a:lnSpc>
                          <a:spcPct val="150000"/>
                        </a:lnSpc>
                        <a:spcBef>
                          <a:spcPts val="300"/>
                        </a:spcBef>
                        <a:buNone/>
                      </a:pPr>
                      <a:r>
                        <a:rPr lang="en-ZA" sz="1100">
                          <a:effectLst/>
                        </a:rPr>
                        <a:t>Full managed maintenance cost.</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Bef>
                          <a:spcPts val="300"/>
                        </a:spcBef>
                        <a:buNone/>
                      </a:pPr>
                      <a:r>
                        <a:rPr lang="en-GB" sz="1100" dirty="0">
                          <a:effectLst/>
                        </a:rPr>
                        <a:t>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9731951"/>
                  </a:ext>
                </a:extLst>
              </a:tr>
            </a:tbl>
          </a:graphicData>
        </a:graphic>
      </p:graphicFrame>
    </p:spTree>
    <p:extLst>
      <p:ext uri="{BB962C8B-B14F-4D97-AF65-F5344CB8AC3E}">
        <p14:creationId xmlns:p14="http://schemas.microsoft.com/office/powerpoint/2010/main" val="1849055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5088F-329C-F1D4-9D9B-9C841AD420CB}"/>
              </a:ext>
            </a:extLst>
          </p:cNvPr>
          <p:cNvSpPr>
            <a:spLocks noGrp="1"/>
          </p:cNvSpPr>
          <p:nvPr>
            <p:ph type="title"/>
          </p:nvPr>
        </p:nvSpPr>
        <p:spPr/>
        <p:txBody>
          <a:bodyPr/>
          <a:lstStyle/>
          <a:p>
            <a:r>
              <a:rPr lang="en-ZA" dirty="0"/>
              <a:t>Tender Process (</a:t>
            </a:r>
            <a:r>
              <a:rPr lang="en-ZA" dirty="0" err="1"/>
              <a:t>Cont</a:t>
            </a:r>
            <a:r>
              <a:rPr lang="en-ZA" dirty="0"/>
              <a:t>) </a:t>
            </a:r>
          </a:p>
        </p:txBody>
      </p:sp>
      <p:graphicFrame>
        <p:nvGraphicFramePr>
          <p:cNvPr id="6" name="Content Placeholder 5">
            <a:extLst>
              <a:ext uri="{FF2B5EF4-FFF2-40B4-BE49-F238E27FC236}">
                <a16:creationId xmlns:a16="http://schemas.microsoft.com/office/drawing/2014/main" id="{F1E9559E-1C1D-0474-24F4-2087AEF50266}"/>
              </a:ext>
            </a:extLst>
          </p:cNvPr>
          <p:cNvGraphicFramePr>
            <a:graphicFrameLocks noGrp="1"/>
          </p:cNvGraphicFramePr>
          <p:nvPr>
            <p:ph idx="1"/>
            <p:extLst>
              <p:ext uri="{D42A27DB-BD31-4B8C-83A1-F6EECF244321}">
                <p14:modId xmlns:p14="http://schemas.microsoft.com/office/powerpoint/2010/main" val="2248600923"/>
              </p:ext>
            </p:extLst>
          </p:nvPr>
        </p:nvGraphicFramePr>
        <p:xfrm>
          <a:off x="1442720" y="2254890"/>
          <a:ext cx="8554720" cy="4104635"/>
        </p:xfrm>
        <a:graphic>
          <a:graphicData uri="http://schemas.openxmlformats.org/drawingml/2006/table">
            <a:tbl>
              <a:tblPr firstRow="1" firstCol="1" lastRow="1" lastCol="1" bandRow="1" bandCol="1">
                <a:tableStyleId>{5C22544A-7EE6-4342-B048-85BDC9FD1C3A}</a:tableStyleId>
              </a:tblPr>
              <a:tblGrid>
                <a:gridCol w="6748320">
                  <a:extLst>
                    <a:ext uri="{9D8B030D-6E8A-4147-A177-3AD203B41FA5}">
                      <a16:colId xmlns:a16="http://schemas.microsoft.com/office/drawing/2014/main" val="4182361537"/>
                    </a:ext>
                  </a:extLst>
                </a:gridCol>
                <a:gridCol w="1806400">
                  <a:extLst>
                    <a:ext uri="{9D8B030D-6E8A-4147-A177-3AD203B41FA5}">
                      <a16:colId xmlns:a16="http://schemas.microsoft.com/office/drawing/2014/main" val="200052286"/>
                    </a:ext>
                  </a:extLst>
                </a:gridCol>
              </a:tblGrid>
              <a:tr h="499905">
                <a:tc>
                  <a:txBody>
                    <a:bodyPr/>
                    <a:lstStyle/>
                    <a:p>
                      <a:pPr algn="ctr">
                        <a:lnSpc>
                          <a:spcPct val="150000"/>
                        </a:lnSpc>
                        <a:spcBef>
                          <a:spcPts val="300"/>
                        </a:spcBef>
                        <a:buNone/>
                      </a:pPr>
                      <a:r>
                        <a:rPr lang="en-GB" sz="1100" u="sng" dirty="0">
                          <a:effectLst/>
                        </a:rPr>
                        <a:t>RETURNABLE DOCUMENTS USED FOR SCORING</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indent="-269875" algn="l">
                        <a:lnSpc>
                          <a:spcPct val="150000"/>
                        </a:lnSpc>
                        <a:spcBef>
                          <a:spcPts val="300"/>
                        </a:spcBef>
                        <a:buNone/>
                      </a:pPr>
                      <a:r>
                        <a:rPr lang="en-GB" sz="1050" dirty="0">
                          <a:effectLst/>
                        </a:rPr>
                        <a:t>SUBMITTED </a:t>
                      </a:r>
                      <a:endParaRPr lang="en-ZA" sz="1050" dirty="0">
                        <a:effectLst/>
                      </a:endParaRPr>
                    </a:p>
                    <a:p>
                      <a:pPr algn="ctr">
                        <a:lnSpc>
                          <a:spcPct val="150000"/>
                        </a:lnSpc>
                        <a:spcBef>
                          <a:spcPts val="300"/>
                        </a:spcBef>
                        <a:spcAft>
                          <a:spcPts val="300"/>
                        </a:spcAft>
                        <a:buNone/>
                      </a:pPr>
                      <a:r>
                        <a:rPr lang="en-GB" sz="1050" dirty="0">
                          <a:effectLst/>
                        </a:rPr>
                        <a:t>[Yes or No]</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598504672"/>
                  </a:ext>
                </a:extLst>
              </a:tr>
              <a:tr h="210803">
                <a:tc>
                  <a:txBody>
                    <a:bodyPr/>
                    <a:lstStyle/>
                    <a:p>
                      <a:pPr algn="just">
                        <a:lnSpc>
                          <a:spcPct val="150000"/>
                        </a:lnSpc>
                        <a:spcBef>
                          <a:spcPts val="300"/>
                        </a:spcBef>
                        <a:buNone/>
                      </a:pPr>
                      <a:r>
                        <a:rPr lang="en-GB" sz="900" kern="1200">
                          <a:effectLst/>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buNone/>
                      </a:pPr>
                      <a:r>
                        <a:rPr lang="en-GB" sz="900">
                          <a:effectLst/>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239020140"/>
                  </a:ext>
                </a:extLst>
              </a:tr>
              <a:tr h="454732">
                <a:tc>
                  <a:txBody>
                    <a:bodyPr/>
                    <a:lstStyle/>
                    <a:p>
                      <a:pPr algn="just">
                        <a:lnSpc>
                          <a:spcPct val="150000"/>
                        </a:lnSpc>
                        <a:spcBef>
                          <a:spcPts val="300"/>
                        </a:spcBef>
                        <a:buNone/>
                      </a:pPr>
                      <a:r>
                        <a:rPr lang="en-GB" sz="1050" kern="1200" dirty="0">
                          <a:effectLst/>
                        </a:rPr>
                        <a:t>Valid proof of Respondent’s compliance to</a:t>
                      </a:r>
                      <a:r>
                        <a:rPr lang="en-GB" sz="1050" dirty="0">
                          <a:effectLst/>
                        </a:rPr>
                        <a:t> </a:t>
                      </a:r>
                      <a:r>
                        <a:rPr lang="en-GB" sz="1050" kern="1200" dirty="0">
                          <a:effectLst/>
                        </a:rPr>
                        <a:t>Specific Goals requirements stipulated in Section 9 of this RFP (</a:t>
                      </a:r>
                      <a:r>
                        <a:rPr lang="en-GB" sz="1050" dirty="0">
                          <a:effectLst/>
                        </a:rPr>
                        <a:t>Valid B-BBEE certificate or Sworn- Affidavit as per DTIC guidelines)</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buNone/>
                      </a:pPr>
                      <a:r>
                        <a:rPr lang="en-GB" sz="900">
                          <a:effectLst/>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041635290"/>
                  </a:ext>
                </a:extLst>
              </a:tr>
              <a:tr h="454732">
                <a:tc>
                  <a:txBody>
                    <a:bodyPr/>
                    <a:lstStyle/>
                    <a:p>
                      <a:pPr algn="just">
                        <a:lnSpc>
                          <a:spcPct val="150000"/>
                        </a:lnSpc>
                        <a:spcBef>
                          <a:spcPts val="300"/>
                        </a:spcBef>
                        <a:buNone/>
                      </a:pPr>
                      <a:r>
                        <a:rPr lang="en-GB" sz="1050" kern="1200" dirty="0">
                          <a:effectLst/>
                        </a:rPr>
                        <a:t> B-BBEE Level of contributor – Level 1 or 2- B-BBEE Certificate / Sworn- Affidavit / B-BBEE CIPC Certificate (in case of JV, a consolidated scorecard will be accepted) as per DTIC guideline.</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buNone/>
                      </a:pPr>
                      <a:r>
                        <a:rPr lang="en-GB" sz="900" dirty="0">
                          <a:effectLst/>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970173855"/>
                  </a:ext>
                </a:extLst>
              </a:tr>
              <a:tr h="454732">
                <a:tc>
                  <a:txBody>
                    <a:bodyPr/>
                    <a:lstStyle/>
                    <a:p>
                      <a:pPr algn="just">
                        <a:lnSpc>
                          <a:spcPct val="150000"/>
                        </a:lnSpc>
                        <a:spcBef>
                          <a:spcPts val="300"/>
                        </a:spcBef>
                        <a:buNone/>
                      </a:pPr>
                      <a:r>
                        <a:rPr lang="en-GB" sz="1050" dirty="0">
                          <a:effectLst/>
                        </a:rPr>
                        <a:t>At least 30% Black women Owned entities</a:t>
                      </a:r>
                      <a:r>
                        <a:rPr lang="en-GB" sz="1050" kern="1200" dirty="0">
                          <a:effectLst/>
                        </a:rPr>
                        <a:t> - </a:t>
                      </a:r>
                      <a:r>
                        <a:rPr lang="en-GB" sz="1050" dirty="0">
                          <a:effectLst/>
                        </a:rPr>
                        <a:t>B-BBEE Certificate / Sworn- Affidavit / B-BBEE CIPC Certificate (in case of JV, a consolidated scorecard will be accepted) as per DTIC guideline.</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buNone/>
                      </a:pPr>
                      <a:r>
                        <a:rPr lang="en-GB" sz="900">
                          <a:effectLst/>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24862832"/>
                  </a:ext>
                </a:extLst>
              </a:tr>
              <a:tr h="454732">
                <a:tc>
                  <a:txBody>
                    <a:bodyPr/>
                    <a:lstStyle/>
                    <a:p>
                      <a:pPr algn="just">
                        <a:lnSpc>
                          <a:spcPct val="150000"/>
                        </a:lnSpc>
                        <a:spcBef>
                          <a:spcPts val="300"/>
                        </a:spcBef>
                        <a:buNone/>
                      </a:pPr>
                      <a:r>
                        <a:rPr lang="en-ZA" sz="1050" dirty="0">
                          <a:effectLst/>
                        </a:rPr>
                        <a:t>Entities that are at least 51% Black Owned - CI B-BBEE Certificate / Sworn- Affidavit / B-BBEE CIPC Certificate (in case of JV, a consolidated scorecard will be accepted) as per DTIC guideline.</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buNone/>
                      </a:pPr>
                      <a:r>
                        <a:rPr lang="en-GB" sz="900">
                          <a:effectLst/>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700774183"/>
                  </a:ext>
                </a:extLst>
              </a:tr>
              <a:tr h="454732">
                <a:tc>
                  <a:txBody>
                    <a:bodyPr/>
                    <a:lstStyle/>
                    <a:p>
                      <a:pPr algn="just">
                        <a:lnSpc>
                          <a:spcPct val="150000"/>
                        </a:lnSpc>
                        <a:spcBef>
                          <a:spcPts val="300"/>
                        </a:spcBef>
                        <a:buNone/>
                      </a:pPr>
                      <a:r>
                        <a:rPr lang="en-ZA" sz="1050" dirty="0">
                          <a:effectLst/>
                        </a:rPr>
                        <a:t>Creation of new jobs and labour intensification - Section 10: Job Creation Schedule Returnable documents (of the RFP)</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buNone/>
                      </a:pPr>
                      <a:r>
                        <a:rPr lang="en-GB" sz="900">
                          <a:effectLst/>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55233481"/>
                  </a:ext>
                </a:extLst>
              </a:tr>
              <a:tr h="454732">
                <a:tc>
                  <a:txBody>
                    <a:bodyPr/>
                    <a:lstStyle/>
                    <a:p>
                      <a:pPr algn="just">
                        <a:lnSpc>
                          <a:spcPct val="150000"/>
                        </a:lnSpc>
                        <a:spcBef>
                          <a:spcPts val="300"/>
                        </a:spcBef>
                        <a:buNone/>
                      </a:pPr>
                      <a:r>
                        <a:rPr lang="en-GB" sz="1050" dirty="0">
                          <a:effectLst/>
                        </a:rPr>
                        <a:t>Delivery schedule that outlines the delivery lead times with start and end date for the customised track bulldozers and the off the shelve excavators and lowbed trailers.</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buNone/>
                      </a:pPr>
                      <a:r>
                        <a:rPr lang="en-GB" sz="900">
                          <a:effectLst/>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363692145"/>
                  </a:ext>
                </a:extLst>
              </a:tr>
              <a:tr h="454732">
                <a:tc>
                  <a:txBody>
                    <a:bodyPr/>
                    <a:lstStyle/>
                    <a:p>
                      <a:pPr algn="just">
                        <a:lnSpc>
                          <a:spcPct val="150000"/>
                        </a:lnSpc>
                        <a:spcBef>
                          <a:spcPts val="300"/>
                        </a:spcBef>
                        <a:buNone/>
                      </a:pPr>
                      <a:r>
                        <a:rPr lang="en-GB" sz="1050" dirty="0">
                          <a:effectLst/>
                        </a:rPr>
                        <a:t>Fully managed equipment maintenance plan outlining both planned maintenance (service) and unplanned maintenance (repairs) schedules.</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buNone/>
                      </a:pPr>
                      <a:r>
                        <a:rPr lang="en-GB" sz="900">
                          <a:effectLst/>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95211499"/>
                  </a:ext>
                </a:extLst>
              </a:tr>
              <a:tr h="210803">
                <a:tc>
                  <a:txBody>
                    <a:bodyPr/>
                    <a:lstStyle/>
                    <a:p>
                      <a:pPr algn="just">
                        <a:lnSpc>
                          <a:spcPct val="150000"/>
                        </a:lnSpc>
                        <a:spcBef>
                          <a:spcPts val="300"/>
                        </a:spcBef>
                        <a:buNone/>
                      </a:pPr>
                      <a:r>
                        <a:rPr lang="en-GB" sz="1050" dirty="0">
                          <a:effectLst/>
                        </a:rPr>
                        <a:t>Entity’s financial stability</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buNone/>
                      </a:pPr>
                      <a:r>
                        <a:rPr lang="en-GB" sz="900" dirty="0">
                          <a:effectLst/>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904087312"/>
                  </a:ext>
                </a:extLst>
              </a:tr>
            </a:tbl>
          </a:graphicData>
        </a:graphic>
      </p:graphicFrame>
      <p:sp>
        <p:nvSpPr>
          <p:cNvPr id="4" name="Slide Number Placeholder 3">
            <a:extLst>
              <a:ext uri="{FF2B5EF4-FFF2-40B4-BE49-F238E27FC236}">
                <a16:creationId xmlns:a16="http://schemas.microsoft.com/office/drawing/2014/main" id="{D9BB1A59-3ABB-3585-DF27-DB5D3C024645}"/>
              </a:ext>
            </a:extLst>
          </p:cNvPr>
          <p:cNvSpPr>
            <a:spLocks noGrp="1"/>
          </p:cNvSpPr>
          <p:nvPr>
            <p:ph type="sldNum" sz="quarter" idx="10"/>
          </p:nvPr>
        </p:nvSpPr>
        <p:spPr/>
        <p:txBody>
          <a:bodyPr/>
          <a:lstStyle/>
          <a:p>
            <a:pPr>
              <a:defRPr/>
            </a:pPr>
            <a:fld id="{C540CCFC-6BA4-4ACE-929C-A4BCE2E55EAC}" type="slidenum">
              <a:rPr lang="en-US" altLang="en-US" smtClean="0"/>
              <a:pPr>
                <a:defRPr/>
              </a:pPr>
              <a:t>6</a:t>
            </a:fld>
            <a:endParaRPr lang="en-US" altLang="en-US"/>
          </a:p>
        </p:txBody>
      </p:sp>
      <p:sp>
        <p:nvSpPr>
          <p:cNvPr id="8" name="TextBox 7">
            <a:extLst>
              <a:ext uri="{FF2B5EF4-FFF2-40B4-BE49-F238E27FC236}">
                <a16:creationId xmlns:a16="http://schemas.microsoft.com/office/drawing/2014/main" id="{6A261A04-D2C7-7FAA-FC5E-D9461A4AEBEF}"/>
              </a:ext>
            </a:extLst>
          </p:cNvPr>
          <p:cNvSpPr txBox="1"/>
          <p:nvPr/>
        </p:nvSpPr>
        <p:spPr>
          <a:xfrm>
            <a:off x="1087120" y="1300783"/>
            <a:ext cx="8910320" cy="738664"/>
          </a:xfrm>
          <a:prstGeom prst="rect">
            <a:avLst/>
          </a:prstGeom>
          <a:noFill/>
        </p:spPr>
        <p:txBody>
          <a:bodyPr wrap="square">
            <a:spAutoFit/>
          </a:bodyPr>
          <a:lstStyle/>
          <a:p>
            <a:pPr marL="285750" marR="0" lvl="0" indent="-285750" algn="l" defTabSz="914400" rtl="0" eaLnBrk="1" fontAlgn="auto" latinLnBrk="0" hangingPunct="1">
              <a:lnSpc>
                <a:spcPct val="100000"/>
              </a:lnSpc>
              <a:spcBef>
                <a:spcPct val="0"/>
              </a:spcBef>
              <a:spcAft>
                <a:spcPts val="0"/>
              </a:spcAft>
              <a:buClrTx/>
              <a:buSzTx/>
              <a:buFont typeface="Wingdings" panose="05000000000000000000" pitchFamily="2" charset="2"/>
              <a:buChar char="v"/>
              <a:tabLst/>
              <a:defRPr/>
            </a:pPr>
            <a:r>
              <a:rPr kumimoji="0" lang="en-ZA" sz="1400" b="0" i="0" u="none" strike="noStrike" kern="1200" cap="none" spc="0" normalizeH="0" baseline="0" noProof="0" dirty="0">
                <a:ln>
                  <a:noFill/>
                </a:ln>
                <a:solidFill>
                  <a:srgbClr val="000000"/>
                </a:solidFill>
                <a:effectLst/>
                <a:uLnTx/>
                <a:uFillTx/>
                <a:latin typeface="Tahoma"/>
                <a:ea typeface="Tahoma" pitchFamily="34" charset="0"/>
                <a:cs typeface="Tahoma" pitchFamily="34" charset="0"/>
              </a:rPr>
              <a:t>Respondents must ensure all the required returnable documents are submitted with their proposals – Section 5: PROPOSAL FORM AND LIST OF RETURNABLE DOCUMENTS (RFP page 35 of </a:t>
            </a:r>
            <a:r>
              <a:rPr lang="en-ZA" sz="1400" dirty="0">
                <a:solidFill>
                  <a:srgbClr val="000000"/>
                </a:solidFill>
                <a:latin typeface="Tahoma"/>
                <a:ea typeface="Tahoma" pitchFamily="34" charset="0"/>
                <a:cs typeface="Tahoma" pitchFamily="34" charset="0"/>
              </a:rPr>
              <a:t>53</a:t>
            </a:r>
            <a:r>
              <a:rPr kumimoji="0" lang="en-ZA" sz="1400" b="0" i="0" u="none" strike="noStrike" kern="1200" cap="none" spc="0" normalizeH="0" baseline="0" noProof="0" dirty="0">
                <a:ln>
                  <a:noFill/>
                </a:ln>
                <a:solidFill>
                  <a:srgbClr val="000000"/>
                </a:solidFill>
                <a:effectLst/>
                <a:uLnTx/>
                <a:uFillTx/>
                <a:latin typeface="Tahoma"/>
                <a:ea typeface="Tahoma" pitchFamily="34" charset="0"/>
                <a:cs typeface="Tahoma" pitchFamily="34" charset="0"/>
              </a:rPr>
              <a:t>). The below documents must be submitted with the bid documents</a:t>
            </a:r>
            <a:r>
              <a:rPr kumimoji="0" lang="en-US" sz="1400" b="0" i="0" u="none" strike="noStrike" kern="1200" cap="none" spc="0" normalizeH="0" baseline="0" noProof="0" dirty="0">
                <a:ln>
                  <a:noFill/>
                </a:ln>
                <a:solidFill>
                  <a:srgbClr val="000000"/>
                </a:solidFill>
                <a:effectLst/>
                <a:uLnTx/>
                <a:uFillTx/>
                <a:latin typeface="Tahoma"/>
                <a:ea typeface="Tahoma" pitchFamily="34" charset="0"/>
                <a:cs typeface="Tahoma" pitchFamily="34" charset="0"/>
              </a:rPr>
              <a:t>:</a:t>
            </a:r>
          </a:p>
        </p:txBody>
      </p:sp>
    </p:spTree>
    <p:extLst>
      <p:ext uri="{BB962C8B-B14F-4D97-AF65-F5344CB8AC3E}">
        <p14:creationId xmlns:p14="http://schemas.microsoft.com/office/powerpoint/2010/main" val="1804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8B27AD-EFF7-1756-8F2E-DE849958C4B8}"/>
            </a:ext>
          </a:extLst>
        </p:cNvPr>
        <p:cNvGrpSpPr/>
        <p:nvPr/>
      </p:nvGrpSpPr>
      <p:grpSpPr>
        <a:xfrm>
          <a:off x="0" y="0"/>
          <a:ext cx="0" cy="0"/>
          <a:chOff x="0" y="0"/>
          <a:chExt cx="0" cy="0"/>
        </a:xfrm>
      </p:grpSpPr>
      <p:sp>
        <p:nvSpPr>
          <p:cNvPr id="9218" name="Title 1">
            <a:extLst>
              <a:ext uri="{FF2B5EF4-FFF2-40B4-BE49-F238E27FC236}">
                <a16:creationId xmlns:a16="http://schemas.microsoft.com/office/drawing/2014/main" id="{A725F9BD-C019-2E30-18C9-E8F40C1B1EC7}"/>
              </a:ext>
            </a:extLst>
          </p:cNvPr>
          <p:cNvSpPr>
            <a:spLocks noGrp="1"/>
          </p:cNvSpPr>
          <p:nvPr>
            <p:ph type="title"/>
          </p:nvPr>
        </p:nvSpPr>
        <p:spPr/>
        <p:txBody>
          <a:bodyPr/>
          <a:lstStyle/>
          <a:p>
            <a:r>
              <a:rPr lang="en-ZA" altLang="en-US" dirty="0"/>
              <a:t>Tender Process</a:t>
            </a:r>
          </a:p>
        </p:txBody>
      </p:sp>
      <p:sp>
        <p:nvSpPr>
          <p:cNvPr id="9220" name="Slide Number Placeholder 3">
            <a:extLst>
              <a:ext uri="{FF2B5EF4-FFF2-40B4-BE49-F238E27FC236}">
                <a16:creationId xmlns:a16="http://schemas.microsoft.com/office/drawing/2014/main" id="{CF3981E2-D5CE-245F-62A1-B8CD729E0BA3}"/>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CC0000"/>
              </a:buClr>
              <a:buFont typeface="Wingdings" panose="05000000000000000000" pitchFamily="2" charset="2"/>
              <a:buChar char="§"/>
              <a:defRPr sz="2000">
                <a:solidFill>
                  <a:schemeClr val="tx1"/>
                </a:solidFill>
                <a:latin typeface="Tahoma" panose="020B0604030504040204" pitchFamily="34" charset="0"/>
              </a:defRPr>
            </a:lvl1pPr>
            <a:lvl2pPr marL="742950" indent="-28575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2pPr>
            <a:lvl3pPr marL="11430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3pPr>
            <a:lvl4pPr marL="16002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4pPr>
            <a:lvl5pPr marL="20574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5pPr>
            <a:lvl6pPr marL="25146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6pPr>
            <a:lvl7pPr marL="29718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7pPr>
            <a:lvl8pPr marL="34290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8pPr>
            <a:lvl9pPr marL="38862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9pPr>
          </a:lstStyle>
          <a:p>
            <a:pPr>
              <a:spcBef>
                <a:spcPct val="0"/>
              </a:spcBef>
              <a:buClrTx/>
              <a:buFontTx/>
              <a:buNone/>
            </a:pPr>
            <a:fld id="{DBACA278-ADC1-4161-96C9-75CF51445BE9}" type="slidenum">
              <a:rPr lang="en-US" altLang="en-US" sz="1200">
                <a:solidFill>
                  <a:schemeClr val="bg1"/>
                </a:solidFill>
              </a:rPr>
              <a:pPr>
                <a:spcBef>
                  <a:spcPct val="0"/>
                </a:spcBef>
                <a:buClrTx/>
                <a:buFontTx/>
                <a:buNone/>
              </a:pPr>
              <a:t>7</a:t>
            </a:fld>
            <a:endParaRPr lang="en-US" altLang="en-US" sz="1200" dirty="0">
              <a:solidFill>
                <a:schemeClr val="bg1"/>
              </a:solidFill>
            </a:endParaRPr>
          </a:p>
        </p:txBody>
      </p:sp>
      <p:sp>
        <p:nvSpPr>
          <p:cNvPr id="6" name="Rectangle 5">
            <a:extLst>
              <a:ext uri="{FF2B5EF4-FFF2-40B4-BE49-F238E27FC236}">
                <a16:creationId xmlns:a16="http://schemas.microsoft.com/office/drawing/2014/main" id="{2859C35B-67DC-95BF-4036-E2CCA20BC63F}"/>
              </a:ext>
            </a:extLst>
          </p:cNvPr>
          <p:cNvSpPr/>
          <p:nvPr/>
        </p:nvSpPr>
        <p:spPr>
          <a:xfrm>
            <a:off x="2935253" y="1209664"/>
            <a:ext cx="8868290" cy="430887"/>
          </a:xfrm>
          <a:prstGeom prst="rect">
            <a:avLst/>
          </a:prstGeom>
        </p:spPr>
        <p:txBody>
          <a:bodyPr wrap="square">
            <a:spAutoFit/>
          </a:bodyPr>
          <a:lstStyle/>
          <a:p>
            <a:pPr marL="285750" indent="-285750" defTabSz="914400">
              <a:spcBef>
                <a:spcPct val="0"/>
              </a:spcBef>
              <a:buFont typeface="Wingdings" panose="05000000000000000000" pitchFamily="2" charset="2"/>
              <a:buChar char="v"/>
              <a:defRPr/>
            </a:pPr>
            <a:r>
              <a:rPr lang="en-ZA" sz="1100" dirty="0">
                <a:solidFill>
                  <a:srgbClr val="000000"/>
                </a:solidFill>
                <a:ea typeface="Tahoma" pitchFamily="34" charset="0"/>
                <a:cs typeface="Tahoma" pitchFamily="34" charset="0"/>
              </a:rPr>
              <a:t>Respondents must ensure all the required returnable documents are submitted with their proposals – Section 5: PROPOSAL FORM AND LIST OF RETURNABLE DOCUMENTS </a:t>
            </a:r>
            <a:r>
              <a:rPr lang="en-ZA" sz="1100" dirty="0">
                <a:ea typeface="Tahoma" pitchFamily="34" charset="0"/>
                <a:cs typeface="Tahoma" pitchFamily="34" charset="0"/>
              </a:rPr>
              <a:t>(RFP page 36 of 53).</a:t>
            </a:r>
            <a:endParaRPr lang="en-US" sz="1100" dirty="0"/>
          </a:p>
        </p:txBody>
      </p:sp>
      <p:sp>
        <p:nvSpPr>
          <p:cNvPr id="8" name="Freeform 31">
            <a:extLst>
              <a:ext uri="{FF2B5EF4-FFF2-40B4-BE49-F238E27FC236}">
                <a16:creationId xmlns:a16="http://schemas.microsoft.com/office/drawing/2014/main" id="{A524BFC1-293F-C0DF-BA8D-061EB591C2C8}"/>
              </a:ext>
            </a:extLst>
          </p:cNvPr>
          <p:cNvSpPr>
            <a:spLocks/>
          </p:cNvSpPr>
          <p:nvPr/>
        </p:nvSpPr>
        <p:spPr bwMode="gray">
          <a:xfrm rot="10800000">
            <a:off x="3190837" y="5883674"/>
            <a:ext cx="8829523" cy="385664"/>
          </a:xfrm>
          <a:custGeom>
            <a:avLst/>
            <a:gdLst>
              <a:gd name="T0" fmla="*/ 2718 w 2718"/>
              <a:gd name="T1" fmla="*/ 146 h 146"/>
              <a:gd name="T2" fmla="*/ 2359 w 2718"/>
              <a:gd name="T3" fmla="*/ 0 h 146"/>
              <a:gd name="T4" fmla="*/ 2359 w 2718"/>
              <a:gd name="T5" fmla="*/ 93 h 146"/>
              <a:gd name="T6" fmla="*/ 1 w 2718"/>
              <a:gd name="T7" fmla="*/ 93 h 146"/>
              <a:gd name="T8" fmla="*/ 0 w 2718"/>
              <a:gd name="T9" fmla="*/ 146 h 146"/>
              <a:gd name="T10" fmla="*/ 2718 w 2718"/>
              <a:gd name="T11" fmla="*/ 146 h 146"/>
            </a:gdLst>
            <a:ahLst/>
            <a:cxnLst>
              <a:cxn ang="0">
                <a:pos x="T0" y="T1"/>
              </a:cxn>
              <a:cxn ang="0">
                <a:pos x="T2" y="T3"/>
              </a:cxn>
              <a:cxn ang="0">
                <a:pos x="T4" y="T5"/>
              </a:cxn>
              <a:cxn ang="0">
                <a:pos x="T6" y="T7"/>
              </a:cxn>
              <a:cxn ang="0">
                <a:pos x="T8" y="T9"/>
              </a:cxn>
              <a:cxn ang="0">
                <a:pos x="T10" y="T11"/>
              </a:cxn>
            </a:cxnLst>
            <a:rect l="0" t="0" r="r" b="b"/>
            <a:pathLst>
              <a:path w="2718" h="146">
                <a:moveTo>
                  <a:pt x="2718" y="146"/>
                </a:moveTo>
                <a:lnTo>
                  <a:pt x="2359" y="0"/>
                </a:lnTo>
                <a:lnTo>
                  <a:pt x="2359" y="93"/>
                </a:lnTo>
                <a:lnTo>
                  <a:pt x="1" y="93"/>
                </a:lnTo>
                <a:lnTo>
                  <a:pt x="0" y="146"/>
                </a:lnTo>
                <a:lnTo>
                  <a:pt x="2718" y="146"/>
                </a:lnTo>
                <a:close/>
              </a:path>
            </a:pathLst>
          </a:custGeom>
          <a:solidFill>
            <a:srgbClr val="E0DECF"/>
          </a:solidFill>
          <a:ln>
            <a:noFill/>
          </a:ln>
          <a:effectLst/>
        </p:spPr>
        <p:txBody>
          <a:bodyP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mj-lt"/>
              <a:ea typeface="ＭＳ Ｐゴシック"/>
              <a:sym typeface="Verdana" panose="020B0604030504040204" pitchFamily="34" charset="0"/>
            </a:endParaRPr>
          </a:p>
        </p:txBody>
      </p:sp>
      <p:grpSp>
        <p:nvGrpSpPr>
          <p:cNvPr id="9" name="Group 8">
            <a:extLst>
              <a:ext uri="{FF2B5EF4-FFF2-40B4-BE49-F238E27FC236}">
                <a16:creationId xmlns:a16="http://schemas.microsoft.com/office/drawing/2014/main" id="{4122CCBA-F2D5-AF39-37C2-8A383F0B9088}"/>
              </a:ext>
            </a:extLst>
          </p:cNvPr>
          <p:cNvGrpSpPr/>
          <p:nvPr/>
        </p:nvGrpSpPr>
        <p:grpSpPr>
          <a:xfrm>
            <a:off x="219770" y="1716759"/>
            <a:ext cx="2971067" cy="4390790"/>
            <a:chOff x="-43572" y="1088248"/>
            <a:chExt cx="3916047" cy="4887572"/>
          </a:xfrm>
        </p:grpSpPr>
        <p:grpSp>
          <p:nvGrpSpPr>
            <p:cNvPr id="10" name="Group 9">
              <a:extLst>
                <a:ext uri="{FF2B5EF4-FFF2-40B4-BE49-F238E27FC236}">
                  <a16:creationId xmlns:a16="http://schemas.microsoft.com/office/drawing/2014/main" id="{D5AB0CF8-4D17-D3C4-72A1-25A25D6CC4B1}"/>
                </a:ext>
              </a:extLst>
            </p:cNvPr>
            <p:cNvGrpSpPr/>
            <p:nvPr/>
          </p:nvGrpSpPr>
          <p:grpSpPr>
            <a:xfrm>
              <a:off x="1006067" y="1088248"/>
              <a:ext cx="2866408" cy="4887572"/>
              <a:chOff x="1504547" y="683288"/>
              <a:chExt cx="3220548" cy="5491426"/>
            </a:xfrm>
          </p:grpSpPr>
          <p:grpSp>
            <p:nvGrpSpPr>
              <p:cNvPr id="32" name="Group 31">
                <a:extLst>
                  <a:ext uri="{FF2B5EF4-FFF2-40B4-BE49-F238E27FC236}">
                    <a16:creationId xmlns:a16="http://schemas.microsoft.com/office/drawing/2014/main" id="{D676436B-D219-1B10-90A8-420D638C8A12}"/>
                  </a:ext>
                </a:extLst>
              </p:cNvPr>
              <p:cNvGrpSpPr/>
              <p:nvPr/>
            </p:nvGrpSpPr>
            <p:grpSpPr>
              <a:xfrm>
                <a:off x="2992184" y="2954169"/>
                <a:ext cx="1732911" cy="949664"/>
                <a:chOff x="2992184" y="2954169"/>
                <a:chExt cx="1732911" cy="949664"/>
              </a:xfrm>
            </p:grpSpPr>
            <p:grpSp>
              <p:nvGrpSpPr>
                <p:cNvPr id="53" name="Group 52">
                  <a:extLst>
                    <a:ext uri="{FF2B5EF4-FFF2-40B4-BE49-F238E27FC236}">
                      <a16:creationId xmlns:a16="http://schemas.microsoft.com/office/drawing/2014/main" id="{E295DE6C-80A9-8EBF-C9BB-55880D85FD9F}"/>
                    </a:ext>
                  </a:extLst>
                </p:cNvPr>
                <p:cNvGrpSpPr/>
                <p:nvPr/>
              </p:nvGrpSpPr>
              <p:grpSpPr>
                <a:xfrm rot="5400000">
                  <a:off x="3383808" y="2562545"/>
                  <a:ext cx="949664" cy="1732911"/>
                  <a:chOff x="4106372" y="341833"/>
                  <a:chExt cx="1017797" cy="1857238"/>
                </a:xfrm>
              </p:grpSpPr>
              <p:sp>
                <p:nvSpPr>
                  <p:cNvPr id="55" name="Oval 54">
                    <a:extLst>
                      <a:ext uri="{FF2B5EF4-FFF2-40B4-BE49-F238E27FC236}">
                        <a16:creationId xmlns:a16="http://schemas.microsoft.com/office/drawing/2014/main" id="{3FCE59E7-9D16-FAC9-6144-2B05E5C4900D}"/>
                      </a:ext>
                    </a:extLst>
                  </p:cNvPr>
                  <p:cNvSpPr/>
                  <p:nvPr/>
                </p:nvSpPr>
                <p:spPr>
                  <a:xfrm>
                    <a:off x="4106372" y="341833"/>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56" name="Freeform 55">
                    <a:extLst>
                      <a:ext uri="{FF2B5EF4-FFF2-40B4-BE49-F238E27FC236}">
                        <a16:creationId xmlns:a16="http://schemas.microsoft.com/office/drawing/2014/main" id="{5414C6A1-50C5-2CC4-4053-80208E6183F6}"/>
                      </a:ext>
                    </a:extLst>
                  </p:cNvPr>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335D6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54" name="Freeform 53">
                  <a:extLst>
                    <a:ext uri="{FF2B5EF4-FFF2-40B4-BE49-F238E27FC236}">
                      <a16:creationId xmlns:a16="http://schemas.microsoft.com/office/drawing/2014/main" id="{0860DF06-B92B-021D-18D6-35C08B68F206}"/>
                    </a:ext>
                  </a:extLst>
                </p:cNvPr>
                <p:cNvSpPr/>
                <p:nvPr/>
              </p:nvSpPr>
              <p:spPr>
                <a:xfrm>
                  <a:off x="4007211" y="3270115"/>
                  <a:ext cx="339388" cy="317773"/>
                </a:xfrm>
                <a:custGeom>
                  <a:avLst/>
                  <a:gdLst>
                    <a:gd name="connsiteX0" fmla="*/ 284776 w 291708"/>
                    <a:gd name="connsiteY0" fmla="*/ 159426 h 273131"/>
                    <a:gd name="connsiteX1" fmla="*/ 224313 w 291708"/>
                    <a:gd name="connsiteY1" fmla="*/ 190386 h 273131"/>
                    <a:gd name="connsiteX2" fmla="*/ 224313 w 291708"/>
                    <a:gd name="connsiteY2" fmla="*/ 266898 h 273131"/>
                    <a:gd name="connsiteX3" fmla="*/ 224419 w 291708"/>
                    <a:gd name="connsiteY3" fmla="*/ 266887 h 273131"/>
                    <a:gd name="connsiteX4" fmla="*/ 228189 w 291708"/>
                    <a:gd name="connsiteY4" fmla="*/ 265746 h 273131"/>
                    <a:gd name="connsiteX5" fmla="*/ 285025 w 291708"/>
                    <a:gd name="connsiteY5" fmla="*/ 234424 h 273131"/>
                    <a:gd name="connsiteX6" fmla="*/ 285025 w 291708"/>
                    <a:gd name="connsiteY6" fmla="*/ 159569 h 273131"/>
                    <a:gd name="connsiteX7" fmla="*/ 141601 w 291708"/>
                    <a:gd name="connsiteY7" fmla="*/ 159426 h 273131"/>
                    <a:gd name="connsiteX8" fmla="*/ 81139 w 291708"/>
                    <a:gd name="connsiteY8" fmla="*/ 190386 h 273131"/>
                    <a:gd name="connsiteX9" fmla="*/ 81139 w 291708"/>
                    <a:gd name="connsiteY9" fmla="*/ 266898 h 273131"/>
                    <a:gd name="connsiteX10" fmla="*/ 81245 w 291708"/>
                    <a:gd name="connsiteY10" fmla="*/ 266887 h 273131"/>
                    <a:gd name="connsiteX11" fmla="*/ 85015 w 291708"/>
                    <a:gd name="connsiteY11" fmla="*/ 265746 h 273131"/>
                    <a:gd name="connsiteX12" fmla="*/ 141851 w 291708"/>
                    <a:gd name="connsiteY12" fmla="*/ 234424 h 273131"/>
                    <a:gd name="connsiteX13" fmla="*/ 141851 w 291708"/>
                    <a:gd name="connsiteY13" fmla="*/ 159569 h 273131"/>
                    <a:gd name="connsiteX14" fmla="*/ 150367 w 291708"/>
                    <a:gd name="connsiteY14" fmla="*/ 158796 h 273131"/>
                    <a:gd name="connsiteX15" fmla="*/ 149577 w 291708"/>
                    <a:gd name="connsiteY15" fmla="*/ 159209 h 273131"/>
                    <a:gd name="connsiteX16" fmla="*/ 149577 w 291708"/>
                    <a:gd name="connsiteY16" fmla="*/ 233893 h 273131"/>
                    <a:gd name="connsiteX17" fmla="*/ 211073 w 291708"/>
                    <a:gd name="connsiteY17" fmla="*/ 264684 h 273131"/>
                    <a:gd name="connsiteX18" fmla="*/ 212577 w 291708"/>
                    <a:gd name="connsiteY18" fmla="*/ 265266 h 273131"/>
                    <a:gd name="connsiteX19" fmla="*/ 212577 w 291708"/>
                    <a:gd name="connsiteY19" fmla="*/ 190651 h 273131"/>
                    <a:gd name="connsiteX20" fmla="*/ 7192 w 291708"/>
                    <a:gd name="connsiteY20" fmla="*/ 158796 h 273131"/>
                    <a:gd name="connsiteX21" fmla="*/ 6402 w 291708"/>
                    <a:gd name="connsiteY21" fmla="*/ 159209 h 273131"/>
                    <a:gd name="connsiteX22" fmla="*/ 6402 w 291708"/>
                    <a:gd name="connsiteY22" fmla="*/ 233893 h 273131"/>
                    <a:gd name="connsiteX23" fmla="*/ 67898 w 291708"/>
                    <a:gd name="connsiteY23" fmla="*/ 264684 h 273131"/>
                    <a:gd name="connsiteX24" fmla="*/ 69403 w 291708"/>
                    <a:gd name="connsiteY24" fmla="*/ 265266 h 273131"/>
                    <a:gd name="connsiteX25" fmla="*/ 69403 w 291708"/>
                    <a:gd name="connsiteY25" fmla="*/ 190651 h 273131"/>
                    <a:gd name="connsiteX26" fmla="*/ 219652 w 291708"/>
                    <a:gd name="connsiteY26" fmla="*/ 122578 h 273131"/>
                    <a:gd name="connsiteX27" fmla="*/ 156853 w 291708"/>
                    <a:gd name="connsiteY27" fmla="*/ 155406 h 273131"/>
                    <a:gd name="connsiteX28" fmla="*/ 214431 w 291708"/>
                    <a:gd name="connsiteY28" fmla="*/ 184888 h 273131"/>
                    <a:gd name="connsiteX29" fmla="*/ 221942 w 291708"/>
                    <a:gd name="connsiteY29" fmla="*/ 184888 h 273131"/>
                    <a:gd name="connsiteX30" fmla="*/ 278594 w 291708"/>
                    <a:gd name="connsiteY30" fmla="*/ 155880 h 273131"/>
                    <a:gd name="connsiteX31" fmla="*/ 277717 w 291708"/>
                    <a:gd name="connsiteY31" fmla="*/ 155377 h 273131"/>
                    <a:gd name="connsiteX32" fmla="*/ 219652 w 291708"/>
                    <a:gd name="connsiteY32" fmla="*/ 122578 h 273131"/>
                    <a:gd name="connsiteX33" fmla="*/ 76478 w 291708"/>
                    <a:gd name="connsiteY33" fmla="*/ 122578 h 273131"/>
                    <a:gd name="connsiteX34" fmla="*/ 13678 w 291708"/>
                    <a:gd name="connsiteY34" fmla="*/ 155406 h 273131"/>
                    <a:gd name="connsiteX35" fmla="*/ 71256 w 291708"/>
                    <a:gd name="connsiteY35" fmla="*/ 184888 h 273131"/>
                    <a:gd name="connsiteX36" fmla="*/ 78768 w 291708"/>
                    <a:gd name="connsiteY36" fmla="*/ 184888 h 273131"/>
                    <a:gd name="connsiteX37" fmla="*/ 135419 w 291708"/>
                    <a:gd name="connsiteY37" fmla="*/ 155880 h 273131"/>
                    <a:gd name="connsiteX38" fmla="*/ 134543 w 291708"/>
                    <a:gd name="connsiteY38" fmla="*/ 155377 h 273131"/>
                    <a:gd name="connsiteX39" fmla="*/ 76478 w 291708"/>
                    <a:gd name="connsiteY39" fmla="*/ 122578 h 273131"/>
                    <a:gd name="connsiteX40" fmla="*/ 75737 w 291708"/>
                    <a:gd name="connsiteY40" fmla="*/ 41255 h 273131"/>
                    <a:gd name="connsiteX41" fmla="*/ 143575 w 291708"/>
                    <a:gd name="connsiteY41" fmla="*/ 76005 h 273131"/>
                    <a:gd name="connsiteX42" fmla="*/ 143581 w 291708"/>
                    <a:gd name="connsiteY42" fmla="*/ 147405 h 273131"/>
                    <a:gd name="connsiteX43" fmla="*/ 145945 w 291708"/>
                    <a:gd name="connsiteY43" fmla="*/ 150032 h 273131"/>
                    <a:gd name="connsiteX44" fmla="*/ 148428 w 291708"/>
                    <a:gd name="connsiteY44" fmla="*/ 147413 h 273131"/>
                    <a:gd name="connsiteX45" fmla="*/ 148355 w 291708"/>
                    <a:gd name="connsiteY45" fmla="*/ 76058 h 273131"/>
                    <a:gd name="connsiteX46" fmla="*/ 219558 w 291708"/>
                    <a:gd name="connsiteY46" fmla="*/ 41255 h 273131"/>
                    <a:gd name="connsiteX47" fmla="*/ 219536 w 291708"/>
                    <a:gd name="connsiteY47" fmla="*/ 113670 h 273131"/>
                    <a:gd name="connsiteX48" fmla="*/ 283404 w 291708"/>
                    <a:gd name="connsiteY48" fmla="*/ 150085 h 273131"/>
                    <a:gd name="connsiteX49" fmla="*/ 286457 w 291708"/>
                    <a:gd name="connsiteY49" fmla="*/ 151854 h 273131"/>
                    <a:gd name="connsiteX50" fmla="*/ 286528 w 291708"/>
                    <a:gd name="connsiteY50" fmla="*/ 151818 h 273131"/>
                    <a:gd name="connsiteX51" fmla="*/ 286584 w 291708"/>
                    <a:gd name="connsiteY51" fmla="*/ 151927 h 273131"/>
                    <a:gd name="connsiteX52" fmla="*/ 291402 w 291708"/>
                    <a:gd name="connsiteY52" fmla="*/ 154719 h 273131"/>
                    <a:gd name="connsiteX53" fmla="*/ 291402 w 291708"/>
                    <a:gd name="connsiteY53" fmla="*/ 237454 h 273131"/>
                    <a:gd name="connsiteX54" fmla="*/ 229203 w 291708"/>
                    <a:gd name="connsiteY54" fmla="*/ 272074 h 273131"/>
                    <a:gd name="connsiteX55" fmla="*/ 210472 w 291708"/>
                    <a:gd name="connsiteY55" fmla="*/ 270900 h 273131"/>
                    <a:gd name="connsiteX56" fmla="*/ 146374 w 291708"/>
                    <a:gd name="connsiteY56" fmla="*/ 238485 h 273131"/>
                    <a:gd name="connsiteX57" fmla="*/ 86029 w 291708"/>
                    <a:gd name="connsiteY57" fmla="*/ 272074 h 273131"/>
                    <a:gd name="connsiteX58" fmla="*/ 67297 w 291708"/>
                    <a:gd name="connsiteY58" fmla="*/ 270900 h 273131"/>
                    <a:gd name="connsiteX59" fmla="*/ 0 w 291708"/>
                    <a:gd name="connsiteY59" fmla="*/ 236867 h 273131"/>
                    <a:gd name="connsiteX60" fmla="*/ 0 w 291708"/>
                    <a:gd name="connsiteY60" fmla="*/ 154320 h 273131"/>
                    <a:gd name="connsiteX61" fmla="*/ 75629 w 291708"/>
                    <a:gd name="connsiteY61" fmla="*/ 114134 h 273131"/>
                    <a:gd name="connsiteX62" fmla="*/ 75737 w 291708"/>
                    <a:gd name="connsiteY62" fmla="*/ 41255 h 273131"/>
                    <a:gd name="connsiteX63" fmla="*/ 145931 w 291708"/>
                    <a:gd name="connsiteY63" fmla="*/ 0 h 273131"/>
                    <a:gd name="connsiteX64" fmla="*/ 219111 w 291708"/>
                    <a:gd name="connsiteY64" fmla="*/ 37326 h 273131"/>
                    <a:gd name="connsiteX65" fmla="*/ 146046 w 291708"/>
                    <a:gd name="connsiteY65" fmla="*/ 72245 h 273131"/>
                    <a:gd name="connsiteX66" fmla="*/ 75842 w 291708"/>
                    <a:gd name="connsiteY66" fmla="*/ 37277 h 27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91708" h="273131">
                      <a:moveTo>
                        <a:pt x="284776" y="159426"/>
                      </a:moveTo>
                      <a:lnTo>
                        <a:pt x="224313" y="190386"/>
                      </a:lnTo>
                      <a:lnTo>
                        <a:pt x="224313" y="266898"/>
                      </a:lnTo>
                      <a:lnTo>
                        <a:pt x="224419" y="266887"/>
                      </a:lnTo>
                      <a:cubicBezTo>
                        <a:pt x="225682" y="266613"/>
                        <a:pt x="226922" y="266216"/>
                        <a:pt x="228189" y="265746"/>
                      </a:cubicBezTo>
                      <a:lnTo>
                        <a:pt x="285025" y="234424"/>
                      </a:lnTo>
                      <a:cubicBezTo>
                        <a:pt x="285204" y="197262"/>
                        <a:pt x="285555" y="184581"/>
                        <a:pt x="285025" y="159569"/>
                      </a:cubicBezTo>
                      <a:close/>
                      <a:moveTo>
                        <a:pt x="141601" y="159426"/>
                      </a:moveTo>
                      <a:lnTo>
                        <a:pt x="81139" y="190386"/>
                      </a:lnTo>
                      <a:lnTo>
                        <a:pt x="81139" y="266898"/>
                      </a:lnTo>
                      <a:lnTo>
                        <a:pt x="81245" y="266887"/>
                      </a:lnTo>
                      <a:cubicBezTo>
                        <a:pt x="82508" y="266613"/>
                        <a:pt x="83748" y="266216"/>
                        <a:pt x="85015" y="265746"/>
                      </a:cubicBezTo>
                      <a:lnTo>
                        <a:pt x="141851" y="234424"/>
                      </a:lnTo>
                      <a:cubicBezTo>
                        <a:pt x="142030" y="197262"/>
                        <a:pt x="142380" y="184581"/>
                        <a:pt x="141851" y="159569"/>
                      </a:cubicBezTo>
                      <a:close/>
                      <a:moveTo>
                        <a:pt x="150367" y="158796"/>
                      </a:moveTo>
                      <a:lnTo>
                        <a:pt x="149577" y="159209"/>
                      </a:lnTo>
                      <a:lnTo>
                        <a:pt x="149577" y="233893"/>
                      </a:lnTo>
                      <a:lnTo>
                        <a:pt x="211073" y="264684"/>
                      </a:lnTo>
                      <a:lnTo>
                        <a:pt x="212577" y="265266"/>
                      </a:lnTo>
                      <a:lnTo>
                        <a:pt x="212577" y="190651"/>
                      </a:lnTo>
                      <a:close/>
                      <a:moveTo>
                        <a:pt x="7192" y="158796"/>
                      </a:moveTo>
                      <a:lnTo>
                        <a:pt x="6402" y="159209"/>
                      </a:lnTo>
                      <a:lnTo>
                        <a:pt x="6402" y="233893"/>
                      </a:lnTo>
                      <a:lnTo>
                        <a:pt x="67898" y="264684"/>
                      </a:lnTo>
                      <a:lnTo>
                        <a:pt x="69403" y="265266"/>
                      </a:lnTo>
                      <a:lnTo>
                        <a:pt x="69403" y="190651"/>
                      </a:lnTo>
                      <a:close/>
                      <a:moveTo>
                        <a:pt x="219652" y="122578"/>
                      </a:moveTo>
                      <a:lnTo>
                        <a:pt x="156853" y="155406"/>
                      </a:lnTo>
                      <a:lnTo>
                        <a:pt x="214431" y="184888"/>
                      </a:lnTo>
                      <a:lnTo>
                        <a:pt x="221942" y="184888"/>
                      </a:lnTo>
                      <a:lnTo>
                        <a:pt x="278594" y="155880"/>
                      </a:lnTo>
                      <a:lnTo>
                        <a:pt x="277717" y="155377"/>
                      </a:lnTo>
                      <a:cubicBezTo>
                        <a:pt x="243578" y="135774"/>
                        <a:pt x="244167" y="135824"/>
                        <a:pt x="219652" y="122578"/>
                      </a:cubicBezTo>
                      <a:close/>
                      <a:moveTo>
                        <a:pt x="76478" y="122578"/>
                      </a:moveTo>
                      <a:lnTo>
                        <a:pt x="13678" y="155406"/>
                      </a:lnTo>
                      <a:lnTo>
                        <a:pt x="71256" y="184888"/>
                      </a:lnTo>
                      <a:lnTo>
                        <a:pt x="78768" y="184888"/>
                      </a:lnTo>
                      <a:lnTo>
                        <a:pt x="135419" y="155880"/>
                      </a:lnTo>
                      <a:lnTo>
                        <a:pt x="134543" y="155377"/>
                      </a:lnTo>
                      <a:cubicBezTo>
                        <a:pt x="100404" y="135774"/>
                        <a:pt x="100993" y="135824"/>
                        <a:pt x="76478" y="122578"/>
                      </a:cubicBezTo>
                      <a:close/>
                      <a:moveTo>
                        <a:pt x="75737" y="41255"/>
                      </a:moveTo>
                      <a:lnTo>
                        <a:pt x="143575" y="76005"/>
                      </a:lnTo>
                      <a:cubicBezTo>
                        <a:pt x="143661" y="101376"/>
                        <a:pt x="143726" y="133012"/>
                        <a:pt x="143581" y="147405"/>
                      </a:cubicBezTo>
                      <a:lnTo>
                        <a:pt x="145945" y="150032"/>
                      </a:lnTo>
                      <a:lnTo>
                        <a:pt x="148428" y="147413"/>
                      </a:lnTo>
                      <a:cubicBezTo>
                        <a:pt x="148370" y="130379"/>
                        <a:pt x="148316" y="112435"/>
                        <a:pt x="148355" y="76058"/>
                      </a:cubicBezTo>
                      <a:lnTo>
                        <a:pt x="219558" y="41255"/>
                      </a:lnTo>
                      <a:cubicBezTo>
                        <a:pt x="219714" y="64612"/>
                        <a:pt x="219440" y="92774"/>
                        <a:pt x="219536" y="113670"/>
                      </a:cubicBezTo>
                      <a:cubicBezTo>
                        <a:pt x="246364" y="128310"/>
                        <a:pt x="246044" y="128418"/>
                        <a:pt x="283404" y="150085"/>
                      </a:cubicBezTo>
                      <a:lnTo>
                        <a:pt x="286457" y="151854"/>
                      </a:lnTo>
                      <a:lnTo>
                        <a:pt x="286528" y="151818"/>
                      </a:lnTo>
                      <a:lnTo>
                        <a:pt x="286584" y="151927"/>
                      </a:lnTo>
                      <a:lnTo>
                        <a:pt x="291402" y="154719"/>
                      </a:lnTo>
                      <a:cubicBezTo>
                        <a:pt x="291981" y="182363"/>
                        <a:pt x="291597" y="196380"/>
                        <a:pt x="291402" y="237454"/>
                      </a:cubicBezTo>
                      <a:lnTo>
                        <a:pt x="229203" y="272074"/>
                      </a:lnTo>
                      <a:cubicBezTo>
                        <a:pt x="225111" y="273639"/>
                        <a:pt x="215738" y="273639"/>
                        <a:pt x="210472" y="270900"/>
                      </a:cubicBezTo>
                      <a:lnTo>
                        <a:pt x="146374" y="238485"/>
                      </a:lnTo>
                      <a:lnTo>
                        <a:pt x="86029" y="272074"/>
                      </a:lnTo>
                      <a:cubicBezTo>
                        <a:pt x="81937" y="273639"/>
                        <a:pt x="72563" y="273639"/>
                        <a:pt x="67297" y="270900"/>
                      </a:cubicBezTo>
                      <a:lnTo>
                        <a:pt x="0" y="236867"/>
                      </a:lnTo>
                      <a:lnTo>
                        <a:pt x="0" y="154320"/>
                      </a:lnTo>
                      <a:lnTo>
                        <a:pt x="75629" y="114134"/>
                      </a:lnTo>
                      <a:cubicBezTo>
                        <a:pt x="75665" y="89192"/>
                        <a:pt x="75701" y="65710"/>
                        <a:pt x="75737" y="41255"/>
                      </a:cubicBezTo>
                      <a:close/>
                      <a:moveTo>
                        <a:pt x="145931" y="0"/>
                      </a:moveTo>
                      <a:lnTo>
                        <a:pt x="219111" y="37326"/>
                      </a:lnTo>
                      <a:lnTo>
                        <a:pt x="146046" y="72245"/>
                      </a:lnTo>
                      <a:lnTo>
                        <a:pt x="75842" y="37277"/>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prstClr val="white"/>
                      </a:solidFill>
                      <a:latin typeface="Arial" panose="020B0604020202020204" pitchFamily="34" charset="0"/>
                      <a:cs typeface="Arial" panose="020B0604020202020204" pitchFamily="34" charset="0"/>
                    </a:rPr>
                    <a:t>          </a:t>
                  </a:r>
                </a:p>
              </p:txBody>
            </p:sp>
          </p:grpSp>
          <p:grpSp>
            <p:nvGrpSpPr>
              <p:cNvPr id="33" name="Group 32">
                <a:extLst>
                  <a:ext uri="{FF2B5EF4-FFF2-40B4-BE49-F238E27FC236}">
                    <a16:creationId xmlns:a16="http://schemas.microsoft.com/office/drawing/2014/main" id="{481BC8A8-0F89-89FC-8E34-3EC079F3EA62}"/>
                  </a:ext>
                </a:extLst>
              </p:cNvPr>
              <p:cNvGrpSpPr/>
              <p:nvPr/>
            </p:nvGrpSpPr>
            <p:grpSpPr>
              <a:xfrm>
                <a:off x="2441760" y="1625332"/>
                <a:ext cx="1732912" cy="949664"/>
                <a:chOff x="2441760" y="1625332"/>
                <a:chExt cx="1732912" cy="949664"/>
              </a:xfrm>
            </p:grpSpPr>
            <p:grpSp>
              <p:nvGrpSpPr>
                <p:cNvPr id="49" name="Group 48">
                  <a:extLst>
                    <a:ext uri="{FF2B5EF4-FFF2-40B4-BE49-F238E27FC236}">
                      <a16:creationId xmlns:a16="http://schemas.microsoft.com/office/drawing/2014/main" id="{9C0C7D26-E60E-9304-1678-68253306297A}"/>
                    </a:ext>
                  </a:extLst>
                </p:cNvPr>
                <p:cNvGrpSpPr/>
                <p:nvPr/>
              </p:nvGrpSpPr>
              <p:grpSpPr>
                <a:xfrm rot="2700000">
                  <a:off x="2833384" y="1233708"/>
                  <a:ext cx="949664" cy="1732912"/>
                  <a:chOff x="4106373" y="341832"/>
                  <a:chExt cx="1017797" cy="1857239"/>
                </a:xfrm>
              </p:grpSpPr>
              <p:sp>
                <p:nvSpPr>
                  <p:cNvPr id="51" name="Oval 50">
                    <a:extLst>
                      <a:ext uri="{FF2B5EF4-FFF2-40B4-BE49-F238E27FC236}">
                        <a16:creationId xmlns:a16="http://schemas.microsoft.com/office/drawing/2014/main" id="{72084F43-C90B-5727-6E9E-2067CC86B0A4}"/>
                      </a:ext>
                    </a:extLst>
                  </p:cNvPr>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52" name="Freeform 51">
                    <a:extLst>
                      <a:ext uri="{FF2B5EF4-FFF2-40B4-BE49-F238E27FC236}">
                        <a16:creationId xmlns:a16="http://schemas.microsoft.com/office/drawing/2014/main" id="{38C96ADA-4C5E-70A7-44AB-C4D69D27DF14}"/>
                      </a:ext>
                    </a:extLst>
                  </p:cNvPr>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9EBEA6"/>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50" name="Freeform 49">
                  <a:extLst>
                    <a:ext uri="{FF2B5EF4-FFF2-40B4-BE49-F238E27FC236}">
                      <a16:creationId xmlns:a16="http://schemas.microsoft.com/office/drawing/2014/main" id="{2C5EF2FD-3CC0-9D35-0FB2-17412B4E7EBF}"/>
                    </a:ext>
                  </a:extLst>
                </p:cNvPr>
                <p:cNvSpPr/>
                <p:nvPr/>
              </p:nvSpPr>
              <p:spPr>
                <a:xfrm>
                  <a:off x="3352925" y="1739967"/>
                  <a:ext cx="356750" cy="296628"/>
                </a:xfrm>
                <a:custGeom>
                  <a:avLst/>
                  <a:gdLst>
                    <a:gd name="connsiteX0" fmla="*/ 44101 w 220267"/>
                    <a:gd name="connsiteY0" fmla="*/ 100231 h 183146"/>
                    <a:gd name="connsiteX1" fmla="*/ 53879 w 220267"/>
                    <a:gd name="connsiteY1" fmla="*/ 104488 h 183146"/>
                    <a:gd name="connsiteX2" fmla="*/ 56669 w 220267"/>
                    <a:gd name="connsiteY2" fmla="*/ 119638 h 183146"/>
                    <a:gd name="connsiteX3" fmla="*/ 55828 w 220267"/>
                    <a:gd name="connsiteY3" fmla="*/ 121167 h 183146"/>
                    <a:gd name="connsiteX4" fmla="*/ 56191 w 220267"/>
                    <a:gd name="connsiteY4" fmla="*/ 120985 h 183146"/>
                    <a:gd name="connsiteX5" fmla="*/ 61661 w 220267"/>
                    <a:gd name="connsiteY5" fmla="*/ 120022 h 183146"/>
                    <a:gd name="connsiteX6" fmla="*/ 71829 w 220267"/>
                    <a:gd name="connsiteY6" fmla="*/ 124449 h 183146"/>
                    <a:gd name="connsiteX7" fmla="*/ 71829 w 220267"/>
                    <a:gd name="connsiteY7" fmla="*/ 124450 h 183146"/>
                    <a:gd name="connsiteX8" fmla="*/ 75574 w 220267"/>
                    <a:gd name="connsiteY8" fmla="*/ 137532 h 183146"/>
                    <a:gd name="connsiteX9" fmla="*/ 75493 w 220267"/>
                    <a:gd name="connsiteY9" fmla="*/ 137789 h 183146"/>
                    <a:gd name="connsiteX10" fmla="*/ 76354 w 220267"/>
                    <a:gd name="connsiteY10" fmla="*/ 137111 h 183146"/>
                    <a:gd name="connsiteX11" fmla="*/ 84066 w 220267"/>
                    <a:gd name="connsiteY11" fmla="*/ 134952 h 183146"/>
                    <a:gd name="connsiteX12" fmla="*/ 93851 w 220267"/>
                    <a:gd name="connsiteY12" fmla="*/ 139212 h 183146"/>
                    <a:gd name="connsiteX13" fmla="*/ 94855 w 220267"/>
                    <a:gd name="connsiteY13" fmla="*/ 140254 h 183146"/>
                    <a:gd name="connsiteX14" fmla="*/ 98459 w 220267"/>
                    <a:gd name="connsiteY14" fmla="*/ 152843 h 183146"/>
                    <a:gd name="connsiteX15" fmla="*/ 98426 w 220267"/>
                    <a:gd name="connsiteY15" fmla="*/ 152949 h 183146"/>
                    <a:gd name="connsiteX16" fmla="*/ 100544 w 220267"/>
                    <a:gd name="connsiteY16" fmla="*/ 151850 h 183146"/>
                    <a:gd name="connsiteX17" fmla="*/ 116138 w 220267"/>
                    <a:gd name="connsiteY17" fmla="*/ 154977 h 183146"/>
                    <a:gd name="connsiteX18" fmla="*/ 115325 w 220267"/>
                    <a:gd name="connsiteY18" fmla="*/ 175482 h 183146"/>
                    <a:gd name="connsiteX19" fmla="*/ 94805 w 220267"/>
                    <a:gd name="connsiteY19" fmla="*/ 175558 h 183146"/>
                    <a:gd name="connsiteX20" fmla="*/ 90961 w 220267"/>
                    <a:gd name="connsiteY20" fmla="*/ 165321 h 183146"/>
                    <a:gd name="connsiteX21" fmla="*/ 91263 w 220267"/>
                    <a:gd name="connsiteY21" fmla="*/ 163094 h 183146"/>
                    <a:gd name="connsiteX22" fmla="*/ 90038 w 220267"/>
                    <a:gd name="connsiteY22" fmla="*/ 164276 h 183146"/>
                    <a:gd name="connsiteX23" fmla="*/ 70321 w 220267"/>
                    <a:gd name="connsiteY23" fmla="*/ 163922 h 183146"/>
                    <a:gd name="connsiteX24" fmla="*/ 69317 w 220267"/>
                    <a:gd name="connsiteY24" fmla="*/ 162881 h 183146"/>
                    <a:gd name="connsiteX25" fmla="*/ 65410 w 220267"/>
                    <a:gd name="connsiteY25" fmla="*/ 152949 h 183146"/>
                    <a:gd name="connsiteX26" fmla="*/ 65689 w 220267"/>
                    <a:gd name="connsiteY26" fmla="*/ 150507 h 183146"/>
                    <a:gd name="connsiteX27" fmla="*/ 64932 w 220267"/>
                    <a:gd name="connsiteY27" fmla="*/ 151237 h 183146"/>
                    <a:gd name="connsiteX28" fmla="*/ 44444 w 220267"/>
                    <a:gd name="connsiteY28" fmla="*/ 150869 h 183146"/>
                    <a:gd name="connsiteX29" fmla="*/ 42914 w 220267"/>
                    <a:gd name="connsiteY29" fmla="*/ 132620 h 183146"/>
                    <a:gd name="connsiteX30" fmla="*/ 44026 w 220267"/>
                    <a:gd name="connsiteY30" fmla="*/ 131307 h 183146"/>
                    <a:gd name="connsiteX31" fmla="*/ 42197 w 220267"/>
                    <a:gd name="connsiteY31" fmla="*/ 131814 h 183146"/>
                    <a:gd name="connsiteX32" fmla="*/ 29753 w 220267"/>
                    <a:gd name="connsiteY32" fmla="*/ 127763 h 183146"/>
                    <a:gd name="connsiteX33" fmla="*/ 30107 w 220267"/>
                    <a:gd name="connsiteY33" fmla="*/ 108059 h 183146"/>
                    <a:gd name="connsiteX34" fmla="*/ 34176 w 220267"/>
                    <a:gd name="connsiteY34" fmla="*/ 104134 h 183146"/>
                    <a:gd name="connsiteX35" fmla="*/ 44101 w 220267"/>
                    <a:gd name="connsiteY35" fmla="*/ 100231 h 183146"/>
                    <a:gd name="connsiteX36" fmla="*/ 143014 w 220267"/>
                    <a:gd name="connsiteY36" fmla="*/ 54535 h 183146"/>
                    <a:gd name="connsiteX37" fmla="*/ 197042 w 220267"/>
                    <a:gd name="connsiteY37" fmla="*/ 103570 h 183146"/>
                    <a:gd name="connsiteX38" fmla="*/ 192227 w 220267"/>
                    <a:gd name="connsiteY38" fmla="*/ 133883 h 183146"/>
                    <a:gd name="connsiteX39" fmla="*/ 175110 w 220267"/>
                    <a:gd name="connsiteY39" fmla="*/ 156171 h 183146"/>
                    <a:gd name="connsiteX40" fmla="*/ 154782 w 220267"/>
                    <a:gd name="connsiteY40" fmla="*/ 170793 h 183146"/>
                    <a:gd name="connsiteX41" fmla="*/ 124113 w 220267"/>
                    <a:gd name="connsiteY41" fmla="*/ 179352 h 183146"/>
                    <a:gd name="connsiteX42" fmla="*/ 128928 w 220267"/>
                    <a:gd name="connsiteY42" fmla="*/ 168653 h 183146"/>
                    <a:gd name="connsiteX43" fmla="*/ 143727 w 220267"/>
                    <a:gd name="connsiteY43" fmla="*/ 165443 h 183146"/>
                    <a:gd name="connsiteX44" fmla="*/ 129106 w 220267"/>
                    <a:gd name="connsiteY44" fmla="*/ 152249 h 183146"/>
                    <a:gd name="connsiteX45" fmla="*/ 135703 w 220267"/>
                    <a:gd name="connsiteY45" fmla="*/ 143868 h 183146"/>
                    <a:gd name="connsiteX46" fmla="*/ 155496 w 220267"/>
                    <a:gd name="connsiteY46" fmla="*/ 158668 h 183146"/>
                    <a:gd name="connsiteX47" fmla="*/ 162450 w 220267"/>
                    <a:gd name="connsiteY47" fmla="*/ 150287 h 183146"/>
                    <a:gd name="connsiteX48" fmla="*/ 144262 w 220267"/>
                    <a:gd name="connsiteY48" fmla="*/ 135666 h 183146"/>
                    <a:gd name="connsiteX49" fmla="*/ 151216 w 220267"/>
                    <a:gd name="connsiteY49" fmla="*/ 127107 h 183146"/>
                    <a:gd name="connsiteX50" fmla="*/ 173148 w 220267"/>
                    <a:gd name="connsiteY50" fmla="*/ 143868 h 183146"/>
                    <a:gd name="connsiteX51" fmla="*/ 180102 w 220267"/>
                    <a:gd name="connsiteY51" fmla="*/ 135309 h 183146"/>
                    <a:gd name="connsiteX52" fmla="*/ 157100 w 220267"/>
                    <a:gd name="connsiteY52" fmla="*/ 116943 h 183146"/>
                    <a:gd name="connsiteX53" fmla="*/ 162628 w 220267"/>
                    <a:gd name="connsiteY53" fmla="*/ 107671 h 183146"/>
                    <a:gd name="connsiteX54" fmla="*/ 181172 w 220267"/>
                    <a:gd name="connsiteY54" fmla="*/ 120866 h 183146"/>
                    <a:gd name="connsiteX55" fmla="*/ 188304 w 220267"/>
                    <a:gd name="connsiteY55" fmla="*/ 110881 h 183146"/>
                    <a:gd name="connsiteX56" fmla="*/ 131602 w 220267"/>
                    <a:gd name="connsiteY56" fmla="*/ 58814 h 183146"/>
                    <a:gd name="connsiteX57" fmla="*/ 143014 w 220267"/>
                    <a:gd name="connsiteY57" fmla="*/ 54535 h 183146"/>
                    <a:gd name="connsiteX58" fmla="*/ 47678 w 220267"/>
                    <a:gd name="connsiteY58" fmla="*/ 524 h 183146"/>
                    <a:gd name="connsiteX59" fmla="*/ 57539 w 220267"/>
                    <a:gd name="connsiteY59" fmla="*/ 4171 h 183146"/>
                    <a:gd name="connsiteX60" fmla="*/ 90509 w 220267"/>
                    <a:gd name="connsiteY60" fmla="*/ 8832 h 183146"/>
                    <a:gd name="connsiteX61" fmla="*/ 92235 w 220267"/>
                    <a:gd name="connsiteY61" fmla="*/ 13838 h 183146"/>
                    <a:gd name="connsiteX62" fmla="*/ 54950 w 220267"/>
                    <a:gd name="connsiteY62" fmla="*/ 16772 h 183146"/>
                    <a:gd name="connsiteX63" fmla="*/ 40104 w 220267"/>
                    <a:gd name="connsiteY63" fmla="*/ 15046 h 183146"/>
                    <a:gd name="connsiteX64" fmla="*/ 14212 w 220267"/>
                    <a:gd name="connsiteY64" fmla="*/ 43873 h 183146"/>
                    <a:gd name="connsiteX65" fmla="*/ 13521 w 220267"/>
                    <a:gd name="connsiteY65" fmla="*/ 54576 h 183146"/>
                    <a:gd name="connsiteX66" fmla="*/ 23878 w 220267"/>
                    <a:gd name="connsiteY66" fmla="*/ 65451 h 183146"/>
                    <a:gd name="connsiteX67" fmla="*/ 28712 w 220267"/>
                    <a:gd name="connsiteY67" fmla="*/ 78570 h 183146"/>
                    <a:gd name="connsiteX68" fmla="*/ 32509 w 220267"/>
                    <a:gd name="connsiteY68" fmla="*/ 93070 h 183146"/>
                    <a:gd name="connsiteX69" fmla="*/ 24742 w 220267"/>
                    <a:gd name="connsiteY69" fmla="*/ 99803 h 183146"/>
                    <a:gd name="connsiteX70" fmla="*/ 17837 w 220267"/>
                    <a:gd name="connsiteY70" fmla="*/ 82195 h 183146"/>
                    <a:gd name="connsiteX71" fmla="*/ 7825 w 220267"/>
                    <a:gd name="connsiteY71" fmla="*/ 65106 h 183146"/>
                    <a:gd name="connsiteX72" fmla="*/ 3510 w 220267"/>
                    <a:gd name="connsiteY72" fmla="*/ 39040 h 183146"/>
                    <a:gd name="connsiteX73" fmla="*/ 35099 w 220267"/>
                    <a:gd name="connsiteY73" fmla="*/ 4516 h 183146"/>
                    <a:gd name="connsiteX74" fmla="*/ 47678 w 220267"/>
                    <a:gd name="connsiteY74" fmla="*/ 524 h 183146"/>
                    <a:gd name="connsiteX75" fmla="*/ 182574 w 220267"/>
                    <a:gd name="connsiteY75" fmla="*/ 357 h 183146"/>
                    <a:gd name="connsiteX76" fmla="*/ 190928 w 220267"/>
                    <a:gd name="connsiteY76" fmla="*/ 5012 h 183146"/>
                    <a:gd name="connsiteX77" fmla="*/ 216639 w 220267"/>
                    <a:gd name="connsiteY77" fmla="*/ 33183 h 183146"/>
                    <a:gd name="connsiteX78" fmla="*/ 219132 w 220267"/>
                    <a:gd name="connsiteY78" fmla="*/ 47858 h 183146"/>
                    <a:gd name="connsiteX79" fmla="*/ 207928 w 220267"/>
                    <a:gd name="connsiteY79" fmla="*/ 61251 h 183146"/>
                    <a:gd name="connsiteX80" fmla="*/ 200845 w 220267"/>
                    <a:gd name="connsiteY80" fmla="*/ 82500 h 183146"/>
                    <a:gd name="connsiteX81" fmla="*/ 190672 w 220267"/>
                    <a:gd name="connsiteY81" fmla="*/ 85461 h 183146"/>
                    <a:gd name="connsiteX82" fmla="*/ 153156 w 220267"/>
                    <a:gd name="connsiteY82" fmla="*/ 49730 h 183146"/>
                    <a:gd name="connsiteX83" fmla="*/ 136605 w 220267"/>
                    <a:gd name="connsiteY83" fmla="*/ 46214 h 183146"/>
                    <a:gd name="connsiteX84" fmla="*/ 122164 w 220267"/>
                    <a:gd name="connsiteY84" fmla="*/ 44267 h 183146"/>
                    <a:gd name="connsiteX85" fmla="*/ 109670 w 220267"/>
                    <a:gd name="connsiteY85" fmla="*/ 45728 h 183146"/>
                    <a:gd name="connsiteX86" fmla="*/ 76237 w 220267"/>
                    <a:gd name="connsiteY86" fmla="*/ 65087 h 183146"/>
                    <a:gd name="connsiteX87" fmla="*/ 63101 w 220267"/>
                    <a:gd name="connsiteY87" fmla="*/ 47837 h 183146"/>
                    <a:gd name="connsiteX88" fmla="*/ 103335 w 220267"/>
                    <a:gd name="connsiteY88" fmla="*/ 17150 h 183146"/>
                    <a:gd name="connsiteX89" fmla="*/ 155773 w 220267"/>
                    <a:gd name="connsiteY89" fmla="*/ 11156 h 183146"/>
                    <a:gd name="connsiteX90" fmla="*/ 172385 w 220267"/>
                    <a:gd name="connsiteY90" fmla="*/ 2656 h 183146"/>
                    <a:gd name="connsiteX91" fmla="*/ 182574 w 220267"/>
                    <a:gd name="connsiteY91" fmla="*/ 357 h 18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0267" h="183146">
                      <a:moveTo>
                        <a:pt x="44101" y="100231"/>
                      </a:moveTo>
                      <a:cubicBezTo>
                        <a:pt x="47666" y="100295"/>
                        <a:pt x="51207" y="101719"/>
                        <a:pt x="53879" y="104488"/>
                      </a:cubicBezTo>
                      <a:cubicBezTo>
                        <a:pt x="57887" y="108642"/>
                        <a:pt x="58799" y="114643"/>
                        <a:pt x="56669" y="119638"/>
                      </a:cubicBezTo>
                      <a:lnTo>
                        <a:pt x="55828" y="121167"/>
                      </a:lnTo>
                      <a:lnTo>
                        <a:pt x="56191" y="120985"/>
                      </a:lnTo>
                      <a:cubicBezTo>
                        <a:pt x="57947" y="120309"/>
                        <a:pt x="59807" y="119989"/>
                        <a:pt x="61661" y="120022"/>
                      </a:cubicBezTo>
                      <a:cubicBezTo>
                        <a:pt x="65369" y="120089"/>
                        <a:pt x="69051" y="121570"/>
                        <a:pt x="71829" y="124449"/>
                      </a:cubicBezTo>
                      <a:lnTo>
                        <a:pt x="71829" y="124450"/>
                      </a:lnTo>
                      <a:cubicBezTo>
                        <a:pt x="75302" y="128049"/>
                        <a:pt x="76540" y="132982"/>
                        <a:pt x="75574" y="137532"/>
                      </a:cubicBezTo>
                      <a:lnTo>
                        <a:pt x="75493" y="137789"/>
                      </a:lnTo>
                      <a:lnTo>
                        <a:pt x="76354" y="137111"/>
                      </a:lnTo>
                      <a:cubicBezTo>
                        <a:pt x="78700" y="135621"/>
                        <a:pt x="81390" y="134904"/>
                        <a:pt x="84066" y="134952"/>
                      </a:cubicBezTo>
                      <a:cubicBezTo>
                        <a:pt x="87634" y="135016"/>
                        <a:pt x="91178" y="136441"/>
                        <a:pt x="93851" y="139212"/>
                      </a:cubicBezTo>
                      <a:lnTo>
                        <a:pt x="94855" y="140254"/>
                      </a:lnTo>
                      <a:cubicBezTo>
                        <a:pt x="98197" y="143718"/>
                        <a:pt x="99389" y="148465"/>
                        <a:pt x="98459" y="152843"/>
                      </a:cubicBezTo>
                      <a:lnTo>
                        <a:pt x="98426" y="152949"/>
                      </a:lnTo>
                      <a:lnTo>
                        <a:pt x="100544" y="151850"/>
                      </a:lnTo>
                      <a:cubicBezTo>
                        <a:pt x="105868" y="149708"/>
                        <a:pt x="112056" y="150746"/>
                        <a:pt x="116138" y="154977"/>
                      </a:cubicBezTo>
                      <a:cubicBezTo>
                        <a:pt x="121580" y="160618"/>
                        <a:pt x="121216" y="169798"/>
                        <a:pt x="115325" y="175482"/>
                      </a:cubicBezTo>
                      <a:cubicBezTo>
                        <a:pt x="109435" y="181165"/>
                        <a:pt x="100247" y="181199"/>
                        <a:pt x="94805" y="175558"/>
                      </a:cubicBezTo>
                      <a:cubicBezTo>
                        <a:pt x="92084" y="172737"/>
                        <a:pt x="90814" y="169032"/>
                        <a:pt x="90961" y="165321"/>
                      </a:cubicBezTo>
                      <a:lnTo>
                        <a:pt x="91263" y="163094"/>
                      </a:lnTo>
                      <a:lnTo>
                        <a:pt x="90038" y="164276"/>
                      </a:lnTo>
                      <a:cubicBezTo>
                        <a:pt x="84496" y="169623"/>
                        <a:pt x="75668" y="169465"/>
                        <a:pt x="70321" y="163922"/>
                      </a:cubicBezTo>
                      <a:lnTo>
                        <a:pt x="69317" y="162881"/>
                      </a:lnTo>
                      <a:cubicBezTo>
                        <a:pt x="66643" y="160110"/>
                        <a:pt x="65346" y="156517"/>
                        <a:pt x="65410" y="152949"/>
                      </a:cubicBezTo>
                      <a:lnTo>
                        <a:pt x="65689" y="150507"/>
                      </a:lnTo>
                      <a:lnTo>
                        <a:pt x="64932" y="151237"/>
                      </a:lnTo>
                      <a:cubicBezTo>
                        <a:pt x="59173" y="156793"/>
                        <a:pt x="50000" y="156628"/>
                        <a:pt x="44444" y="150869"/>
                      </a:cubicBezTo>
                      <a:cubicBezTo>
                        <a:pt x="39582" y="145829"/>
                        <a:pt x="39101" y="138176"/>
                        <a:pt x="42914" y="132620"/>
                      </a:cubicBezTo>
                      <a:lnTo>
                        <a:pt x="44026" y="131307"/>
                      </a:lnTo>
                      <a:lnTo>
                        <a:pt x="42197" y="131814"/>
                      </a:lnTo>
                      <a:cubicBezTo>
                        <a:pt x="37791" y="132585"/>
                        <a:pt x="33093" y="131225"/>
                        <a:pt x="29753" y="127763"/>
                      </a:cubicBezTo>
                      <a:cubicBezTo>
                        <a:pt x="24410" y="122224"/>
                        <a:pt x="24568" y="113403"/>
                        <a:pt x="30107" y="108059"/>
                      </a:cubicBezTo>
                      <a:cubicBezTo>
                        <a:pt x="31463" y="106751"/>
                        <a:pt x="32819" y="105443"/>
                        <a:pt x="34176" y="104134"/>
                      </a:cubicBezTo>
                      <a:cubicBezTo>
                        <a:pt x="36945" y="101463"/>
                        <a:pt x="40535" y="100166"/>
                        <a:pt x="44101" y="100231"/>
                      </a:cubicBezTo>
                      <a:close/>
                      <a:moveTo>
                        <a:pt x="143014" y="54535"/>
                      </a:moveTo>
                      <a:cubicBezTo>
                        <a:pt x="170830" y="80984"/>
                        <a:pt x="179567" y="86214"/>
                        <a:pt x="197042" y="103570"/>
                      </a:cubicBezTo>
                      <a:cubicBezTo>
                        <a:pt x="210593" y="120153"/>
                        <a:pt x="197042" y="131921"/>
                        <a:pt x="192227" y="133883"/>
                      </a:cubicBezTo>
                      <a:cubicBezTo>
                        <a:pt x="195556" y="154804"/>
                        <a:pt x="179983" y="155933"/>
                        <a:pt x="175110" y="156171"/>
                      </a:cubicBezTo>
                      <a:cubicBezTo>
                        <a:pt x="170890" y="173943"/>
                        <a:pt x="159359" y="169782"/>
                        <a:pt x="154782" y="170793"/>
                      </a:cubicBezTo>
                      <a:cubicBezTo>
                        <a:pt x="148601" y="188386"/>
                        <a:pt x="128690" y="183156"/>
                        <a:pt x="124113" y="179352"/>
                      </a:cubicBezTo>
                      <a:lnTo>
                        <a:pt x="128928" y="168653"/>
                      </a:lnTo>
                      <a:cubicBezTo>
                        <a:pt x="141171" y="177569"/>
                        <a:pt x="144500" y="168118"/>
                        <a:pt x="143727" y="165443"/>
                      </a:cubicBezTo>
                      <a:cubicBezTo>
                        <a:pt x="145124" y="162293"/>
                        <a:pt x="132731" y="157360"/>
                        <a:pt x="129106" y="152249"/>
                      </a:cubicBezTo>
                      <a:cubicBezTo>
                        <a:pt x="125480" y="148742"/>
                        <a:pt x="129017" y="140213"/>
                        <a:pt x="135703" y="143868"/>
                      </a:cubicBezTo>
                      <a:cubicBezTo>
                        <a:pt x="140072" y="146988"/>
                        <a:pt x="150978" y="157509"/>
                        <a:pt x="155496" y="158668"/>
                      </a:cubicBezTo>
                      <a:cubicBezTo>
                        <a:pt x="164649" y="161966"/>
                        <a:pt x="165600" y="152575"/>
                        <a:pt x="162450" y="150287"/>
                      </a:cubicBezTo>
                      <a:cubicBezTo>
                        <a:pt x="155139" y="143363"/>
                        <a:pt x="153415" y="144819"/>
                        <a:pt x="144262" y="135666"/>
                      </a:cubicBezTo>
                      <a:cubicBezTo>
                        <a:pt x="141409" y="131683"/>
                        <a:pt x="143371" y="125561"/>
                        <a:pt x="151216" y="127107"/>
                      </a:cubicBezTo>
                      <a:cubicBezTo>
                        <a:pt x="155585" y="129692"/>
                        <a:pt x="168334" y="142501"/>
                        <a:pt x="173148" y="143868"/>
                      </a:cubicBezTo>
                      <a:cubicBezTo>
                        <a:pt x="180994" y="148979"/>
                        <a:pt x="184827" y="137657"/>
                        <a:pt x="180102" y="135309"/>
                      </a:cubicBezTo>
                      <a:cubicBezTo>
                        <a:pt x="178230" y="132783"/>
                        <a:pt x="160518" y="120212"/>
                        <a:pt x="157100" y="116943"/>
                      </a:cubicBezTo>
                      <a:cubicBezTo>
                        <a:pt x="151335" y="111297"/>
                        <a:pt x="158408" y="104580"/>
                        <a:pt x="162628" y="107671"/>
                      </a:cubicBezTo>
                      <a:lnTo>
                        <a:pt x="181172" y="120866"/>
                      </a:lnTo>
                      <a:cubicBezTo>
                        <a:pt x="189672" y="128117"/>
                        <a:pt x="195140" y="115576"/>
                        <a:pt x="188304" y="110881"/>
                      </a:cubicBezTo>
                      <a:lnTo>
                        <a:pt x="131602" y="58814"/>
                      </a:lnTo>
                      <a:cubicBezTo>
                        <a:pt x="127026" y="53999"/>
                        <a:pt x="138853" y="54178"/>
                        <a:pt x="143014" y="54535"/>
                      </a:cubicBezTo>
                      <a:close/>
                      <a:moveTo>
                        <a:pt x="47678" y="524"/>
                      </a:moveTo>
                      <a:cubicBezTo>
                        <a:pt x="51540" y="1006"/>
                        <a:pt x="54950" y="2761"/>
                        <a:pt x="57539" y="4171"/>
                      </a:cubicBezTo>
                      <a:cubicBezTo>
                        <a:pt x="64271" y="8314"/>
                        <a:pt x="65997" y="17463"/>
                        <a:pt x="90509" y="8832"/>
                      </a:cubicBezTo>
                      <a:cubicBezTo>
                        <a:pt x="107598" y="6214"/>
                        <a:pt x="98679" y="9752"/>
                        <a:pt x="92235" y="13838"/>
                      </a:cubicBezTo>
                      <a:cubicBezTo>
                        <a:pt x="84755" y="17923"/>
                        <a:pt x="80785" y="32365"/>
                        <a:pt x="54950" y="16772"/>
                      </a:cubicBezTo>
                      <a:cubicBezTo>
                        <a:pt x="47757" y="8601"/>
                        <a:pt x="42291" y="12169"/>
                        <a:pt x="40104" y="15046"/>
                      </a:cubicBezTo>
                      <a:lnTo>
                        <a:pt x="14212" y="43873"/>
                      </a:lnTo>
                      <a:cubicBezTo>
                        <a:pt x="9580" y="47959"/>
                        <a:pt x="11651" y="51785"/>
                        <a:pt x="13521" y="54576"/>
                      </a:cubicBezTo>
                      <a:cubicBezTo>
                        <a:pt x="16398" y="58978"/>
                        <a:pt x="19333" y="59381"/>
                        <a:pt x="23878" y="65451"/>
                      </a:cubicBezTo>
                      <a:cubicBezTo>
                        <a:pt x="28827" y="69623"/>
                        <a:pt x="27734" y="74456"/>
                        <a:pt x="28712" y="78570"/>
                      </a:cubicBezTo>
                      <a:cubicBezTo>
                        <a:pt x="29517" y="85619"/>
                        <a:pt x="31790" y="90222"/>
                        <a:pt x="32509" y="93070"/>
                      </a:cubicBezTo>
                      <a:cubicBezTo>
                        <a:pt x="29143" y="96091"/>
                        <a:pt x="24080" y="101759"/>
                        <a:pt x="24742" y="99803"/>
                      </a:cubicBezTo>
                      <a:cubicBezTo>
                        <a:pt x="22296" y="97990"/>
                        <a:pt x="19678" y="90855"/>
                        <a:pt x="17837" y="82195"/>
                      </a:cubicBezTo>
                      <a:cubicBezTo>
                        <a:pt x="18240" y="70256"/>
                        <a:pt x="11594" y="69796"/>
                        <a:pt x="7825" y="65106"/>
                      </a:cubicBezTo>
                      <a:cubicBezTo>
                        <a:pt x="-3021" y="54461"/>
                        <a:pt x="-691" y="49541"/>
                        <a:pt x="3510" y="39040"/>
                      </a:cubicBezTo>
                      <a:lnTo>
                        <a:pt x="35099" y="4516"/>
                      </a:lnTo>
                      <a:cubicBezTo>
                        <a:pt x="39500" y="834"/>
                        <a:pt x="43816" y="42"/>
                        <a:pt x="47678" y="524"/>
                      </a:cubicBezTo>
                      <a:close/>
                      <a:moveTo>
                        <a:pt x="182574" y="357"/>
                      </a:moveTo>
                      <a:cubicBezTo>
                        <a:pt x="185820" y="1136"/>
                        <a:pt x="188760" y="3074"/>
                        <a:pt x="190928" y="5012"/>
                      </a:cubicBezTo>
                      <a:lnTo>
                        <a:pt x="216639" y="33183"/>
                      </a:lnTo>
                      <a:cubicBezTo>
                        <a:pt x="219016" y="35628"/>
                        <a:pt x="221907" y="39618"/>
                        <a:pt x="219132" y="47858"/>
                      </a:cubicBezTo>
                      <a:cubicBezTo>
                        <a:pt x="216556" y="52665"/>
                        <a:pt x="211019" y="57988"/>
                        <a:pt x="207928" y="61251"/>
                      </a:cubicBezTo>
                      <a:cubicBezTo>
                        <a:pt x="205138" y="69536"/>
                        <a:pt x="203764" y="75116"/>
                        <a:pt x="200845" y="82500"/>
                      </a:cubicBezTo>
                      <a:cubicBezTo>
                        <a:pt x="199514" y="85161"/>
                        <a:pt x="195737" y="87951"/>
                        <a:pt x="190672" y="85461"/>
                      </a:cubicBezTo>
                      <a:lnTo>
                        <a:pt x="153156" y="49730"/>
                      </a:lnTo>
                      <a:cubicBezTo>
                        <a:pt x="150722" y="47585"/>
                        <a:pt x="146503" y="44141"/>
                        <a:pt x="136605" y="46214"/>
                      </a:cubicBezTo>
                      <a:cubicBezTo>
                        <a:pt x="132440" y="46467"/>
                        <a:pt x="129493" y="46296"/>
                        <a:pt x="122164" y="44267"/>
                      </a:cubicBezTo>
                      <a:cubicBezTo>
                        <a:pt x="120352" y="43213"/>
                        <a:pt x="117838" y="40960"/>
                        <a:pt x="109670" y="45728"/>
                      </a:cubicBezTo>
                      <a:cubicBezTo>
                        <a:pt x="92197" y="55480"/>
                        <a:pt x="85921" y="60689"/>
                        <a:pt x="76237" y="65087"/>
                      </a:cubicBezTo>
                      <a:cubicBezTo>
                        <a:pt x="67856" y="68802"/>
                        <a:pt x="51524" y="60024"/>
                        <a:pt x="63101" y="47837"/>
                      </a:cubicBezTo>
                      <a:lnTo>
                        <a:pt x="103335" y="17150"/>
                      </a:lnTo>
                      <a:cubicBezTo>
                        <a:pt x="124222" y="1846"/>
                        <a:pt x="144135" y="11044"/>
                        <a:pt x="155773" y="11156"/>
                      </a:cubicBezTo>
                      <a:cubicBezTo>
                        <a:pt x="164143" y="11756"/>
                        <a:pt x="167234" y="6047"/>
                        <a:pt x="172385" y="2656"/>
                      </a:cubicBezTo>
                      <a:cubicBezTo>
                        <a:pt x="175776" y="-42"/>
                        <a:pt x="179328" y="-422"/>
                        <a:pt x="182574" y="357"/>
                      </a:cubicBezTo>
                      <a:close/>
                    </a:path>
                  </a:pathLst>
                </a:custGeom>
                <a:solidFill>
                  <a:schemeClr val="bg1"/>
                </a:solidFill>
                <a:ln w="12700" cap="flat" cmpd="sng" algn="ctr">
                  <a:noFill/>
                  <a:prstDash val="solid"/>
                  <a:miter lim="800000"/>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34" name="Group 33">
                <a:extLst>
                  <a:ext uri="{FF2B5EF4-FFF2-40B4-BE49-F238E27FC236}">
                    <a16:creationId xmlns:a16="http://schemas.microsoft.com/office/drawing/2014/main" id="{7DFD8915-2484-2F97-0B48-1F5F28CC74C6}"/>
                  </a:ext>
                </a:extLst>
              </p:cNvPr>
              <p:cNvGrpSpPr/>
              <p:nvPr/>
            </p:nvGrpSpPr>
            <p:grpSpPr>
              <a:xfrm>
                <a:off x="2833384" y="3891381"/>
                <a:ext cx="949664" cy="1732911"/>
                <a:chOff x="2833384" y="3891381"/>
                <a:chExt cx="949664" cy="1732911"/>
              </a:xfrm>
            </p:grpSpPr>
            <p:grpSp>
              <p:nvGrpSpPr>
                <p:cNvPr id="45" name="Group 44">
                  <a:extLst>
                    <a:ext uri="{FF2B5EF4-FFF2-40B4-BE49-F238E27FC236}">
                      <a16:creationId xmlns:a16="http://schemas.microsoft.com/office/drawing/2014/main" id="{C73D55AE-AB38-A745-8876-4B7F2F27BC5B}"/>
                    </a:ext>
                  </a:extLst>
                </p:cNvPr>
                <p:cNvGrpSpPr/>
                <p:nvPr/>
              </p:nvGrpSpPr>
              <p:grpSpPr>
                <a:xfrm rot="8100000">
                  <a:off x="2833384" y="3891381"/>
                  <a:ext cx="949664" cy="1732911"/>
                  <a:chOff x="4106373" y="341832"/>
                  <a:chExt cx="1017797" cy="1857239"/>
                </a:xfrm>
              </p:grpSpPr>
              <p:sp>
                <p:nvSpPr>
                  <p:cNvPr id="47" name="Oval 46">
                    <a:extLst>
                      <a:ext uri="{FF2B5EF4-FFF2-40B4-BE49-F238E27FC236}">
                        <a16:creationId xmlns:a16="http://schemas.microsoft.com/office/drawing/2014/main" id="{9F029396-95BE-0460-DAA8-3C23EFB4DE57}"/>
                      </a:ext>
                    </a:extLst>
                  </p:cNvPr>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48" name="Freeform 47">
                    <a:extLst>
                      <a:ext uri="{FF2B5EF4-FFF2-40B4-BE49-F238E27FC236}">
                        <a16:creationId xmlns:a16="http://schemas.microsoft.com/office/drawing/2014/main" id="{56EC25CA-96EA-47B9-0865-40B4E52D2134}"/>
                      </a:ext>
                    </a:extLst>
                  </p:cNvPr>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D34B29"/>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46" name="Freeform 45">
                  <a:extLst>
                    <a:ext uri="{FF2B5EF4-FFF2-40B4-BE49-F238E27FC236}">
                      <a16:creationId xmlns:a16="http://schemas.microsoft.com/office/drawing/2014/main" id="{CF30B72B-11AE-74AE-E645-B4B976640138}"/>
                    </a:ext>
                  </a:extLst>
                </p:cNvPr>
                <p:cNvSpPr/>
                <p:nvPr/>
              </p:nvSpPr>
              <p:spPr>
                <a:xfrm>
                  <a:off x="3347330" y="4783633"/>
                  <a:ext cx="367940" cy="367938"/>
                </a:xfrm>
                <a:custGeom>
                  <a:avLst/>
                  <a:gdLst>
                    <a:gd name="connsiteX0" fmla="*/ 630627 w 1357911"/>
                    <a:gd name="connsiteY0" fmla="*/ 0 h 1357911"/>
                    <a:gd name="connsiteX1" fmla="*/ 727283 w 1357911"/>
                    <a:gd name="connsiteY1" fmla="*/ 0 h 1357911"/>
                    <a:gd name="connsiteX2" fmla="*/ 769573 w 1357911"/>
                    <a:gd name="connsiteY2" fmla="*/ 42290 h 1357911"/>
                    <a:gd name="connsiteX3" fmla="*/ 769573 w 1357911"/>
                    <a:gd name="connsiteY3" fmla="*/ 105138 h 1357911"/>
                    <a:gd name="connsiteX4" fmla="*/ 796163 w 1357911"/>
                    <a:gd name="connsiteY4" fmla="*/ 109195 h 1357911"/>
                    <a:gd name="connsiteX5" fmla="*/ 1004119 w 1357911"/>
                    <a:gd name="connsiteY5" fmla="*/ 196704 h 1357911"/>
                    <a:gd name="connsiteX6" fmla="*/ 1019973 w 1357911"/>
                    <a:gd name="connsiteY6" fmla="*/ 209784 h 1357911"/>
                    <a:gd name="connsiteX7" fmla="*/ 1065069 w 1357911"/>
                    <a:gd name="connsiteY7" fmla="*/ 164688 h 1357911"/>
                    <a:gd name="connsiteX8" fmla="*/ 1094973 w 1357911"/>
                    <a:gd name="connsiteY8" fmla="*/ 152302 h 1357911"/>
                    <a:gd name="connsiteX9" fmla="*/ 1124876 w 1357911"/>
                    <a:gd name="connsiteY9" fmla="*/ 164688 h 1357911"/>
                    <a:gd name="connsiteX10" fmla="*/ 1193223 w 1357911"/>
                    <a:gd name="connsiteY10" fmla="*/ 233034 h 1357911"/>
                    <a:gd name="connsiteX11" fmla="*/ 1193223 w 1357911"/>
                    <a:gd name="connsiteY11" fmla="*/ 292841 h 1357911"/>
                    <a:gd name="connsiteX12" fmla="*/ 1148126 w 1357911"/>
                    <a:gd name="connsiteY12" fmla="*/ 337938 h 1357911"/>
                    <a:gd name="connsiteX13" fmla="*/ 1161206 w 1357911"/>
                    <a:gd name="connsiteY13" fmla="*/ 353791 h 1357911"/>
                    <a:gd name="connsiteX14" fmla="*/ 1248714 w 1357911"/>
                    <a:gd name="connsiteY14" fmla="*/ 561746 h 1357911"/>
                    <a:gd name="connsiteX15" fmla="*/ 1252771 w 1357911"/>
                    <a:gd name="connsiteY15" fmla="*/ 588337 h 1357911"/>
                    <a:gd name="connsiteX16" fmla="*/ 1315621 w 1357911"/>
                    <a:gd name="connsiteY16" fmla="*/ 588337 h 1357911"/>
                    <a:gd name="connsiteX17" fmla="*/ 1357911 w 1357911"/>
                    <a:gd name="connsiteY17" fmla="*/ 630626 h 1357911"/>
                    <a:gd name="connsiteX18" fmla="*/ 1357911 w 1357911"/>
                    <a:gd name="connsiteY18" fmla="*/ 727283 h 1357911"/>
                    <a:gd name="connsiteX19" fmla="*/ 1315621 w 1357911"/>
                    <a:gd name="connsiteY19" fmla="*/ 769573 h 1357911"/>
                    <a:gd name="connsiteX20" fmla="*/ 1252771 w 1357911"/>
                    <a:gd name="connsiteY20" fmla="*/ 769573 h 1357911"/>
                    <a:gd name="connsiteX21" fmla="*/ 1248715 w 1357911"/>
                    <a:gd name="connsiteY21" fmla="*/ 796162 h 1357911"/>
                    <a:gd name="connsiteX22" fmla="*/ 1161206 w 1357911"/>
                    <a:gd name="connsiteY22" fmla="*/ 1004119 h 1357911"/>
                    <a:gd name="connsiteX23" fmla="*/ 1148126 w 1357911"/>
                    <a:gd name="connsiteY23" fmla="*/ 1019972 h 1357911"/>
                    <a:gd name="connsiteX24" fmla="*/ 1193222 w 1357911"/>
                    <a:gd name="connsiteY24" fmla="*/ 1065067 h 1357911"/>
                    <a:gd name="connsiteX25" fmla="*/ 1193222 w 1357911"/>
                    <a:gd name="connsiteY25" fmla="*/ 1124876 h 1357911"/>
                    <a:gd name="connsiteX26" fmla="*/ 1124877 w 1357911"/>
                    <a:gd name="connsiteY26" fmla="*/ 1193221 h 1357911"/>
                    <a:gd name="connsiteX27" fmla="*/ 1065068 w 1357911"/>
                    <a:gd name="connsiteY27" fmla="*/ 1193221 h 1357911"/>
                    <a:gd name="connsiteX28" fmla="*/ 1019973 w 1357911"/>
                    <a:gd name="connsiteY28" fmla="*/ 1148125 h 1357911"/>
                    <a:gd name="connsiteX29" fmla="*/ 1004119 w 1357911"/>
                    <a:gd name="connsiteY29" fmla="*/ 1161206 h 1357911"/>
                    <a:gd name="connsiteX30" fmla="*/ 796162 w 1357911"/>
                    <a:gd name="connsiteY30" fmla="*/ 1248714 h 1357911"/>
                    <a:gd name="connsiteX31" fmla="*/ 769572 w 1357911"/>
                    <a:gd name="connsiteY31" fmla="*/ 1252771 h 1357911"/>
                    <a:gd name="connsiteX32" fmla="*/ 769572 w 1357911"/>
                    <a:gd name="connsiteY32" fmla="*/ 1315621 h 1357911"/>
                    <a:gd name="connsiteX33" fmla="*/ 727283 w 1357911"/>
                    <a:gd name="connsiteY33" fmla="*/ 1357911 h 1357911"/>
                    <a:gd name="connsiteX34" fmla="*/ 630627 w 1357911"/>
                    <a:gd name="connsiteY34" fmla="*/ 1357910 h 1357911"/>
                    <a:gd name="connsiteX35" fmla="*/ 588337 w 1357911"/>
                    <a:gd name="connsiteY35" fmla="*/ 1315620 h 1357911"/>
                    <a:gd name="connsiteX36" fmla="*/ 588337 w 1357911"/>
                    <a:gd name="connsiteY36" fmla="*/ 1252772 h 1357911"/>
                    <a:gd name="connsiteX37" fmla="*/ 561746 w 1357911"/>
                    <a:gd name="connsiteY37" fmla="*/ 1248714 h 1357911"/>
                    <a:gd name="connsiteX38" fmla="*/ 353791 w 1357911"/>
                    <a:gd name="connsiteY38" fmla="*/ 1161206 h 1357911"/>
                    <a:gd name="connsiteX39" fmla="*/ 337938 w 1357911"/>
                    <a:gd name="connsiteY39" fmla="*/ 1148126 h 1357911"/>
                    <a:gd name="connsiteX40" fmla="*/ 292841 w 1357911"/>
                    <a:gd name="connsiteY40" fmla="*/ 1193222 h 1357911"/>
                    <a:gd name="connsiteX41" fmla="*/ 233034 w 1357911"/>
                    <a:gd name="connsiteY41" fmla="*/ 1193222 h 1357911"/>
                    <a:gd name="connsiteX42" fmla="*/ 164688 w 1357911"/>
                    <a:gd name="connsiteY42" fmla="*/ 1124876 h 1357911"/>
                    <a:gd name="connsiteX43" fmla="*/ 164688 w 1357911"/>
                    <a:gd name="connsiteY43" fmla="*/ 1065068 h 1357911"/>
                    <a:gd name="connsiteX44" fmla="*/ 209784 w 1357911"/>
                    <a:gd name="connsiteY44" fmla="*/ 1019972 h 1357911"/>
                    <a:gd name="connsiteX45" fmla="*/ 196704 w 1357911"/>
                    <a:gd name="connsiteY45" fmla="*/ 1004119 h 1357911"/>
                    <a:gd name="connsiteX46" fmla="*/ 109195 w 1357911"/>
                    <a:gd name="connsiteY46" fmla="*/ 796162 h 1357911"/>
                    <a:gd name="connsiteX47" fmla="*/ 105137 w 1357911"/>
                    <a:gd name="connsiteY47" fmla="*/ 769574 h 1357911"/>
                    <a:gd name="connsiteX48" fmla="*/ 42290 w 1357911"/>
                    <a:gd name="connsiteY48" fmla="*/ 769573 h 1357911"/>
                    <a:gd name="connsiteX49" fmla="*/ 0 w 1357911"/>
                    <a:gd name="connsiteY49" fmla="*/ 727283 h 1357911"/>
                    <a:gd name="connsiteX50" fmla="*/ 0 w 1357911"/>
                    <a:gd name="connsiteY50" fmla="*/ 630626 h 1357911"/>
                    <a:gd name="connsiteX51" fmla="*/ 42290 w 1357911"/>
                    <a:gd name="connsiteY51" fmla="*/ 588337 h 1357911"/>
                    <a:gd name="connsiteX52" fmla="*/ 105138 w 1357911"/>
                    <a:gd name="connsiteY52" fmla="*/ 588337 h 1357911"/>
                    <a:gd name="connsiteX53" fmla="*/ 109196 w 1357911"/>
                    <a:gd name="connsiteY53" fmla="*/ 561748 h 1357911"/>
                    <a:gd name="connsiteX54" fmla="*/ 196704 w 1357911"/>
                    <a:gd name="connsiteY54" fmla="*/ 353791 h 1357911"/>
                    <a:gd name="connsiteX55" fmla="*/ 209784 w 1357911"/>
                    <a:gd name="connsiteY55" fmla="*/ 337937 h 1357911"/>
                    <a:gd name="connsiteX56" fmla="*/ 164688 w 1357911"/>
                    <a:gd name="connsiteY56" fmla="*/ 292842 h 1357911"/>
                    <a:gd name="connsiteX57" fmla="*/ 164688 w 1357911"/>
                    <a:gd name="connsiteY57" fmla="*/ 233033 h 1357911"/>
                    <a:gd name="connsiteX58" fmla="*/ 233033 w 1357911"/>
                    <a:gd name="connsiteY58" fmla="*/ 164688 h 1357911"/>
                    <a:gd name="connsiteX59" fmla="*/ 262938 w 1357911"/>
                    <a:gd name="connsiteY59" fmla="*/ 152302 h 1357911"/>
                    <a:gd name="connsiteX60" fmla="*/ 292842 w 1357911"/>
                    <a:gd name="connsiteY60" fmla="*/ 164688 h 1357911"/>
                    <a:gd name="connsiteX61" fmla="*/ 337938 w 1357911"/>
                    <a:gd name="connsiteY61" fmla="*/ 209783 h 1357911"/>
                    <a:gd name="connsiteX62" fmla="*/ 353791 w 1357911"/>
                    <a:gd name="connsiteY62" fmla="*/ 196704 h 1357911"/>
                    <a:gd name="connsiteX63" fmla="*/ 561746 w 1357911"/>
                    <a:gd name="connsiteY63" fmla="*/ 109195 h 1357911"/>
                    <a:gd name="connsiteX64" fmla="*/ 588337 w 1357911"/>
                    <a:gd name="connsiteY64" fmla="*/ 105138 h 1357911"/>
                    <a:gd name="connsiteX65" fmla="*/ 588337 w 1357911"/>
                    <a:gd name="connsiteY65" fmla="*/ 42290 h 1357911"/>
                    <a:gd name="connsiteX66" fmla="*/ 630627 w 1357911"/>
                    <a:gd name="connsiteY66" fmla="*/ 0 h 1357911"/>
                    <a:gd name="connsiteX67" fmla="*/ 678955 w 1357911"/>
                    <a:gd name="connsiteY67" fmla="*/ 339023 h 1357911"/>
                    <a:gd name="connsiteX68" fmla="*/ 339023 w 1357911"/>
                    <a:gd name="connsiteY68" fmla="*/ 678955 h 1357911"/>
                    <a:gd name="connsiteX69" fmla="*/ 678955 w 1357911"/>
                    <a:gd name="connsiteY69" fmla="*/ 1018887 h 1357911"/>
                    <a:gd name="connsiteX70" fmla="*/ 1018888 w 1357911"/>
                    <a:gd name="connsiteY70" fmla="*/ 678955 h 1357911"/>
                    <a:gd name="connsiteX71" fmla="*/ 678955 w 1357911"/>
                    <a:gd name="connsiteY71" fmla="*/ 339023 h 135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57911" h="1357911">
                      <a:moveTo>
                        <a:pt x="630627" y="0"/>
                      </a:moveTo>
                      <a:lnTo>
                        <a:pt x="727283" y="0"/>
                      </a:lnTo>
                      <a:cubicBezTo>
                        <a:pt x="750640" y="0"/>
                        <a:pt x="769573" y="18934"/>
                        <a:pt x="769573" y="42290"/>
                      </a:cubicBezTo>
                      <a:lnTo>
                        <a:pt x="769573" y="105138"/>
                      </a:lnTo>
                      <a:lnTo>
                        <a:pt x="796163" y="109195"/>
                      </a:lnTo>
                      <a:cubicBezTo>
                        <a:pt x="871880" y="124690"/>
                        <a:pt x="942239" y="154899"/>
                        <a:pt x="1004119" y="196704"/>
                      </a:cubicBezTo>
                      <a:lnTo>
                        <a:pt x="1019973" y="209784"/>
                      </a:lnTo>
                      <a:lnTo>
                        <a:pt x="1065069" y="164688"/>
                      </a:lnTo>
                      <a:cubicBezTo>
                        <a:pt x="1073327" y="156430"/>
                        <a:pt x="1084150" y="152302"/>
                        <a:pt x="1094973" y="152302"/>
                      </a:cubicBezTo>
                      <a:cubicBezTo>
                        <a:pt x="1105796" y="152302"/>
                        <a:pt x="1116618" y="156430"/>
                        <a:pt x="1124876" y="164688"/>
                      </a:cubicBezTo>
                      <a:lnTo>
                        <a:pt x="1193223" y="233034"/>
                      </a:lnTo>
                      <a:cubicBezTo>
                        <a:pt x="1209738" y="249550"/>
                        <a:pt x="1209738" y="276326"/>
                        <a:pt x="1193223" y="292841"/>
                      </a:cubicBezTo>
                      <a:lnTo>
                        <a:pt x="1148126" y="337938"/>
                      </a:lnTo>
                      <a:lnTo>
                        <a:pt x="1161206" y="353791"/>
                      </a:lnTo>
                      <a:cubicBezTo>
                        <a:pt x="1203011" y="415670"/>
                        <a:pt x="1233219" y="486029"/>
                        <a:pt x="1248714" y="561746"/>
                      </a:cubicBezTo>
                      <a:lnTo>
                        <a:pt x="1252771" y="588337"/>
                      </a:lnTo>
                      <a:lnTo>
                        <a:pt x="1315621" y="588337"/>
                      </a:lnTo>
                      <a:cubicBezTo>
                        <a:pt x="1338976" y="588337"/>
                        <a:pt x="1357911" y="607271"/>
                        <a:pt x="1357911" y="630626"/>
                      </a:cubicBezTo>
                      <a:lnTo>
                        <a:pt x="1357911" y="727283"/>
                      </a:lnTo>
                      <a:cubicBezTo>
                        <a:pt x="1357911" y="750638"/>
                        <a:pt x="1338977" y="769574"/>
                        <a:pt x="1315621" y="769573"/>
                      </a:cubicBezTo>
                      <a:lnTo>
                        <a:pt x="1252771" y="769573"/>
                      </a:lnTo>
                      <a:lnTo>
                        <a:pt x="1248715" y="796162"/>
                      </a:lnTo>
                      <a:cubicBezTo>
                        <a:pt x="1233220" y="871880"/>
                        <a:pt x="1203011" y="942239"/>
                        <a:pt x="1161206" y="1004119"/>
                      </a:cubicBezTo>
                      <a:lnTo>
                        <a:pt x="1148126" y="1019972"/>
                      </a:lnTo>
                      <a:lnTo>
                        <a:pt x="1193222" y="1065067"/>
                      </a:lnTo>
                      <a:cubicBezTo>
                        <a:pt x="1209737" y="1081584"/>
                        <a:pt x="1209737" y="1108360"/>
                        <a:pt x="1193222" y="1124876"/>
                      </a:cubicBezTo>
                      <a:lnTo>
                        <a:pt x="1124877" y="1193221"/>
                      </a:lnTo>
                      <a:cubicBezTo>
                        <a:pt x="1108361" y="1209737"/>
                        <a:pt x="1081584" y="1209737"/>
                        <a:pt x="1065068" y="1193221"/>
                      </a:cubicBezTo>
                      <a:lnTo>
                        <a:pt x="1019973" y="1148125"/>
                      </a:lnTo>
                      <a:lnTo>
                        <a:pt x="1004119" y="1161206"/>
                      </a:lnTo>
                      <a:cubicBezTo>
                        <a:pt x="942239" y="1203010"/>
                        <a:pt x="871880" y="1233219"/>
                        <a:pt x="796162" y="1248714"/>
                      </a:cubicBezTo>
                      <a:lnTo>
                        <a:pt x="769572" y="1252771"/>
                      </a:lnTo>
                      <a:lnTo>
                        <a:pt x="769572" y="1315621"/>
                      </a:lnTo>
                      <a:cubicBezTo>
                        <a:pt x="769573" y="1338975"/>
                        <a:pt x="750639" y="1357910"/>
                        <a:pt x="727283" y="1357911"/>
                      </a:cubicBezTo>
                      <a:lnTo>
                        <a:pt x="630627" y="1357910"/>
                      </a:lnTo>
                      <a:cubicBezTo>
                        <a:pt x="607271" y="1357911"/>
                        <a:pt x="588337" y="1338976"/>
                        <a:pt x="588337" y="1315620"/>
                      </a:cubicBezTo>
                      <a:lnTo>
                        <a:pt x="588337" y="1252772"/>
                      </a:lnTo>
                      <a:lnTo>
                        <a:pt x="561746" y="1248714"/>
                      </a:lnTo>
                      <a:cubicBezTo>
                        <a:pt x="486028" y="1233219"/>
                        <a:pt x="415671" y="1203010"/>
                        <a:pt x="353791" y="1161206"/>
                      </a:cubicBezTo>
                      <a:lnTo>
                        <a:pt x="337938" y="1148126"/>
                      </a:lnTo>
                      <a:lnTo>
                        <a:pt x="292841" y="1193222"/>
                      </a:lnTo>
                      <a:cubicBezTo>
                        <a:pt x="276327" y="1209737"/>
                        <a:pt x="249550" y="1209737"/>
                        <a:pt x="233034" y="1193222"/>
                      </a:cubicBezTo>
                      <a:lnTo>
                        <a:pt x="164688" y="1124876"/>
                      </a:lnTo>
                      <a:cubicBezTo>
                        <a:pt x="148173" y="1108360"/>
                        <a:pt x="148173" y="1081583"/>
                        <a:pt x="164688" y="1065068"/>
                      </a:cubicBezTo>
                      <a:lnTo>
                        <a:pt x="209784" y="1019972"/>
                      </a:lnTo>
                      <a:lnTo>
                        <a:pt x="196704" y="1004119"/>
                      </a:lnTo>
                      <a:cubicBezTo>
                        <a:pt x="154898" y="942239"/>
                        <a:pt x="124689" y="871881"/>
                        <a:pt x="109195" y="796162"/>
                      </a:cubicBezTo>
                      <a:lnTo>
                        <a:pt x="105137" y="769574"/>
                      </a:lnTo>
                      <a:lnTo>
                        <a:pt x="42290" y="769573"/>
                      </a:lnTo>
                      <a:cubicBezTo>
                        <a:pt x="18934" y="769574"/>
                        <a:pt x="0" y="750639"/>
                        <a:pt x="0" y="727283"/>
                      </a:cubicBezTo>
                      <a:lnTo>
                        <a:pt x="0" y="630626"/>
                      </a:lnTo>
                      <a:cubicBezTo>
                        <a:pt x="0" y="607271"/>
                        <a:pt x="18933" y="588337"/>
                        <a:pt x="42290" y="588337"/>
                      </a:cubicBezTo>
                      <a:lnTo>
                        <a:pt x="105138" y="588337"/>
                      </a:lnTo>
                      <a:lnTo>
                        <a:pt x="109196" y="561748"/>
                      </a:lnTo>
                      <a:cubicBezTo>
                        <a:pt x="124689" y="486029"/>
                        <a:pt x="154898" y="415670"/>
                        <a:pt x="196704" y="353791"/>
                      </a:cubicBezTo>
                      <a:lnTo>
                        <a:pt x="209784" y="337937"/>
                      </a:lnTo>
                      <a:lnTo>
                        <a:pt x="164688" y="292842"/>
                      </a:lnTo>
                      <a:cubicBezTo>
                        <a:pt x="148174" y="276325"/>
                        <a:pt x="148174" y="249550"/>
                        <a:pt x="164688" y="233033"/>
                      </a:cubicBezTo>
                      <a:lnTo>
                        <a:pt x="233033" y="164688"/>
                      </a:lnTo>
                      <a:cubicBezTo>
                        <a:pt x="241293" y="156431"/>
                        <a:pt x="252115" y="152303"/>
                        <a:pt x="262938" y="152302"/>
                      </a:cubicBezTo>
                      <a:cubicBezTo>
                        <a:pt x="273761" y="152303"/>
                        <a:pt x="284584" y="156431"/>
                        <a:pt x="292842" y="164688"/>
                      </a:cubicBezTo>
                      <a:lnTo>
                        <a:pt x="337938" y="209783"/>
                      </a:lnTo>
                      <a:lnTo>
                        <a:pt x="353791" y="196704"/>
                      </a:lnTo>
                      <a:cubicBezTo>
                        <a:pt x="415671" y="154899"/>
                        <a:pt x="486029" y="124689"/>
                        <a:pt x="561746" y="109195"/>
                      </a:cubicBezTo>
                      <a:lnTo>
                        <a:pt x="588337" y="105138"/>
                      </a:lnTo>
                      <a:lnTo>
                        <a:pt x="588337" y="42290"/>
                      </a:lnTo>
                      <a:cubicBezTo>
                        <a:pt x="588337" y="18934"/>
                        <a:pt x="607272" y="0"/>
                        <a:pt x="630627" y="0"/>
                      </a:cubicBezTo>
                      <a:close/>
                      <a:moveTo>
                        <a:pt x="678955" y="339023"/>
                      </a:moveTo>
                      <a:cubicBezTo>
                        <a:pt x="491215" y="339022"/>
                        <a:pt x="339023" y="491215"/>
                        <a:pt x="339023" y="678955"/>
                      </a:cubicBezTo>
                      <a:cubicBezTo>
                        <a:pt x="339023" y="866696"/>
                        <a:pt x="491215" y="1018887"/>
                        <a:pt x="678955" y="1018887"/>
                      </a:cubicBezTo>
                      <a:cubicBezTo>
                        <a:pt x="866696" y="1018887"/>
                        <a:pt x="1018888" y="866696"/>
                        <a:pt x="1018888" y="678955"/>
                      </a:cubicBezTo>
                      <a:cubicBezTo>
                        <a:pt x="1018888" y="491215"/>
                        <a:pt x="866696" y="339022"/>
                        <a:pt x="678955" y="339023"/>
                      </a:cubicBezTo>
                      <a:close/>
                    </a:path>
                  </a:pathLst>
                </a:custGeom>
                <a:solidFill>
                  <a:schemeClr val="bg1"/>
                </a:solidFill>
                <a:ln w="12700" cap="flat" cmpd="sng" algn="ctr">
                  <a:noFill/>
                  <a:prstDash val="solid"/>
                  <a:miter lim="800000"/>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35" name="Group 34">
                <a:extLst>
                  <a:ext uri="{FF2B5EF4-FFF2-40B4-BE49-F238E27FC236}">
                    <a16:creationId xmlns:a16="http://schemas.microsoft.com/office/drawing/2014/main" id="{DBC0FF75-ED3A-1590-59CA-3677749EEFD8}"/>
                  </a:ext>
                </a:extLst>
              </p:cNvPr>
              <p:cNvGrpSpPr/>
              <p:nvPr/>
            </p:nvGrpSpPr>
            <p:grpSpPr>
              <a:xfrm>
                <a:off x="1504547" y="4441803"/>
                <a:ext cx="949664" cy="1732911"/>
                <a:chOff x="1504547" y="4441803"/>
                <a:chExt cx="949664" cy="1732911"/>
              </a:xfrm>
            </p:grpSpPr>
            <p:grpSp>
              <p:nvGrpSpPr>
                <p:cNvPr id="41" name="Group 40">
                  <a:extLst>
                    <a:ext uri="{FF2B5EF4-FFF2-40B4-BE49-F238E27FC236}">
                      <a16:creationId xmlns:a16="http://schemas.microsoft.com/office/drawing/2014/main" id="{E3131BC8-ED80-F055-833D-C2329B07577F}"/>
                    </a:ext>
                  </a:extLst>
                </p:cNvPr>
                <p:cNvGrpSpPr/>
                <p:nvPr/>
              </p:nvGrpSpPr>
              <p:grpSpPr>
                <a:xfrm flipV="1">
                  <a:off x="1504547" y="4441803"/>
                  <a:ext cx="949664" cy="1732911"/>
                  <a:chOff x="4106373" y="341832"/>
                  <a:chExt cx="1017797" cy="1857239"/>
                </a:xfrm>
              </p:grpSpPr>
              <p:sp>
                <p:nvSpPr>
                  <p:cNvPr id="43" name="Oval 42">
                    <a:extLst>
                      <a:ext uri="{FF2B5EF4-FFF2-40B4-BE49-F238E27FC236}">
                        <a16:creationId xmlns:a16="http://schemas.microsoft.com/office/drawing/2014/main" id="{BED85BBA-625C-A08C-47E4-3BC269C00EA8}"/>
                      </a:ext>
                    </a:extLst>
                  </p:cNvPr>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44" name="Freeform 43">
                    <a:extLst>
                      <a:ext uri="{FF2B5EF4-FFF2-40B4-BE49-F238E27FC236}">
                        <a16:creationId xmlns:a16="http://schemas.microsoft.com/office/drawing/2014/main" id="{C9105B5C-222A-DD7A-5713-B3C56C6C144E}"/>
                      </a:ext>
                    </a:extLst>
                  </p:cNvPr>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79897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42" name="Freeform 41">
                  <a:extLst>
                    <a:ext uri="{FF2B5EF4-FFF2-40B4-BE49-F238E27FC236}">
                      <a16:creationId xmlns:a16="http://schemas.microsoft.com/office/drawing/2014/main" id="{D79FEBCF-27B9-4756-1514-E6869110EBEC}"/>
                    </a:ext>
                  </a:extLst>
                </p:cNvPr>
                <p:cNvSpPr/>
                <p:nvPr/>
              </p:nvSpPr>
              <p:spPr>
                <a:xfrm>
                  <a:off x="1807995" y="5474546"/>
                  <a:ext cx="323030" cy="287604"/>
                </a:xfrm>
                <a:custGeom>
                  <a:avLst/>
                  <a:gdLst>
                    <a:gd name="connsiteX0" fmla="*/ 79398 w 213033"/>
                    <a:gd name="connsiteY0" fmla="*/ 138405 h 189670"/>
                    <a:gd name="connsiteX1" fmla="*/ 100083 w 213033"/>
                    <a:gd name="connsiteY1" fmla="*/ 138405 h 189670"/>
                    <a:gd name="connsiteX2" fmla="*/ 100083 w 213033"/>
                    <a:gd name="connsiteY2" fmla="*/ 161290 h 189670"/>
                    <a:gd name="connsiteX3" fmla="*/ 79398 w 213033"/>
                    <a:gd name="connsiteY3" fmla="*/ 161290 h 189670"/>
                    <a:gd name="connsiteX4" fmla="*/ 47379 w 213033"/>
                    <a:gd name="connsiteY4" fmla="*/ 138405 h 189670"/>
                    <a:gd name="connsiteX5" fmla="*/ 68064 w 213033"/>
                    <a:gd name="connsiteY5" fmla="*/ 138405 h 189670"/>
                    <a:gd name="connsiteX6" fmla="*/ 68064 w 213033"/>
                    <a:gd name="connsiteY6" fmla="*/ 161290 h 189670"/>
                    <a:gd name="connsiteX7" fmla="*/ 47379 w 213033"/>
                    <a:gd name="connsiteY7" fmla="*/ 161290 h 189670"/>
                    <a:gd name="connsiteX8" fmla="*/ 143681 w 213033"/>
                    <a:gd name="connsiteY8" fmla="*/ 106502 h 189670"/>
                    <a:gd name="connsiteX9" fmla="*/ 164366 w 213033"/>
                    <a:gd name="connsiteY9" fmla="*/ 106502 h 189670"/>
                    <a:gd name="connsiteX10" fmla="*/ 164366 w 213033"/>
                    <a:gd name="connsiteY10" fmla="*/ 129387 h 189670"/>
                    <a:gd name="connsiteX11" fmla="*/ 143681 w 213033"/>
                    <a:gd name="connsiteY11" fmla="*/ 129387 h 189670"/>
                    <a:gd name="connsiteX12" fmla="*/ 111580 w 213033"/>
                    <a:gd name="connsiteY12" fmla="*/ 106502 h 189670"/>
                    <a:gd name="connsiteX13" fmla="*/ 132265 w 213033"/>
                    <a:gd name="connsiteY13" fmla="*/ 106502 h 189670"/>
                    <a:gd name="connsiteX14" fmla="*/ 132265 w 213033"/>
                    <a:gd name="connsiteY14" fmla="*/ 129387 h 189670"/>
                    <a:gd name="connsiteX15" fmla="*/ 111580 w 213033"/>
                    <a:gd name="connsiteY15" fmla="*/ 129387 h 189670"/>
                    <a:gd name="connsiteX16" fmla="*/ 79480 w 213033"/>
                    <a:gd name="connsiteY16" fmla="*/ 106502 h 189670"/>
                    <a:gd name="connsiteX17" fmla="*/ 100165 w 213033"/>
                    <a:gd name="connsiteY17" fmla="*/ 106502 h 189670"/>
                    <a:gd name="connsiteX18" fmla="*/ 100165 w 213033"/>
                    <a:gd name="connsiteY18" fmla="*/ 129387 h 189670"/>
                    <a:gd name="connsiteX19" fmla="*/ 79480 w 213033"/>
                    <a:gd name="connsiteY19" fmla="*/ 129387 h 189670"/>
                    <a:gd name="connsiteX20" fmla="*/ 47379 w 213033"/>
                    <a:gd name="connsiteY20" fmla="*/ 106502 h 189670"/>
                    <a:gd name="connsiteX21" fmla="*/ 68064 w 213033"/>
                    <a:gd name="connsiteY21" fmla="*/ 106502 h 189670"/>
                    <a:gd name="connsiteX22" fmla="*/ 68064 w 213033"/>
                    <a:gd name="connsiteY22" fmla="*/ 129387 h 189670"/>
                    <a:gd name="connsiteX23" fmla="*/ 47379 w 213033"/>
                    <a:gd name="connsiteY23" fmla="*/ 129387 h 189670"/>
                    <a:gd name="connsiteX24" fmla="*/ 143681 w 213033"/>
                    <a:gd name="connsiteY24" fmla="*/ 74380 h 189670"/>
                    <a:gd name="connsiteX25" fmla="*/ 164366 w 213033"/>
                    <a:gd name="connsiteY25" fmla="*/ 74380 h 189670"/>
                    <a:gd name="connsiteX26" fmla="*/ 164366 w 213033"/>
                    <a:gd name="connsiteY26" fmla="*/ 97265 h 189670"/>
                    <a:gd name="connsiteX27" fmla="*/ 143681 w 213033"/>
                    <a:gd name="connsiteY27" fmla="*/ 97265 h 189670"/>
                    <a:gd name="connsiteX28" fmla="*/ 111539 w 213033"/>
                    <a:gd name="connsiteY28" fmla="*/ 74380 h 189670"/>
                    <a:gd name="connsiteX29" fmla="*/ 132224 w 213033"/>
                    <a:gd name="connsiteY29" fmla="*/ 74380 h 189670"/>
                    <a:gd name="connsiteX30" fmla="*/ 132224 w 213033"/>
                    <a:gd name="connsiteY30" fmla="*/ 97265 h 189670"/>
                    <a:gd name="connsiteX31" fmla="*/ 111539 w 213033"/>
                    <a:gd name="connsiteY31" fmla="*/ 97265 h 189670"/>
                    <a:gd name="connsiteX32" fmla="*/ 79398 w 213033"/>
                    <a:gd name="connsiteY32" fmla="*/ 74380 h 189670"/>
                    <a:gd name="connsiteX33" fmla="*/ 100083 w 213033"/>
                    <a:gd name="connsiteY33" fmla="*/ 74380 h 189670"/>
                    <a:gd name="connsiteX34" fmla="*/ 100083 w 213033"/>
                    <a:gd name="connsiteY34" fmla="*/ 97265 h 189670"/>
                    <a:gd name="connsiteX35" fmla="*/ 79398 w 213033"/>
                    <a:gd name="connsiteY35" fmla="*/ 97265 h 189670"/>
                    <a:gd name="connsiteX36" fmla="*/ 27519 w 213033"/>
                    <a:gd name="connsiteY36" fmla="*/ 64477 h 189670"/>
                    <a:gd name="connsiteX37" fmla="*/ 27519 w 213033"/>
                    <a:gd name="connsiteY37" fmla="*/ 172742 h 189670"/>
                    <a:gd name="connsiteX38" fmla="*/ 185515 w 213033"/>
                    <a:gd name="connsiteY38" fmla="*/ 172742 h 189670"/>
                    <a:gd name="connsiteX39" fmla="*/ 185515 w 213033"/>
                    <a:gd name="connsiteY39" fmla="*/ 64477 h 189670"/>
                    <a:gd name="connsiteX40" fmla="*/ 20729 w 213033"/>
                    <a:gd name="connsiteY40" fmla="*/ 15317 h 189670"/>
                    <a:gd name="connsiteX41" fmla="*/ 47094 w 213033"/>
                    <a:gd name="connsiteY41" fmla="*/ 15317 h 189670"/>
                    <a:gd name="connsiteX42" fmla="*/ 47094 w 213033"/>
                    <a:gd name="connsiteY42" fmla="*/ 23216 h 189670"/>
                    <a:gd name="connsiteX43" fmla="*/ 45680 w 213033"/>
                    <a:gd name="connsiteY43" fmla="*/ 24383 h 189670"/>
                    <a:gd name="connsiteX44" fmla="*/ 40815 w 213033"/>
                    <a:gd name="connsiteY44" fmla="*/ 36126 h 189670"/>
                    <a:gd name="connsiteX45" fmla="*/ 57424 w 213033"/>
                    <a:gd name="connsiteY45" fmla="*/ 52734 h 189670"/>
                    <a:gd name="connsiteX46" fmla="*/ 74032 w 213033"/>
                    <a:gd name="connsiteY46" fmla="*/ 36126 h 189670"/>
                    <a:gd name="connsiteX47" fmla="*/ 69167 w 213033"/>
                    <a:gd name="connsiteY47" fmla="*/ 24383 h 189670"/>
                    <a:gd name="connsiteX48" fmla="*/ 67753 w 213033"/>
                    <a:gd name="connsiteY48" fmla="*/ 23216 h 189670"/>
                    <a:gd name="connsiteX49" fmla="*/ 67753 w 213033"/>
                    <a:gd name="connsiteY49" fmla="*/ 15317 h 189670"/>
                    <a:gd name="connsiteX50" fmla="*/ 146572 w 213033"/>
                    <a:gd name="connsiteY50" fmla="*/ 15317 h 189670"/>
                    <a:gd name="connsiteX51" fmla="*/ 146572 w 213033"/>
                    <a:gd name="connsiteY51" fmla="*/ 23216 h 189670"/>
                    <a:gd name="connsiteX52" fmla="*/ 145158 w 213033"/>
                    <a:gd name="connsiteY52" fmla="*/ 24383 h 189670"/>
                    <a:gd name="connsiteX53" fmla="*/ 140293 w 213033"/>
                    <a:gd name="connsiteY53" fmla="*/ 36126 h 189670"/>
                    <a:gd name="connsiteX54" fmla="*/ 156901 w 213033"/>
                    <a:gd name="connsiteY54" fmla="*/ 52734 h 189670"/>
                    <a:gd name="connsiteX55" fmla="*/ 173510 w 213033"/>
                    <a:gd name="connsiteY55" fmla="*/ 36126 h 189670"/>
                    <a:gd name="connsiteX56" fmla="*/ 168645 w 213033"/>
                    <a:gd name="connsiteY56" fmla="*/ 24383 h 189670"/>
                    <a:gd name="connsiteX57" fmla="*/ 167231 w 213033"/>
                    <a:gd name="connsiteY57" fmla="*/ 23216 h 189670"/>
                    <a:gd name="connsiteX58" fmla="*/ 167231 w 213033"/>
                    <a:gd name="connsiteY58" fmla="*/ 15317 h 189670"/>
                    <a:gd name="connsiteX59" fmla="*/ 192304 w 213033"/>
                    <a:gd name="connsiteY59" fmla="*/ 15317 h 189670"/>
                    <a:gd name="connsiteX60" fmla="*/ 213033 w 213033"/>
                    <a:gd name="connsiteY60" fmla="*/ 36046 h 189670"/>
                    <a:gd name="connsiteX61" fmla="*/ 213033 w 213033"/>
                    <a:gd name="connsiteY61" fmla="*/ 168941 h 189670"/>
                    <a:gd name="connsiteX62" fmla="*/ 192304 w 213033"/>
                    <a:gd name="connsiteY62" fmla="*/ 189670 h 189670"/>
                    <a:gd name="connsiteX63" fmla="*/ 20729 w 213033"/>
                    <a:gd name="connsiteY63" fmla="*/ 189670 h 189670"/>
                    <a:gd name="connsiteX64" fmla="*/ 0 w 213033"/>
                    <a:gd name="connsiteY64" fmla="*/ 168941 h 189670"/>
                    <a:gd name="connsiteX65" fmla="*/ 0 w 213033"/>
                    <a:gd name="connsiteY65" fmla="*/ 36046 h 189670"/>
                    <a:gd name="connsiteX66" fmla="*/ 20729 w 213033"/>
                    <a:gd name="connsiteY66" fmla="*/ 15317 h 189670"/>
                    <a:gd name="connsiteX67" fmla="*/ 156901 w 213033"/>
                    <a:gd name="connsiteY67" fmla="*/ 0 h 189670"/>
                    <a:gd name="connsiteX68" fmla="*/ 162997 w 213033"/>
                    <a:gd name="connsiteY68" fmla="*/ 6096 h 189670"/>
                    <a:gd name="connsiteX69" fmla="*/ 162997 w 213033"/>
                    <a:gd name="connsiteY69" fmla="*/ 35936 h 189670"/>
                    <a:gd name="connsiteX70" fmla="*/ 156901 w 213033"/>
                    <a:gd name="connsiteY70" fmla="*/ 42032 h 189670"/>
                    <a:gd name="connsiteX71" fmla="*/ 150805 w 213033"/>
                    <a:gd name="connsiteY71" fmla="*/ 35936 h 189670"/>
                    <a:gd name="connsiteX72" fmla="*/ 150805 w 213033"/>
                    <a:gd name="connsiteY72" fmla="*/ 6096 h 189670"/>
                    <a:gd name="connsiteX73" fmla="*/ 156901 w 213033"/>
                    <a:gd name="connsiteY73" fmla="*/ 0 h 189670"/>
                    <a:gd name="connsiteX74" fmla="*/ 57424 w 213033"/>
                    <a:gd name="connsiteY74" fmla="*/ 0 h 189670"/>
                    <a:gd name="connsiteX75" fmla="*/ 63520 w 213033"/>
                    <a:gd name="connsiteY75" fmla="*/ 6096 h 189670"/>
                    <a:gd name="connsiteX76" fmla="*/ 63520 w 213033"/>
                    <a:gd name="connsiteY76" fmla="*/ 35936 h 189670"/>
                    <a:gd name="connsiteX77" fmla="*/ 57424 w 213033"/>
                    <a:gd name="connsiteY77" fmla="*/ 42032 h 189670"/>
                    <a:gd name="connsiteX78" fmla="*/ 51328 w 213033"/>
                    <a:gd name="connsiteY78" fmla="*/ 35936 h 189670"/>
                    <a:gd name="connsiteX79" fmla="*/ 51328 w 213033"/>
                    <a:gd name="connsiteY79" fmla="*/ 6096 h 189670"/>
                    <a:gd name="connsiteX80" fmla="*/ 57424 w 213033"/>
                    <a:gd name="connsiteY80" fmla="*/ 0 h 18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13033" h="189670">
                      <a:moveTo>
                        <a:pt x="79398" y="138405"/>
                      </a:moveTo>
                      <a:lnTo>
                        <a:pt x="100083" y="138405"/>
                      </a:lnTo>
                      <a:lnTo>
                        <a:pt x="100083" y="161290"/>
                      </a:lnTo>
                      <a:lnTo>
                        <a:pt x="79398" y="161290"/>
                      </a:lnTo>
                      <a:close/>
                      <a:moveTo>
                        <a:pt x="47379" y="138405"/>
                      </a:moveTo>
                      <a:lnTo>
                        <a:pt x="68064" y="138405"/>
                      </a:lnTo>
                      <a:lnTo>
                        <a:pt x="68064" y="161290"/>
                      </a:lnTo>
                      <a:lnTo>
                        <a:pt x="47379" y="161290"/>
                      </a:lnTo>
                      <a:close/>
                      <a:moveTo>
                        <a:pt x="143681" y="106502"/>
                      </a:moveTo>
                      <a:lnTo>
                        <a:pt x="164366" y="106502"/>
                      </a:lnTo>
                      <a:lnTo>
                        <a:pt x="164366" y="129387"/>
                      </a:lnTo>
                      <a:lnTo>
                        <a:pt x="143681" y="129387"/>
                      </a:lnTo>
                      <a:close/>
                      <a:moveTo>
                        <a:pt x="111580" y="106502"/>
                      </a:moveTo>
                      <a:lnTo>
                        <a:pt x="132265" y="106502"/>
                      </a:lnTo>
                      <a:lnTo>
                        <a:pt x="132265" y="129387"/>
                      </a:lnTo>
                      <a:lnTo>
                        <a:pt x="111580" y="129387"/>
                      </a:lnTo>
                      <a:close/>
                      <a:moveTo>
                        <a:pt x="79480" y="106502"/>
                      </a:moveTo>
                      <a:lnTo>
                        <a:pt x="100165" y="106502"/>
                      </a:lnTo>
                      <a:lnTo>
                        <a:pt x="100165" y="129387"/>
                      </a:lnTo>
                      <a:lnTo>
                        <a:pt x="79480" y="129387"/>
                      </a:lnTo>
                      <a:close/>
                      <a:moveTo>
                        <a:pt x="47379" y="106502"/>
                      </a:moveTo>
                      <a:lnTo>
                        <a:pt x="68064" y="106502"/>
                      </a:lnTo>
                      <a:lnTo>
                        <a:pt x="68064" y="129387"/>
                      </a:lnTo>
                      <a:lnTo>
                        <a:pt x="47379" y="129387"/>
                      </a:lnTo>
                      <a:close/>
                      <a:moveTo>
                        <a:pt x="143681" y="74380"/>
                      </a:moveTo>
                      <a:lnTo>
                        <a:pt x="164366" y="74380"/>
                      </a:lnTo>
                      <a:lnTo>
                        <a:pt x="164366" y="97265"/>
                      </a:lnTo>
                      <a:lnTo>
                        <a:pt x="143681" y="97265"/>
                      </a:lnTo>
                      <a:close/>
                      <a:moveTo>
                        <a:pt x="111539" y="74380"/>
                      </a:moveTo>
                      <a:lnTo>
                        <a:pt x="132224" y="74380"/>
                      </a:lnTo>
                      <a:lnTo>
                        <a:pt x="132224" y="97265"/>
                      </a:lnTo>
                      <a:lnTo>
                        <a:pt x="111539" y="97265"/>
                      </a:lnTo>
                      <a:close/>
                      <a:moveTo>
                        <a:pt x="79398" y="74380"/>
                      </a:moveTo>
                      <a:lnTo>
                        <a:pt x="100083" y="74380"/>
                      </a:lnTo>
                      <a:lnTo>
                        <a:pt x="100083" y="97265"/>
                      </a:lnTo>
                      <a:lnTo>
                        <a:pt x="79398" y="97265"/>
                      </a:lnTo>
                      <a:close/>
                      <a:moveTo>
                        <a:pt x="27519" y="64477"/>
                      </a:moveTo>
                      <a:lnTo>
                        <a:pt x="27519" y="172742"/>
                      </a:lnTo>
                      <a:lnTo>
                        <a:pt x="185515" y="172742"/>
                      </a:lnTo>
                      <a:lnTo>
                        <a:pt x="185515" y="64477"/>
                      </a:lnTo>
                      <a:close/>
                      <a:moveTo>
                        <a:pt x="20729" y="15317"/>
                      </a:moveTo>
                      <a:lnTo>
                        <a:pt x="47094" y="15317"/>
                      </a:lnTo>
                      <a:lnTo>
                        <a:pt x="47094" y="23216"/>
                      </a:lnTo>
                      <a:lnTo>
                        <a:pt x="45680" y="24383"/>
                      </a:lnTo>
                      <a:cubicBezTo>
                        <a:pt x="42674" y="27388"/>
                        <a:pt x="40815" y="31540"/>
                        <a:pt x="40815" y="36126"/>
                      </a:cubicBezTo>
                      <a:cubicBezTo>
                        <a:pt x="40815" y="45299"/>
                        <a:pt x="48251" y="52734"/>
                        <a:pt x="57424" y="52734"/>
                      </a:cubicBezTo>
                      <a:cubicBezTo>
                        <a:pt x="66596" y="52734"/>
                        <a:pt x="74032" y="45299"/>
                        <a:pt x="74032" y="36126"/>
                      </a:cubicBezTo>
                      <a:cubicBezTo>
                        <a:pt x="74032" y="31540"/>
                        <a:pt x="72173" y="27388"/>
                        <a:pt x="69167" y="24383"/>
                      </a:cubicBezTo>
                      <a:lnTo>
                        <a:pt x="67753" y="23216"/>
                      </a:lnTo>
                      <a:lnTo>
                        <a:pt x="67753" y="15317"/>
                      </a:lnTo>
                      <a:lnTo>
                        <a:pt x="146572" y="15317"/>
                      </a:lnTo>
                      <a:lnTo>
                        <a:pt x="146572" y="23216"/>
                      </a:lnTo>
                      <a:lnTo>
                        <a:pt x="145158" y="24383"/>
                      </a:lnTo>
                      <a:cubicBezTo>
                        <a:pt x="142152" y="27388"/>
                        <a:pt x="140293" y="31540"/>
                        <a:pt x="140293" y="36126"/>
                      </a:cubicBezTo>
                      <a:cubicBezTo>
                        <a:pt x="140293" y="45299"/>
                        <a:pt x="147729" y="52734"/>
                        <a:pt x="156901" y="52734"/>
                      </a:cubicBezTo>
                      <a:cubicBezTo>
                        <a:pt x="166074" y="52734"/>
                        <a:pt x="173510" y="45299"/>
                        <a:pt x="173510" y="36126"/>
                      </a:cubicBezTo>
                      <a:cubicBezTo>
                        <a:pt x="173510" y="31540"/>
                        <a:pt x="171651" y="27388"/>
                        <a:pt x="168645" y="24383"/>
                      </a:cubicBezTo>
                      <a:lnTo>
                        <a:pt x="167231" y="23216"/>
                      </a:lnTo>
                      <a:lnTo>
                        <a:pt x="167231" y="15317"/>
                      </a:lnTo>
                      <a:lnTo>
                        <a:pt x="192304" y="15317"/>
                      </a:lnTo>
                      <a:cubicBezTo>
                        <a:pt x="203752" y="15317"/>
                        <a:pt x="213033" y="24597"/>
                        <a:pt x="213033" y="36046"/>
                      </a:cubicBezTo>
                      <a:lnTo>
                        <a:pt x="213033" y="168941"/>
                      </a:lnTo>
                      <a:cubicBezTo>
                        <a:pt x="213033" y="180390"/>
                        <a:pt x="203752" y="189670"/>
                        <a:pt x="192304" y="189670"/>
                      </a:cubicBezTo>
                      <a:lnTo>
                        <a:pt x="20729" y="189670"/>
                      </a:lnTo>
                      <a:cubicBezTo>
                        <a:pt x="9281" y="189670"/>
                        <a:pt x="0" y="180390"/>
                        <a:pt x="0" y="168941"/>
                      </a:cubicBezTo>
                      <a:lnTo>
                        <a:pt x="0" y="36046"/>
                      </a:lnTo>
                      <a:cubicBezTo>
                        <a:pt x="0" y="24597"/>
                        <a:pt x="9281" y="15317"/>
                        <a:pt x="20729" y="15317"/>
                      </a:cubicBezTo>
                      <a:close/>
                      <a:moveTo>
                        <a:pt x="156901" y="0"/>
                      </a:moveTo>
                      <a:cubicBezTo>
                        <a:pt x="160268" y="0"/>
                        <a:pt x="162997" y="2729"/>
                        <a:pt x="162997" y="6096"/>
                      </a:cubicBezTo>
                      <a:lnTo>
                        <a:pt x="162997" y="35936"/>
                      </a:lnTo>
                      <a:cubicBezTo>
                        <a:pt x="162997" y="39303"/>
                        <a:pt x="160268" y="42032"/>
                        <a:pt x="156901" y="42032"/>
                      </a:cubicBezTo>
                      <a:cubicBezTo>
                        <a:pt x="153534" y="42032"/>
                        <a:pt x="150805" y="39303"/>
                        <a:pt x="150805" y="35936"/>
                      </a:cubicBezTo>
                      <a:lnTo>
                        <a:pt x="150805" y="6096"/>
                      </a:lnTo>
                      <a:cubicBezTo>
                        <a:pt x="150805" y="2729"/>
                        <a:pt x="153534" y="0"/>
                        <a:pt x="156901" y="0"/>
                      </a:cubicBezTo>
                      <a:close/>
                      <a:moveTo>
                        <a:pt x="57424" y="0"/>
                      </a:moveTo>
                      <a:cubicBezTo>
                        <a:pt x="60791" y="0"/>
                        <a:pt x="63520" y="2729"/>
                        <a:pt x="63520" y="6096"/>
                      </a:cubicBezTo>
                      <a:lnTo>
                        <a:pt x="63520" y="35936"/>
                      </a:lnTo>
                      <a:cubicBezTo>
                        <a:pt x="63520" y="39303"/>
                        <a:pt x="60791" y="42032"/>
                        <a:pt x="57424" y="42032"/>
                      </a:cubicBezTo>
                      <a:cubicBezTo>
                        <a:pt x="54057" y="42032"/>
                        <a:pt x="51328" y="39303"/>
                        <a:pt x="51328" y="35936"/>
                      </a:cubicBezTo>
                      <a:lnTo>
                        <a:pt x="51328" y="6096"/>
                      </a:lnTo>
                      <a:cubicBezTo>
                        <a:pt x="51328" y="2729"/>
                        <a:pt x="54057" y="0"/>
                        <a:pt x="57424"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Arial" panose="020B0604020202020204" pitchFamily="34" charset="0"/>
                    <a:cs typeface="Arial" panose="020B0604020202020204" pitchFamily="34" charset="0"/>
                  </a:endParaRPr>
                </a:p>
              </p:txBody>
            </p:sp>
          </p:grpSp>
          <p:grpSp>
            <p:nvGrpSpPr>
              <p:cNvPr id="36" name="Group 35">
                <a:extLst>
                  <a:ext uri="{FF2B5EF4-FFF2-40B4-BE49-F238E27FC236}">
                    <a16:creationId xmlns:a16="http://schemas.microsoft.com/office/drawing/2014/main" id="{9F25F7D6-58AE-397E-509A-382C833B1C81}"/>
                  </a:ext>
                </a:extLst>
              </p:cNvPr>
              <p:cNvGrpSpPr/>
              <p:nvPr/>
            </p:nvGrpSpPr>
            <p:grpSpPr>
              <a:xfrm>
                <a:off x="1504547" y="683288"/>
                <a:ext cx="949664" cy="1732911"/>
                <a:chOff x="1504547" y="683288"/>
                <a:chExt cx="949664" cy="1732911"/>
              </a:xfrm>
            </p:grpSpPr>
            <p:grpSp>
              <p:nvGrpSpPr>
                <p:cNvPr id="37" name="Group 36">
                  <a:extLst>
                    <a:ext uri="{FF2B5EF4-FFF2-40B4-BE49-F238E27FC236}">
                      <a16:creationId xmlns:a16="http://schemas.microsoft.com/office/drawing/2014/main" id="{3922956B-2C29-BC62-1F98-3CE3F1C763F1}"/>
                    </a:ext>
                  </a:extLst>
                </p:cNvPr>
                <p:cNvGrpSpPr/>
                <p:nvPr/>
              </p:nvGrpSpPr>
              <p:grpSpPr>
                <a:xfrm>
                  <a:off x="1504547" y="683288"/>
                  <a:ext cx="949664" cy="1732911"/>
                  <a:chOff x="4106373" y="341832"/>
                  <a:chExt cx="1017797" cy="1857239"/>
                </a:xfrm>
              </p:grpSpPr>
              <p:sp>
                <p:nvSpPr>
                  <p:cNvPr id="39" name="Oval 38">
                    <a:extLst>
                      <a:ext uri="{FF2B5EF4-FFF2-40B4-BE49-F238E27FC236}">
                        <a16:creationId xmlns:a16="http://schemas.microsoft.com/office/drawing/2014/main" id="{312B1AD3-A346-A95C-D03B-796A59FE590D}"/>
                      </a:ext>
                    </a:extLst>
                  </p:cNvPr>
                  <p:cNvSpPr/>
                  <p:nvPr/>
                </p:nvSpPr>
                <p:spPr>
                  <a:xfrm>
                    <a:off x="4106373" y="341832"/>
                    <a:ext cx="1017797" cy="1017797"/>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40" name="Freeform 39">
                    <a:extLst>
                      <a:ext uri="{FF2B5EF4-FFF2-40B4-BE49-F238E27FC236}">
                        <a16:creationId xmlns:a16="http://schemas.microsoft.com/office/drawing/2014/main" id="{BC8597FE-A3AD-EFF7-55FD-60A9A326E7DD}"/>
                      </a:ext>
                    </a:extLst>
                  </p:cNvPr>
                  <p:cNvSpPr/>
                  <p:nvPr/>
                </p:nvSpPr>
                <p:spPr>
                  <a:xfrm>
                    <a:off x="4189822" y="512507"/>
                    <a:ext cx="850898" cy="1686564"/>
                  </a:xfrm>
                  <a:custGeom>
                    <a:avLst/>
                    <a:gdLst>
                      <a:gd name="connsiteX0" fmla="*/ 425449 w 850898"/>
                      <a:gd name="connsiteY0" fmla="*/ 0 h 1686564"/>
                      <a:gd name="connsiteX1" fmla="*/ 850898 w 850898"/>
                      <a:gd name="connsiteY1" fmla="*/ 425449 h 1686564"/>
                      <a:gd name="connsiteX2" fmla="*/ 511192 w 850898"/>
                      <a:gd name="connsiteY2" fmla="*/ 842254 h 1686564"/>
                      <a:gd name="connsiteX3" fmla="*/ 496805 w 850898"/>
                      <a:gd name="connsiteY3" fmla="*/ 843705 h 1686564"/>
                      <a:gd name="connsiteX4" fmla="*/ 492043 w 850898"/>
                      <a:gd name="connsiteY4" fmla="*/ 1409284 h 1686564"/>
                      <a:gd name="connsiteX5" fmla="*/ 610864 w 850898"/>
                      <a:gd name="connsiteY5" fmla="*/ 1300796 h 1686564"/>
                      <a:gd name="connsiteX6" fmla="*/ 719352 w 850898"/>
                      <a:gd name="connsiteY6" fmla="*/ 1404118 h 1686564"/>
                      <a:gd name="connsiteX7" fmla="*/ 502376 w 850898"/>
                      <a:gd name="connsiteY7" fmla="*/ 1631426 h 1686564"/>
                      <a:gd name="connsiteX8" fmla="*/ 331894 w 850898"/>
                      <a:gd name="connsiteY8" fmla="*/ 1626260 h 1686564"/>
                      <a:gd name="connsiteX9" fmla="*/ 114918 w 850898"/>
                      <a:gd name="connsiteY9" fmla="*/ 1398952 h 1686564"/>
                      <a:gd name="connsiteX10" fmla="*/ 223406 w 850898"/>
                      <a:gd name="connsiteY10" fmla="*/ 1300796 h 1686564"/>
                      <a:gd name="connsiteX11" fmla="*/ 342226 w 850898"/>
                      <a:gd name="connsiteY11" fmla="*/ 1414450 h 1686564"/>
                      <a:gd name="connsiteX12" fmla="*/ 347028 w 850898"/>
                      <a:gd name="connsiteY12" fmla="*/ 842993 h 1686564"/>
                      <a:gd name="connsiteX13" fmla="*/ 339706 w 850898"/>
                      <a:gd name="connsiteY13" fmla="*/ 842254 h 1686564"/>
                      <a:gd name="connsiteX14" fmla="*/ 0 w 850898"/>
                      <a:gd name="connsiteY14" fmla="*/ 425449 h 1686564"/>
                      <a:gd name="connsiteX15" fmla="*/ 425449 w 850898"/>
                      <a:gd name="connsiteY15" fmla="*/ 0 h 168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898" h="1686564">
                        <a:moveTo>
                          <a:pt x="425449" y="0"/>
                        </a:moveTo>
                        <a:cubicBezTo>
                          <a:pt x="660418" y="0"/>
                          <a:pt x="850898" y="190480"/>
                          <a:pt x="850898" y="425449"/>
                        </a:cubicBezTo>
                        <a:cubicBezTo>
                          <a:pt x="850898" y="631047"/>
                          <a:pt x="705062" y="802583"/>
                          <a:pt x="511192" y="842254"/>
                        </a:cubicBezTo>
                        <a:lnTo>
                          <a:pt x="496805" y="843705"/>
                        </a:lnTo>
                        <a:lnTo>
                          <a:pt x="492043" y="1409284"/>
                        </a:lnTo>
                        <a:lnTo>
                          <a:pt x="610864" y="1300796"/>
                        </a:lnTo>
                        <a:cubicBezTo>
                          <a:pt x="692271" y="1254275"/>
                          <a:pt x="754627" y="1336339"/>
                          <a:pt x="719352" y="1404118"/>
                        </a:cubicBezTo>
                        <a:lnTo>
                          <a:pt x="502376" y="1631426"/>
                        </a:lnTo>
                        <a:cubicBezTo>
                          <a:pt x="419355" y="1717811"/>
                          <a:pt x="400628" y="1692276"/>
                          <a:pt x="331894" y="1626260"/>
                        </a:cubicBezTo>
                        <a:lnTo>
                          <a:pt x="114918" y="1398952"/>
                        </a:lnTo>
                        <a:cubicBezTo>
                          <a:pt x="72500" y="1325751"/>
                          <a:pt x="158669" y="1247791"/>
                          <a:pt x="223406" y="1300796"/>
                        </a:cubicBezTo>
                        <a:lnTo>
                          <a:pt x="342226" y="1414450"/>
                        </a:lnTo>
                        <a:lnTo>
                          <a:pt x="347028" y="842993"/>
                        </a:lnTo>
                        <a:lnTo>
                          <a:pt x="339706" y="842254"/>
                        </a:lnTo>
                        <a:cubicBezTo>
                          <a:pt x="145837" y="802583"/>
                          <a:pt x="0" y="631047"/>
                          <a:pt x="0" y="425449"/>
                        </a:cubicBezTo>
                        <a:cubicBezTo>
                          <a:pt x="0" y="190480"/>
                          <a:pt x="190480" y="0"/>
                          <a:pt x="425449" y="0"/>
                        </a:cubicBezTo>
                        <a:close/>
                      </a:path>
                    </a:pathLst>
                  </a:custGeom>
                  <a:solidFill>
                    <a:srgbClr val="E9C35A"/>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sp>
              <p:nvSpPr>
                <p:cNvPr id="38" name="Freeform 37">
                  <a:extLst>
                    <a:ext uri="{FF2B5EF4-FFF2-40B4-BE49-F238E27FC236}">
                      <a16:creationId xmlns:a16="http://schemas.microsoft.com/office/drawing/2014/main" id="{79792E06-9343-9B50-09CF-91FFF8E77402}"/>
                    </a:ext>
                  </a:extLst>
                </p:cNvPr>
                <p:cNvSpPr/>
                <p:nvPr/>
              </p:nvSpPr>
              <p:spPr>
                <a:xfrm>
                  <a:off x="1790511" y="1060636"/>
                  <a:ext cx="357998" cy="350974"/>
                </a:xfrm>
                <a:custGeom>
                  <a:avLst/>
                  <a:gdLst>
                    <a:gd name="connsiteX0" fmla="*/ 3991804 w 4867848"/>
                    <a:gd name="connsiteY0" fmla="*/ 1855150 h 4867848"/>
                    <a:gd name="connsiteX1" fmla="*/ 3300230 w 4867848"/>
                    <a:gd name="connsiteY1" fmla="*/ 2128830 h 4867848"/>
                    <a:gd name="connsiteX2" fmla="*/ 3317838 w 4867848"/>
                    <a:gd name="connsiteY2" fmla="*/ 2176079 h 4867848"/>
                    <a:gd name="connsiteX3" fmla="*/ 3359000 w 4867848"/>
                    <a:gd name="connsiteY3" fmla="*/ 2443449 h 4867848"/>
                    <a:gd name="connsiteX4" fmla="*/ 2715704 w 4867848"/>
                    <a:gd name="connsiteY4" fmla="*/ 3302146 h 4867848"/>
                    <a:gd name="connsiteX5" fmla="*/ 2663618 w 4867848"/>
                    <a:gd name="connsiteY5" fmla="*/ 3315299 h 4867848"/>
                    <a:gd name="connsiteX6" fmla="*/ 2663618 w 4867848"/>
                    <a:gd name="connsiteY6" fmla="*/ 4070708 h 4867848"/>
                    <a:gd name="connsiteX7" fmla="*/ 2777956 w 4867848"/>
                    <a:gd name="connsiteY7" fmla="*/ 4053431 h 4867848"/>
                    <a:gd name="connsiteX8" fmla="*/ 4103248 w 4867848"/>
                    <a:gd name="connsiteY8" fmla="*/ 2443449 h 4867848"/>
                    <a:gd name="connsiteX9" fmla="*/ 4028626 w 4867848"/>
                    <a:gd name="connsiteY9" fmla="*/ 1954761 h 4867848"/>
                    <a:gd name="connsiteX10" fmla="*/ 2663618 w 4867848"/>
                    <a:gd name="connsiteY10" fmla="*/ 814945 h 4867848"/>
                    <a:gd name="connsiteX11" fmla="*/ 2663618 w 4867848"/>
                    <a:gd name="connsiteY11" fmla="*/ 1571599 h 4867848"/>
                    <a:gd name="connsiteX12" fmla="*/ 2715704 w 4867848"/>
                    <a:gd name="connsiteY12" fmla="*/ 1584752 h 4867848"/>
                    <a:gd name="connsiteX13" fmla="*/ 3090840 w 4867848"/>
                    <a:gd name="connsiteY13" fmla="*/ 1807676 h 4867848"/>
                    <a:gd name="connsiteX14" fmla="*/ 3161446 w 4867848"/>
                    <a:gd name="connsiteY14" fmla="*/ 1891713 h 4867848"/>
                    <a:gd name="connsiteX15" fmla="*/ 3872390 w 4867848"/>
                    <a:gd name="connsiteY15" fmla="*/ 1610367 h 4867848"/>
                    <a:gd name="connsiteX16" fmla="*/ 3819780 w 4867848"/>
                    <a:gd name="connsiteY16" fmla="*/ 1524626 h 4867848"/>
                    <a:gd name="connsiteX17" fmla="*/ 2858258 w 4867848"/>
                    <a:gd name="connsiteY17" fmla="*/ 851818 h 4867848"/>
                    <a:gd name="connsiteX18" fmla="*/ 2439304 w 4867848"/>
                    <a:gd name="connsiteY18" fmla="*/ 800287 h 4867848"/>
                    <a:gd name="connsiteX19" fmla="*/ 2273742 w 4867848"/>
                    <a:gd name="connsiteY19" fmla="*/ 808565 h 4867848"/>
                    <a:gd name="connsiteX20" fmla="*/ 783644 w 4867848"/>
                    <a:gd name="connsiteY20" fmla="*/ 2443449 h 4867848"/>
                    <a:gd name="connsiteX21" fmla="*/ 2273742 w 4867848"/>
                    <a:gd name="connsiteY21" fmla="*/ 4078333 h 4867848"/>
                    <a:gd name="connsiteX22" fmla="*/ 2439304 w 4867848"/>
                    <a:gd name="connsiteY22" fmla="*/ 4086611 h 4867848"/>
                    <a:gd name="connsiteX23" fmla="*/ 2439304 w 4867848"/>
                    <a:gd name="connsiteY23" fmla="*/ 3342364 h 4867848"/>
                    <a:gd name="connsiteX24" fmla="*/ 2349838 w 4867848"/>
                    <a:gd name="connsiteY24" fmla="*/ 3337927 h 4867848"/>
                    <a:gd name="connsiteX25" fmla="*/ 1527894 w 4867848"/>
                    <a:gd name="connsiteY25" fmla="*/ 2443449 h 4867848"/>
                    <a:gd name="connsiteX26" fmla="*/ 2349838 w 4867848"/>
                    <a:gd name="connsiteY26" fmla="*/ 1548971 h 4867848"/>
                    <a:gd name="connsiteX27" fmla="*/ 2439304 w 4867848"/>
                    <a:gd name="connsiteY27" fmla="*/ 1544535 h 4867848"/>
                    <a:gd name="connsiteX28" fmla="*/ 2433924 w 4867848"/>
                    <a:gd name="connsiteY28" fmla="*/ 0 h 4867848"/>
                    <a:gd name="connsiteX29" fmla="*/ 4867848 w 4867848"/>
                    <a:gd name="connsiteY29" fmla="*/ 2433924 h 4867848"/>
                    <a:gd name="connsiteX30" fmla="*/ 2433924 w 4867848"/>
                    <a:gd name="connsiteY30" fmla="*/ 4867848 h 4867848"/>
                    <a:gd name="connsiteX31" fmla="*/ 0 w 4867848"/>
                    <a:gd name="connsiteY31" fmla="*/ 2433924 h 4867848"/>
                    <a:gd name="connsiteX32" fmla="*/ 2433924 w 4867848"/>
                    <a:gd name="connsiteY32" fmla="*/ 0 h 486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67848" h="4867848">
                      <a:moveTo>
                        <a:pt x="3991804" y="1855150"/>
                      </a:moveTo>
                      <a:lnTo>
                        <a:pt x="3300230" y="2128830"/>
                      </a:lnTo>
                      <a:lnTo>
                        <a:pt x="3317838" y="2176079"/>
                      </a:lnTo>
                      <a:cubicBezTo>
                        <a:pt x="3344590" y="2260541"/>
                        <a:pt x="3359000" y="2350342"/>
                        <a:pt x="3359000" y="2443449"/>
                      </a:cubicBezTo>
                      <a:cubicBezTo>
                        <a:pt x="3359000" y="2846912"/>
                        <a:pt x="3088396" y="3188307"/>
                        <a:pt x="2715704" y="3302146"/>
                      </a:cubicBezTo>
                      <a:lnTo>
                        <a:pt x="2663618" y="3315299"/>
                      </a:lnTo>
                      <a:lnTo>
                        <a:pt x="2663618" y="4070708"/>
                      </a:lnTo>
                      <a:lnTo>
                        <a:pt x="2777956" y="4053431"/>
                      </a:lnTo>
                      <a:cubicBezTo>
                        <a:pt x="3534298" y="3900193"/>
                        <a:pt x="4103248" y="3237606"/>
                        <a:pt x="4103248" y="2443449"/>
                      </a:cubicBezTo>
                      <a:cubicBezTo>
                        <a:pt x="4103248" y="2273273"/>
                        <a:pt x="4077122" y="2109138"/>
                        <a:pt x="4028626" y="1954761"/>
                      </a:cubicBezTo>
                      <a:close/>
                      <a:moveTo>
                        <a:pt x="2663618" y="814945"/>
                      </a:moveTo>
                      <a:lnTo>
                        <a:pt x="2663618" y="1571599"/>
                      </a:lnTo>
                      <a:lnTo>
                        <a:pt x="2715704" y="1584752"/>
                      </a:lnTo>
                      <a:cubicBezTo>
                        <a:pt x="2859048" y="1628536"/>
                        <a:pt x="2987288" y="1705983"/>
                        <a:pt x="3090840" y="1807676"/>
                      </a:cubicBezTo>
                      <a:lnTo>
                        <a:pt x="3161446" y="1891713"/>
                      </a:lnTo>
                      <a:lnTo>
                        <a:pt x="3872390" y="1610367"/>
                      </a:lnTo>
                      <a:lnTo>
                        <a:pt x="3819780" y="1524626"/>
                      </a:lnTo>
                      <a:cubicBezTo>
                        <a:pt x="3596072" y="1196772"/>
                        <a:pt x="3256010" y="953142"/>
                        <a:pt x="2858258" y="851818"/>
                      </a:cubicBezTo>
                      <a:close/>
                      <a:moveTo>
                        <a:pt x="2439304" y="800287"/>
                      </a:moveTo>
                      <a:lnTo>
                        <a:pt x="2273742" y="808565"/>
                      </a:lnTo>
                      <a:cubicBezTo>
                        <a:pt x="1436776" y="892722"/>
                        <a:pt x="783644" y="1592567"/>
                        <a:pt x="783644" y="2443449"/>
                      </a:cubicBezTo>
                      <a:cubicBezTo>
                        <a:pt x="783644" y="3294331"/>
                        <a:pt x="1436776" y="3994177"/>
                        <a:pt x="2273742" y="4078333"/>
                      </a:cubicBezTo>
                      <a:lnTo>
                        <a:pt x="2439304" y="4086611"/>
                      </a:lnTo>
                      <a:lnTo>
                        <a:pt x="2439304" y="3342364"/>
                      </a:lnTo>
                      <a:lnTo>
                        <a:pt x="2349838" y="3337927"/>
                      </a:lnTo>
                      <a:cubicBezTo>
                        <a:pt x="1888162" y="3291883"/>
                        <a:pt x="1527894" y="2908983"/>
                        <a:pt x="1527894" y="2443449"/>
                      </a:cubicBezTo>
                      <a:cubicBezTo>
                        <a:pt x="1527894" y="1977915"/>
                        <a:pt x="1888162" y="1595015"/>
                        <a:pt x="2349838" y="1548971"/>
                      </a:cubicBezTo>
                      <a:lnTo>
                        <a:pt x="2439304" y="1544535"/>
                      </a:lnTo>
                      <a:close/>
                      <a:moveTo>
                        <a:pt x="2433924" y="0"/>
                      </a:moveTo>
                      <a:cubicBezTo>
                        <a:pt x="3778142" y="0"/>
                        <a:pt x="4867848" y="1089705"/>
                        <a:pt x="4867848" y="2433924"/>
                      </a:cubicBezTo>
                      <a:cubicBezTo>
                        <a:pt x="4867848" y="3778143"/>
                        <a:pt x="3778142" y="4867848"/>
                        <a:pt x="2433924" y="4867848"/>
                      </a:cubicBezTo>
                      <a:cubicBezTo>
                        <a:pt x="1089704" y="4867848"/>
                        <a:pt x="0" y="3778143"/>
                        <a:pt x="0" y="2433924"/>
                      </a:cubicBezTo>
                      <a:cubicBezTo>
                        <a:pt x="0" y="1089705"/>
                        <a:pt x="1089704" y="0"/>
                        <a:pt x="2433924" y="0"/>
                      </a:cubicBezTo>
                      <a:close/>
                    </a:path>
                  </a:pathLst>
                </a:custGeom>
                <a:solidFill>
                  <a:schemeClr val="bg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grpSp>
          <p:nvGrpSpPr>
            <p:cNvPr id="11" name="Group 10">
              <a:extLst>
                <a:ext uri="{FF2B5EF4-FFF2-40B4-BE49-F238E27FC236}">
                  <a16:creationId xmlns:a16="http://schemas.microsoft.com/office/drawing/2014/main" id="{D17F957A-377F-1C1D-7E17-026A155415DA}"/>
                </a:ext>
              </a:extLst>
            </p:cNvPr>
            <p:cNvGrpSpPr/>
            <p:nvPr/>
          </p:nvGrpSpPr>
          <p:grpSpPr>
            <a:xfrm>
              <a:off x="-43572" y="2705217"/>
              <a:ext cx="2244024" cy="1653631"/>
              <a:chOff x="-43572" y="2705217"/>
              <a:chExt cx="2244024" cy="1653631"/>
            </a:xfrm>
          </p:grpSpPr>
          <p:grpSp>
            <p:nvGrpSpPr>
              <p:cNvPr id="12" name="Group 11">
                <a:extLst>
                  <a:ext uri="{FF2B5EF4-FFF2-40B4-BE49-F238E27FC236}">
                    <a16:creationId xmlns:a16="http://schemas.microsoft.com/office/drawing/2014/main" id="{24140F83-B159-E480-F088-A9275AD75EE6}"/>
                  </a:ext>
                </a:extLst>
              </p:cNvPr>
              <p:cNvGrpSpPr/>
              <p:nvPr/>
            </p:nvGrpSpPr>
            <p:grpSpPr>
              <a:xfrm>
                <a:off x="546816" y="2705217"/>
                <a:ext cx="1653636" cy="1653631"/>
                <a:chOff x="2672841" y="1791451"/>
                <a:chExt cx="3798321" cy="3798318"/>
              </a:xfrm>
            </p:grpSpPr>
            <p:sp>
              <p:nvSpPr>
                <p:cNvPr id="27" name="Oval 26">
                  <a:extLst>
                    <a:ext uri="{FF2B5EF4-FFF2-40B4-BE49-F238E27FC236}">
                      <a16:creationId xmlns:a16="http://schemas.microsoft.com/office/drawing/2014/main" id="{434850FF-F721-27EB-985F-66FC169B5B2E}"/>
                    </a:ext>
                  </a:extLst>
                </p:cNvPr>
                <p:cNvSpPr/>
                <p:nvPr/>
              </p:nvSpPr>
              <p:spPr>
                <a:xfrm>
                  <a:off x="2672841" y="1791451"/>
                  <a:ext cx="3798321" cy="3798318"/>
                </a:xfrm>
                <a:prstGeom prst="ellipse">
                  <a:avLst/>
                </a:prstGeom>
                <a:solidFill>
                  <a:srgbClr val="C00000"/>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8" name="Oval 27">
                  <a:extLst>
                    <a:ext uri="{FF2B5EF4-FFF2-40B4-BE49-F238E27FC236}">
                      <a16:creationId xmlns:a16="http://schemas.microsoft.com/office/drawing/2014/main" id="{4135610C-9644-3929-F926-CDCF0BED0720}"/>
                    </a:ext>
                  </a:extLst>
                </p:cNvPr>
                <p:cNvSpPr/>
                <p:nvPr/>
              </p:nvSpPr>
              <p:spPr>
                <a:xfrm>
                  <a:off x="3047447" y="2166056"/>
                  <a:ext cx="3049109" cy="3049108"/>
                </a:xfrm>
                <a:prstGeom prst="ellipse">
                  <a:avLst/>
                </a:prstGeom>
                <a:solidFill>
                  <a:schemeClr val="bg1"/>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FBCEE193-5D19-F924-B683-2D991157653A}"/>
                    </a:ext>
                  </a:extLst>
                </p:cNvPr>
                <p:cNvSpPr/>
                <p:nvPr/>
              </p:nvSpPr>
              <p:spPr>
                <a:xfrm>
                  <a:off x="3395918" y="2514526"/>
                  <a:ext cx="2352169" cy="2352170"/>
                </a:xfrm>
                <a:prstGeom prst="ellipse">
                  <a:avLst/>
                </a:prstGeom>
                <a:solidFill>
                  <a:srgbClr val="C00000"/>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30" name="Oval 29">
                  <a:extLst>
                    <a:ext uri="{FF2B5EF4-FFF2-40B4-BE49-F238E27FC236}">
                      <a16:creationId xmlns:a16="http://schemas.microsoft.com/office/drawing/2014/main" id="{53420EAF-878F-42C1-7FDA-BC5BC7BF230A}"/>
                    </a:ext>
                  </a:extLst>
                </p:cNvPr>
                <p:cNvSpPr/>
                <p:nvPr/>
              </p:nvSpPr>
              <p:spPr>
                <a:xfrm>
                  <a:off x="3735674" y="2854284"/>
                  <a:ext cx="1672656" cy="1672655"/>
                </a:xfrm>
                <a:prstGeom prst="ellipse">
                  <a:avLst/>
                </a:prstGeom>
                <a:solidFill>
                  <a:schemeClr val="bg1"/>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3A13EA8F-15F0-EF5A-585F-A14244E26F54}"/>
                    </a:ext>
                  </a:extLst>
                </p:cNvPr>
                <p:cNvSpPr/>
                <p:nvPr/>
              </p:nvSpPr>
              <p:spPr>
                <a:xfrm>
                  <a:off x="4101567" y="3220177"/>
                  <a:ext cx="940868" cy="940867"/>
                </a:xfrm>
                <a:prstGeom prst="ellipse">
                  <a:avLst/>
                </a:prstGeom>
                <a:solidFill>
                  <a:srgbClr val="C00000"/>
                </a:solidFill>
                <a:ln w="6350">
                  <a:noFill/>
                </a:ln>
                <a:effectLst>
                  <a:outerShdw blurRad="88900" sx="101000" sy="101000" algn="ctr" rotWithShape="0">
                    <a:prstClr val="black">
                      <a:alpha val="40000"/>
                    </a:prstClr>
                  </a:outerShdw>
                </a:effectLst>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2EDB6417-13B8-0082-E152-AF4B3D774DE9}"/>
                  </a:ext>
                </a:extLst>
              </p:cNvPr>
              <p:cNvGrpSpPr/>
              <p:nvPr/>
            </p:nvGrpSpPr>
            <p:grpSpPr>
              <a:xfrm rot="18484634">
                <a:off x="553752" y="2257100"/>
                <a:ext cx="412981" cy="1607630"/>
                <a:chOff x="7820943" y="2080072"/>
                <a:chExt cx="1124816" cy="4378604"/>
              </a:xfrm>
            </p:grpSpPr>
            <p:grpSp>
              <p:nvGrpSpPr>
                <p:cNvPr id="14" name="Group 13">
                  <a:extLst>
                    <a:ext uri="{FF2B5EF4-FFF2-40B4-BE49-F238E27FC236}">
                      <a16:creationId xmlns:a16="http://schemas.microsoft.com/office/drawing/2014/main" id="{FB5EB860-8AED-4998-AA54-F5E1EE04C7EC}"/>
                    </a:ext>
                  </a:extLst>
                </p:cNvPr>
                <p:cNvGrpSpPr/>
                <p:nvPr/>
              </p:nvGrpSpPr>
              <p:grpSpPr>
                <a:xfrm>
                  <a:off x="8209084" y="3313325"/>
                  <a:ext cx="325316" cy="2586136"/>
                  <a:chOff x="8209084" y="3313325"/>
                  <a:chExt cx="325316" cy="2586136"/>
                </a:xfrm>
              </p:grpSpPr>
              <p:sp>
                <p:nvSpPr>
                  <p:cNvPr id="20" name="Rectangle 9">
                    <a:extLst>
                      <a:ext uri="{FF2B5EF4-FFF2-40B4-BE49-F238E27FC236}">
                        <a16:creationId xmlns:a16="http://schemas.microsoft.com/office/drawing/2014/main" id="{ABCBBEBF-AB75-A055-65BE-7AA2AAE8642E}"/>
                      </a:ext>
                    </a:extLst>
                  </p:cNvPr>
                  <p:cNvSpPr/>
                  <p:nvPr/>
                </p:nvSpPr>
                <p:spPr>
                  <a:xfrm>
                    <a:off x="8240190" y="3313325"/>
                    <a:ext cx="290855" cy="2586136"/>
                  </a:xfrm>
                  <a:custGeom>
                    <a:avLst/>
                    <a:gdLst>
                      <a:gd name="connsiteX0" fmla="*/ 0 w 219075"/>
                      <a:gd name="connsiteY0" fmla="*/ 0 h 1300162"/>
                      <a:gd name="connsiteX1" fmla="*/ 219075 w 219075"/>
                      <a:gd name="connsiteY1" fmla="*/ 0 h 1300162"/>
                      <a:gd name="connsiteX2" fmla="*/ 219075 w 219075"/>
                      <a:gd name="connsiteY2" fmla="*/ 1300162 h 1300162"/>
                      <a:gd name="connsiteX3" fmla="*/ 0 w 219075"/>
                      <a:gd name="connsiteY3" fmla="*/ 1300162 h 1300162"/>
                      <a:gd name="connsiteX4" fmla="*/ 0 w 219075"/>
                      <a:gd name="connsiteY4" fmla="*/ 0 h 1300162"/>
                      <a:gd name="connsiteX0" fmla="*/ 42863 w 261938"/>
                      <a:gd name="connsiteY0" fmla="*/ 0 h 2586037"/>
                      <a:gd name="connsiteX1" fmla="*/ 261938 w 261938"/>
                      <a:gd name="connsiteY1" fmla="*/ 0 h 2586037"/>
                      <a:gd name="connsiteX2" fmla="*/ 261938 w 261938"/>
                      <a:gd name="connsiteY2" fmla="*/ 1300162 h 2586037"/>
                      <a:gd name="connsiteX3" fmla="*/ 0 w 261938"/>
                      <a:gd name="connsiteY3" fmla="*/ 2586037 h 2586037"/>
                      <a:gd name="connsiteX4" fmla="*/ 42863 w 261938"/>
                      <a:gd name="connsiteY4" fmla="*/ 0 h 2586037"/>
                      <a:gd name="connsiteX0" fmla="*/ 42863 w 295275"/>
                      <a:gd name="connsiteY0" fmla="*/ 0 h 2586037"/>
                      <a:gd name="connsiteX1" fmla="*/ 261938 w 295275"/>
                      <a:gd name="connsiteY1" fmla="*/ 0 h 2586037"/>
                      <a:gd name="connsiteX2" fmla="*/ 295275 w 295275"/>
                      <a:gd name="connsiteY2" fmla="*/ 2543174 h 2586037"/>
                      <a:gd name="connsiteX3" fmla="*/ 0 w 295275"/>
                      <a:gd name="connsiteY3" fmla="*/ 2586037 h 2586037"/>
                      <a:gd name="connsiteX4" fmla="*/ 42863 w 295275"/>
                      <a:gd name="connsiteY4" fmla="*/ 0 h 2586037"/>
                      <a:gd name="connsiteX0" fmla="*/ 42863 w 295275"/>
                      <a:gd name="connsiteY0" fmla="*/ 0 h 2693443"/>
                      <a:gd name="connsiteX1" fmla="*/ 261938 w 295275"/>
                      <a:gd name="connsiteY1" fmla="*/ 0 h 2693443"/>
                      <a:gd name="connsiteX2" fmla="*/ 295275 w 295275"/>
                      <a:gd name="connsiteY2" fmla="*/ 2543174 h 2693443"/>
                      <a:gd name="connsiteX3" fmla="*/ 0 w 295275"/>
                      <a:gd name="connsiteY3" fmla="*/ 2586037 h 2693443"/>
                      <a:gd name="connsiteX4" fmla="*/ 42863 w 295275"/>
                      <a:gd name="connsiteY4" fmla="*/ 0 h 2693443"/>
                      <a:gd name="connsiteX0" fmla="*/ 42863 w 295275"/>
                      <a:gd name="connsiteY0" fmla="*/ 0 h 2804997"/>
                      <a:gd name="connsiteX1" fmla="*/ 261938 w 295275"/>
                      <a:gd name="connsiteY1" fmla="*/ 0 h 2804997"/>
                      <a:gd name="connsiteX2" fmla="*/ 295275 w 295275"/>
                      <a:gd name="connsiteY2" fmla="*/ 2543174 h 2804997"/>
                      <a:gd name="connsiteX3" fmla="*/ 0 w 295275"/>
                      <a:gd name="connsiteY3" fmla="*/ 2586037 h 2804997"/>
                      <a:gd name="connsiteX4" fmla="*/ 42863 w 295275"/>
                      <a:gd name="connsiteY4" fmla="*/ 0 h 2804997"/>
                      <a:gd name="connsiteX0" fmla="*/ 42863 w 295275"/>
                      <a:gd name="connsiteY0" fmla="*/ 0 h 2820247"/>
                      <a:gd name="connsiteX1" fmla="*/ 261938 w 295275"/>
                      <a:gd name="connsiteY1" fmla="*/ 0 h 2820247"/>
                      <a:gd name="connsiteX2" fmla="*/ 295275 w 295275"/>
                      <a:gd name="connsiteY2" fmla="*/ 2543174 h 2820247"/>
                      <a:gd name="connsiteX3" fmla="*/ 0 w 295275"/>
                      <a:gd name="connsiteY3" fmla="*/ 2586037 h 2820247"/>
                      <a:gd name="connsiteX4" fmla="*/ 42863 w 295275"/>
                      <a:gd name="connsiteY4" fmla="*/ 0 h 2820247"/>
                      <a:gd name="connsiteX0" fmla="*/ 42863 w 295389"/>
                      <a:gd name="connsiteY0" fmla="*/ 0 h 2808332"/>
                      <a:gd name="connsiteX1" fmla="*/ 261938 w 295389"/>
                      <a:gd name="connsiteY1" fmla="*/ 0 h 2808332"/>
                      <a:gd name="connsiteX2" fmla="*/ 295275 w 295389"/>
                      <a:gd name="connsiteY2" fmla="*/ 2543174 h 2808332"/>
                      <a:gd name="connsiteX3" fmla="*/ 0 w 295389"/>
                      <a:gd name="connsiteY3" fmla="*/ 2586037 h 2808332"/>
                      <a:gd name="connsiteX4" fmla="*/ 42863 w 295389"/>
                      <a:gd name="connsiteY4" fmla="*/ 0 h 2808332"/>
                      <a:gd name="connsiteX0" fmla="*/ 66308 w 318834"/>
                      <a:gd name="connsiteY0" fmla="*/ 0 h 2808332"/>
                      <a:gd name="connsiteX1" fmla="*/ 285383 w 318834"/>
                      <a:gd name="connsiteY1" fmla="*/ 0 h 2808332"/>
                      <a:gd name="connsiteX2" fmla="*/ 318720 w 318834"/>
                      <a:gd name="connsiteY2" fmla="*/ 2543174 h 2808332"/>
                      <a:gd name="connsiteX3" fmla="*/ 23445 w 318834"/>
                      <a:gd name="connsiteY3" fmla="*/ 2586037 h 2808332"/>
                      <a:gd name="connsiteX4" fmla="*/ 66308 w 318834"/>
                      <a:gd name="connsiteY4" fmla="*/ 0 h 2808332"/>
                      <a:gd name="connsiteX0" fmla="*/ 66308 w 336507"/>
                      <a:gd name="connsiteY0" fmla="*/ 0 h 2808332"/>
                      <a:gd name="connsiteX1" fmla="*/ 285383 w 336507"/>
                      <a:gd name="connsiteY1" fmla="*/ 0 h 2808332"/>
                      <a:gd name="connsiteX2" fmla="*/ 318720 w 336507"/>
                      <a:gd name="connsiteY2" fmla="*/ 2543174 h 2808332"/>
                      <a:gd name="connsiteX3" fmla="*/ 23445 w 336507"/>
                      <a:gd name="connsiteY3" fmla="*/ 2586037 h 2808332"/>
                      <a:gd name="connsiteX4" fmla="*/ 66308 w 336507"/>
                      <a:gd name="connsiteY4" fmla="*/ 0 h 2808332"/>
                      <a:gd name="connsiteX0" fmla="*/ 70327 w 335764"/>
                      <a:gd name="connsiteY0" fmla="*/ 0 h 2936919"/>
                      <a:gd name="connsiteX1" fmla="*/ 284640 w 335764"/>
                      <a:gd name="connsiteY1" fmla="*/ 128587 h 2936919"/>
                      <a:gd name="connsiteX2" fmla="*/ 317977 w 335764"/>
                      <a:gd name="connsiteY2" fmla="*/ 2671761 h 2936919"/>
                      <a:gd name="connsiteX3" fmla="*/ 22702 w 335764"/>
                      <a:gd name="connsiteY3" fmla="*/ 2714624 h 2936919"/>
                      <a:gd name="connsiteX4" fmla="*/ 70327 w 335764"/>
                      <a:gd name="connsiteY4" fmla="*/ 0 h 2936919"/>
                      <a:gd name="connsiteX0" fmla="*/ 70327 w 330403"/>
                      <a:gd name="connsiteY0" fmla="*/ 185738 h 3122657"/>
                      <a:gd name="connsiteX1" fmla="*/ 237015 w 330403"/>
                      <a:gd name="connsiteY1" fmla="*/ 0 h 3122657"/>
                      <a:gd name="connsiteX2" fmla="*/ 317977 w 330403"/>
                      <a:gd name="connsiteY2" fmla="*/ 2857499 h 3122657"/>
                      <a:gd name="connsiteX3" fmla="*/ 22702 w 330403"/>
                      <a:gd name="connsiteY3" fmla="*/ 2900362 h 3122657"/>
                      <a:gd name="connsiteX4" fmla="*/ 70327 w 330403"/>
                      <a:gd name="connsiteY4" fmla="*/ 185738 h 3122657"/>
                      <a:gd name="connsiteX0" fmla="*/ 70327 w 329058"/>
                      <a:gd name="connsiteY0" fmla="*/ 42863 h 2979782"/>
                      <a:gd name="connsiteX1" fmla="*/ 217965 w 329058"/>
                      <a:gd name="connsiteY1" fmla="*/ 0 h 2979782"/>
                      <a:gd name="connsiteX2" fmla="*/ 317977 w 329058"/>
                      <a:gd name="connsiteY2" fmla="*/ 2714624 h 2979782"/>
                      <a:gd name="connsiteX3" fmla="*/ 22702 w 329058"/>
                      <a:gd name="connsiteY3" fmla="*/ 2757487 h 2979782"/>
                      <a:gd name="connsiteX4" fmla="*/ 70327 w 329058"/>
                      <a:gd name="connsiteY4" fmla="*/ 42863 h 2979782"/>
                      <a:gd name="connsiteX0" fmla="*/ 70327 w 331203"/>
                      <a:gd name="connsiteY0" fmla="*/ 33338 h 2970257"/>
                      <a:gd name="connsiteX1" fmla="*/ 246540 w 331203"/>
                      <a:gd name="connsiteY1" fmla="*/ 0 h 2970257"/>
                      <a:gd name="connsiteX2" fmla="*/ 317977 w 331203"/>
                      <a:gd name="connsiteY2" fmla="*/ 2705099 h 2970257"/>
                      <a:gd name="connsiteX3" fmla="*/ 22702 w 331203"/>
                      <a:gd name="connsiteY3" fmla="*/ 2747962 h 2970257"/>
                      <a:gd name="connsiteX4" fmla="*/ 70327 w 331203"/>
                      <a:gd name="connsiteY4" fmla="*/ 33338 h 2970257"/>
                      <a:gd name="connsiteX0" fmla="*/ 70327 w 335837"/>
                      <a:gd name="connsiteY0" fmla="*/ 33338 h 2970257"/>
                      <a:gd name="connsiteX1" fmla="*/ 246540 w 335837"/>
                      <a:gd name="connsiteY1" fmla="*/ 0 h 2970257"/>
                      <a:gd name="connsiteX2" fmla="*/ 317977 w 335837"/>
                      <a:gd name="connsiteY2" fmla="*/ 2705099 h 2970257"/>
                      <a:gd name="connsiteX3" fmla="*/ 22702 w 335837"/>
                      <a:gd name="connsiteY3" fmla="*/ 2747962 h 2970257"/>
                      <a:gd name="connsiteX4" fmla="*/ 70327 w 335837"/>
                      <a:gd name="connsiteY4" fmla="*/ 33338 h 2970257"/>
                      <a:gd name="connsiteX0" fmla="*/ 70327 w 335837"/>
                      <a:gd name="connsiteY0" fmla="*/ 33338 h 2989327"/>
                      <a:gd name="connsiteX1" fmla="*/ 246540 w 335837"/>
                      <a:gd name="connsiteY1" fmla="*/ 0 h 2989327"/>
                      <a:gd name="connsiteX2" fmla="*/ 317977 w 335837"/>
                      <a:gd name="connsiteY2" fmla="*/ 2705099 h 2989327"/>
                      <a:gd name="connsiteX3" fmla="*/ 22702 w 335837"/>
                      <a:gd name="connsiteY3" fmla="*/ 2747962 h 2989327"/>
                      <a:gd name="connsiteX4" fmla="*/ 70327 w 335837"/>
                      <a:gd name="connsiteY4" fmla="*/ 33338 h 2989327"/>
                      <a:gd name="connsiteX0" fmla="*/ 70327 w 335837"/>
                      <a:gd name="connsiteY0" fmla="*/ 33338 h 2984514"/>
                      <a:gd name="connsiteX1" fmla="*/ 246540 w 335837"/>
                      <a:gd name="connsiteY1" fmla="*/ 0 h 2984514"/>
                      <a:gd name="connsiteX2" fmla="*/ 317977 w 335837"/>
                      <a:gd name="connsiteY2" fmla="*/ 2705099 h 2984514"/>
                      <a:gd name="connsiteX3" fmla="*/ 22702 w 335837"/>
                      <a:gd name="connsiteY3" fmla="*/ 2747962 h 2984514"/>
                      <a:gd name="connsiteX4" fmla="*/ 70327 w 335837"/>
                      <a:gd name="connsiteY4" fmla="*/ 33338 h 2984514"/>
                      <a:gd name="connsiteX0" fmla="*/ 70327 w 335837"/>
                      <a:gd name="connsiteY0" fmla="*/ 33338 h 2986111"/>
                      <a:gd name="connsiteX1" fmla="*/ 246540 w 335837"/>
                      <a:gd name="connsiteY1" fmla="*/ 0 h 2986111"/>
                      <a:gd name="connsiteX2" fmla="*/ 317977 w 335837"/>
                      <a:gd name="connsiteY2" fmla="*/ 2705099 h 2986111"/>
                      <a:gd name="connsiteX3" fmla="*/ 22702 w 335837"/>
                      <a:gd name="connsiteY3" fmla="*/ 2747962 h 2986111"/>
                      <a:gd name="connsiteX4" fmla="*/ 70327 w 335837"/>
                      <a:gd name="connsiteY4" fmla="*/ 33338 h 298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837" h="2986111">
                        <a:moveTo>
                          <a:pt x="70327" y="33338"/>
                        </a:moveTo>
                        <a:lnTo>
                          <a:pt x="246540" y="0"/>
                        </a:lnTo>
                        <a:cubicBezTo>
                          <a:pt x="300515" y="823913"/>
                          <a:pt x="368777" y="1966912"/>
                          <a:pt x="317977" y="2705099"/>
                        </a:cubicBezTo>
                        <a:cubicBezTo>
                          <a:pt x="324327" y="3024188"/>
                          <a:pt x="44927" y="3114674"/>
                          <a:pt x="22702" y="2747962"/>
                        </a:cubicBezTo>
                        <a:cubicBezTo>
                          <a:pt x="-43972" y="1857375"/>
                          <a:pt x="56039" y="895350"/>
                          <a:pt x="70327" y="33338"/>
                        </a:cubicBezTo>
                        <a:close/>
                      </a:path>
                    </a:pathLst>
                  </a:cu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D28170E9-7FBF-C53E-8985-EC35439FC191}"/>
                      </a:ext>
                    </a:extLst>
                  </p:cNvPr>
                  <p:cNvGrpSpPr/>
                  <p:nvPr/>
                </p:nvGrpSpPr>
                <p:grpSpPr>
                  <a:xfrm>
                    <a:off x="8209084" y="3441892"/>
                    <a:ext cx="325316" cy="2454012"/>
                    <a:chOff x="8209084" y="3441892"/>
                    <a:chExt cx="325316" cy="2454012"/>
                  </a:xfrm>
                </p:grpSpPr>
                <p:sp>
                  <p:nvSpPr>
                    <p:cNvPr id="22" name="Freeform 21">
                      <a:extLst>
                        <a:ext uri="{FF2B5EF4-FFF2-40B4-BE49-F238E27FC236}">
                          <a16:creationId xmlns:a16="http://schemas.microsoft.com/office/drawing/2014/main" id="{064BBEF1-85C5-B998-599C-55668AA37194}"/>
                        </a:ext>
                      </a:extLst>
                    </p:cNvPr>
                    <p:cNvSpPr/>
                    <p:nvPr/>
                  </p:nvSpPr>
                  <p:spPr>
                    <a:xfrm rot="21446038">
                      <a:off x="8209084" y="3441892"/>
                      <a:ext cx="322958" cy="2454012"/>
                    </a:xfrm>
                    <a:custGeom>
                      <a:avLst/>
                      <a:gdLst>
                        <a:gd name="connsiteX0" fmla="*/ 141810 w 319760"/>
                        <a:gd name="connsiteY0" fmla="*/ 0 h 2454012"/>
                        <a:gd name="connsiteX1" fmla="*/ 161368 w 319760"/>
                        <a:gd name="connsiteY1" fmla="*/ 5733 h 2454012"/>
                        <a:gd name="connsiteX2" fmla="*/ 22382 w 319760"/>
                        <a:gd name="connsiteY2" fmla="*/ 2232774 h 2454012"/>
                        <a:gd name="connsiteX3" fmla="*/ 132565 w 319760"/>
                        <a:gd name="connsiteY3" fmla="*/ 2433393 h 2454012"/>
                        <a:gd name="connsiteX4" fmla="*/ 169472 w 319760"/>
                        <a:gd name="connsiteY4" fmla="*/ 2418353 h 2454012"/>
                        <a:gd name="connsiteX5" fmla="*/ 129571 w 319760"/>
                        <a:gd name="connsiteY5" fmla="*/ 2408537 h 2454012"/>
                        <a:gd name="connsiteX6" fmla="*/ 93021 w 319760"/>
                        <a:gd name="connsiteY6" fmla="*/ 2284110 h 2454012"/>
                        <a:gd name="connsiteX7" fmla="*/ 278873 w 319760"/>
                        <a:gd name="connsiteY7" fmla="*/ 24765 h 2454012"/>
                        <a:gd name="connsiteX8" fmla="*/ 312752 w 319760"/>
                        <a:gd name="connsiteY8" fmla="*/ 14805 h 2454012"/>
                        <a:gd name="connsiteX9" fmla="*/ 314186 w 319760"/>
                        <a:gd name="connsiteY9" fmla="*/ 1299331 h 2454012"/>
                        <a:gd name="connsiteX10" fmla="*/ 256543 w 319760"/>
                        <a:gd name="connsiteY10" fmla="*/ 2265859 h 2454012"/>
                        <a:gd name="connsiteX11" fmla="*/ 232195 w 319760"/>
                        <a:gd name="connsiteY11" fmla="*/ 2361446 h 2454012"/>
                        <a:gd name="connsiteX12" fmla="*/ 213205 w 319760"/>
                        <a:gd name="connsiteY12" fmla="*/ 2384650 h 2454012"/>
                        <a:gd name="connsiteX13" fmla="*/ 215656 w 319760"/>
                        <a:gd name="connsiteY13" fmla="*/ 2384760 h 2454012"/>
                        <a:gd name="connsiteX14" fmla="*/ 187837 w 319760"/>
                        <a:gd name="connsiteY14" fmla="*/ 2420652 h 2454012"/>
                        <a:gd name="connsiteX15" fmla="*/ 2856 w 319760"/>
                        <a:gd name="connsiteY15" fmla="*/ 2242554 h 2454012"/>
                        <a:gd name="connsiteX16" fmla="*/ 128930 w 319760"/>
                        <a:gd name="connsiteY16" fmla="*/ 178841 h 245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9760" h="2454012">
                          <a:moveTo>
                            <a:pt x="141810" y="0"/>
                          </a:moveTo>
                          <a:lnTo>
                            <a:pt x="161368" y="5733"/>
                          </a:lnTo>
                          <a:cubicBezTo>
                            <a:pt x="117919" y="712947"/>
                            <a:pt x="408" y="1499121"/>
                            <a:pt x="22382" y="2232774"/>
                          </a:cubicBezTo>
                          <a:cubicBezTo>
                            <a:pt x="24610" y="2374289"/>
                            <a:pt x="76931" y="2435405"/>
                            <a:pt x="132565" y="2433393"/>
                          </a:cubicBezTo>
                          <a:lnTo>
                            <a:pt x="169472" y="2418353"/>
                          </a:lnTo>
                          <a:lnTo>
                            <a:pt x="129571" y="2408537"/>
                          </a:lnTo>
                          <a:cubicBezTo>
                            <a:pt x="113430" y="2387721"/>
                            <a:pt x="100087" y="2348355"/>
                            <a:pt x="93021" y="2284110"/>
                          </a:cubicBezTo>
                          <a:cubicBezTo>
                            <a:pt x="71048" y="1550457"/>
                            <a:pt x="175092" y="696243"/>
                            <a:pt x="278873" y="24765"/>
                          </a:cubicBezTo>
                          <a:lnTo>
                            <a:pt x="312752" y="14805"/>
                          </a:lnTo>
                          <a:cubicBezTo>
                            <a:pt x="319756" y="225333"/>
                            <a:pt x="323554" y="924156"/>
                            <a:pt x="314186" y="1299331"/>
                          </a:cubicBezTo>
                          <a:cubicBezTo>
                            <a:pt x="304725" y="1676567"/>
                            <a:pt x="278419" y="2108230"/>
                            <a:pt x="256543" y="2265859"/>
                          </a:cubicBezTo>
                          <a:cubicBezTo>
                            <a:pt x="254899" y="2299398"/>
                            <a:pt x="245624" y="2333370"/>
                            <a:pt x="232195" y="2361446"/>
                          </a:cubicBezTo>
                          <a:lnTo>
                            <a:pt x="213205" y="2384650"/>
                          </a:lnTo>
                          <a:lnTo>
                            <a:pt x="215656" y="2384760"/>
                          </a:lnTo>
                          <a:lnTo>
                            <a:pt x="187837" y="2420652"/>
                          </a:lnTo>
                          <a:cubicBezTo>
                            <a:pt x="112892" y="2494048"/>
                            <a:pt x="6144" y="2451331"/>
                            <a:pt x="2856" y="2242554"/>
                          </a:cubicBezTo>
                          <a:cubicBezTo>
                            <a:pt x="-17404" y="1566084"/>
                            <a:pt x="74872" y="847239"/>
                            <a:pt x="128930" y="178841"/>
                          </a:cubicBezTo>
                          <a:close/>
                        </a:path>
                      </a:pathLst>
                    </a:custGeom>
                    <a:solidFill>
                      <a:schemeClr val="bg1">
                        <a:alpha val="4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nvGrpSpPr>
                    <p:cNvPr id="23" name="Group 22">
                      <a:extLst>
                        <a:ext uri="{FF2B5EF4-FFF2-40B4-BE49-F238E27FC236}">
                          <a16:creationId xmlns:a16="http://schemas.microsoft.com/office/drawing/2014/main" id="{E5A861EB-EE19-9A73-EDA6-B3234C44E9A0}"/>
                        </a:ext>
                      </a:extLst>
                    </p:cNvPr>
                    <p:cNvGrpSpPr/>
                    <p:nvPr/>
                  </p:nvGrpSpPr>
                  <p:grpSpPr>
                    <a:xfrm>
                      <a:off x="8329388" y="4799397"/>
                      <a:ext cx="205012" cy="448878"/>
                      <a:chOff x="8329388" y="4799397"/>
                      <a:chExt cx="205012" cy="448878"/>
                    </a:xfrm>
                  </p:grpSpPr>
                  <p:sp>
                    <p:nvSpPr>
                      <p:cNvPr id="24" name="Rectangle 23">
                        <a:extLst>
                          <a:ext uri="{FF2B5EF4-FFF2-40B4-BE49-F238E27FC236}">
                            <a16:creationId xmlns:a16="http://schemas.microsoft.com/office/drawing/2014/main" id="{24EACE54-0948-6A89-E7BC-BA36B2D5C20C}"/>
                          </a:ext>
                        </a:extLst>
                      </p:cNvPr>
                      <p:cNvSpPr/>
                      <p:nvPr/>
                    </p:nvSpPr>
                    <p:spPr>
                      <a:xfrm>
                        <a:off x="8334409" y="4799397"/>
                        <a:ext cx="195291" cy="7014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1BAF4816-A4B0-088B-4F28-42A5DD85F5C5}"/>
                          </a:ext>
                        </a:extLst>
                      </p:cNvPr>
                      <p:cNvSpPr/>
                      <p:nvPr/>
                    </p:nvSpPr>
                    <p:spPr>
                      <a:xfrm>
                        <a:off x="8330445" y="5117795"/>
                        <a:ext cx="203220" cy="4791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B613D008-646B-9D65-5B3E-2D5647BF27F9}"/>
                          </a:ext>
                        </a:extLst>
                      </p:cNvPr>
                      <p:cNvSpPr/>
                      <p:nvPr/>
                    </p:nvSpPr>
                    <p:spPr>
                      <a:xfrm>
                        <a:off x="8329388" y="5200287"/>
                        <a:ext cx="205012" cy="4798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grpSp>
            </p:grpSp>
            <p:grpSp>
              <p:nvGrpSpPr>
                <p:cNvPr id="15" name="Group 14">
                  <a:extLst>
                    <a:ext uri="{FF2B5EF4-FFF2-40B4-BE49-F238E27FC236}">
                      <a16:creationId xmlns:a16="http://schemas.microsoft.com/office/drawing/2014/main" id="{BED859EC-FB48-D5A0-78B3-9BEEB59DA865}"/>
                    </a:ext>
                  </a:extLst>
                </p:cNvPr>
                <p:cNvGrpSpPr/>
                <p:nvPr/>
              </p:nvGrpSpPr>
              <p:grpSpPr>
                <a:xfrm>
                  <a:off x="7820943" y="2080072"/>
                  <a:ext cx="1124816" cy="4378604"/>
                  <a:chOff x="7820943" y="2080072"/>
                  <a:chExt cx="1124816" cy="4378604"/>
                </a:xfrm>
              </p:grpSpPr>
              <p:sp>
                <p:nvSpPr>
                  <p:cNvPr id="16" name="Freeform 15">
                    <a:extLst>
                      <a:ext uri="{FF2B5EF4-FFF2-40B4-BE49-F238E27FC236}">
                        <a16:creationId xmlns:a16="http://schemas.microsoft.com/office/drawing/2014/main" id="{31B7C6D5-2223-B72C-A870-250F85C2E0CF}"/>
                      </a:ext>
                    </a:extLst>
                  </p:cNvPr>
                  <p:cNvSpPr/>
                  <p:nvPr/>
                </p:nvSpPr>
                <p:spPr>
                  <a:xfrm flipV="1">
                    <a:off x="8341786" y="5881232"/>
                    <a:ext cx="70121" cy="577444"/>
                  </a:xfrm>
                  <a:custGeom>
                    <a:avLst/>
                    <a:gdLst>
                      <a:gd name="connsiteX0" fmla="*/ 0 w 80962"/>
                      <a:gd name="connsiteY0" fmla="*/ 666751 h 666751"/>
                      <a:gd name="connsiteX1" fmla="*/ 80962 w 80962"/>
                      <a:gd name="connsiteY1" fmla="*/ 666751 h 666751"/>
                      <a:gd name="connsiteX2" fmla="*/ 80962 w 80962"/>
                      <a:gd name="connsiteY2" fmla="*/ 152401 h 666751"/>
                      <a:gd name="connsiteX3" fmla="*/ 70051 w 80962"/>
                      <a:gd name="connsiteY3" fmla="*/ 152401 h 666751"/>
                      <a:gd name="connsiteX4" fmla="*/ 40481 w 80962"/>
                      <a:gd name="connsiteY4" fmla="*/ 0 h 666751"/>
                      <a:gd name="connsiteX5" fmla="*/ 10911 w 80962"/>
                      <a:gd name="connsiteY5" fmla="*/ 152401 h 666751"/>
                      <a:gd name="connsiteX6" fmla="*/ 0 w 80962"/>
                      <a:gd name="connsiteY6" fmla="*/ 152401 h 66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962" h="666751">
                        <a:moveTo>
                          <a:pt x="0" y="666751"/>
                        </a:moveTo>
                        <a:lnTo>
                          <a:pt x="80962" y="666751"/>
                        </a:lnTo>
                        <a:lnTo>
                          <a:pt x="80962" y="152401"/>
                        </a:lnTo>
                        <a:lnTo>
                          <a:pt x="70051" y="152401"/>
                        </a:lnTo>
                        <a:lnTo>
                          <a:pt x="40481" y="0"/>
                        </a:lnTo>
                        <a:lnTo>
                          <a:pt x="10911" y="152401"/>
                        </a:lnTo>
                        <a:lnTo>
                          <a:pt x="0" y="152401"/>
                        </a:lnTo>
                        <a:close/>
                      </a:path>
                    </a:pathLst>
                  </a:cu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id="{DEBFC5FB-7406-AAF7-98DF-839B8E05AB3F}"/>
                      </a:ext>
                    </a:extLst>
                  </p:cNvPr>
                  <p:cNvGrpSpPr/>
                  <p:nvPr/>
                </p:nvGrpSpPr>
                <p:grpSpPr>
                  <a:xfrm>
                    <a:off x="7820943" y="2080072"/>
                    <a:ext cx="1124816" cy="1484851"/>
                    <a:chOff x="7820943" y="2080072"/>
                    <a:chExt cx="1124816" cy="1484851"/>
                  </a:xfrm>
                  <a:solidFill>
                    <a:schemeClr val="tx1">
                      <a:lumMod val="75000"/>
                      <a:lumOff val="25000"/>
                    </a:schemeClr>
                  </a:solidFill>
                </p:grpSpPr>
                <p:sp>
                  <p:nvSpPr>
                    <p:cNvPr id="18" name="Isosceles Triangle 17">
                      <a:extLst>
                        <a:ext uri="{FF2B5EF4-FFF2-40B4-BE49-F238E27FC236}">
                          <a16:creationId xmlns:a16="http://schemas.microsoft.com/office/drawing/2014/main" id="{BC7CEA12-126F-2C35-CD3D-8E7D33D5C3B1}"/>
                        </a:ext>
                      </a:extLst>
                    </p:cNvPr>
                    <p:cNvSpPr/>
                    <p:nvPr/>
                  </p:nvSpPr>
                  <p:spPr>
                    <a:xfrm rot="2238657" flipV="1">
                      <a:off x="8472139" y="2099421"/>
                      <a:ext cx="103371" cy="122162"/>
                    </a:xfrm>
                    <a:prstGeom prst="triangl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19" name="Freeform 18">
                      <a:extLst>
                        <a:ext uri="{FF2B5EF4-FFF2-40B4-BE49-F238E27FC236}">
                          <a16:creationId xmlns:a16="http://schemas.microsoft.com/office/drawing/2014/main" id="{F456D600-7215-867A-17AE-36CF25580E31}"/>
                        </a:ext>
                      </a:extLst>
                    </p:cNvPr>
                    <p:cNvSpPr/>
                    <p:nvPr/>
                  </p:nvSpPr>
                  <p:spPr>
                    <a:xfrm>
                      <a:off x="7820943" y="2080072"/>
                      <a:ext cx="1124816" cy="1484851"/>
                    </a:xfrm>
                    <a:custGeom>
                      <a:avLst/>
                      <a:gdLst>
                        <a:gd name="connsiteX0" fmla="*/ 584695 w 1298774"/>
                        <a:gd name="connsiteY0" fmla="*/ 1319569 h 1714500"/>
                        <a:gd name="connsiteX1" fmla="*/ 588788 w 1298774"/>
                        <a:gd name="connsiteY1" fmla="*/ 1337058 h 1714500"/>
                        <a:gd name="connsiteX2" fmla="*/ 596870 w 1298774"/>
                        <a:gd name="connsiteY2" fmla="*/ 1322105 h 1714500"/>
                        <a:gd name="connsiteX3" fmla="*/ 602037 w 1298774"/>
                        <a:gd name="connsiteY3" fmla="*/ 0 h 1714500"/>
                        <a:gd name="connsiteX4" fmla="*/ 706812 w 1298774"/>
                        <a:gd name="connsiteY4" fmla="*/ 285750 h 1714500"/>
                        <a:gd name="connsiteX5" fmla="*/ 709194 w 1298774"/>
                        <a:gd name="connsiteY5" fmla="*/ 834033 h 1714500"/>
                        <a:gd name="connsiteX6" fmla="*/ 709443 w 1298774"/>
                        <a:gd name="connsiteY6" fmla="*/ 889256 h 1714500"/>
                        <a:gd name="connsiteX7" fmla="*/ 778252 w 1298774"/>
                        <a:gd name="connsiteY7" fmla="*/ 266696 h 1714500"/>
                        <a:gd name="connsiteX8" fmla="*/ 959227 w 1298774"/>
                        <a:gd name="connsiteY8" fmla="*/ 147633 h 1714500"/>
                        <a:gd name="connsiteX9" fmla="*/ 1192589 w 1298774"/>
                        <a:gd name="connsiteY9" fmla="*/ 333372 h 1714500"/>
                        <a:gd name="connsiteX10" fmla="*/ 1183064 w 1298774"/>
                        <a:gd name="connsiteY10" fmla="*/ 962023 h 1714500"/>
                        <a:gd name="connsiteX11" fmla="*/ 730627 w 1298774"/>
                        <a:gd name="connsiteY11" fmla="*/ 1700210 h 1714500"/>
                        <a:gd name="connsiteX12" fmla="*/ 601820 w 1298774"/>
                        <a:gd name="connsiteY12" fmla="*/ 1392738 h 1714500"/>
                        <a:gd name="connsiteX13" fmla="*/ 625852 w 1298774"/>
                        <a:gd name="connsiteY13" fmla="*/ 1495424 h 1714500"/>
                        <a:gd name="connsiteX14" fmla="*/ 568701 w 1298774"/>
                        <a:gd name="connsiteY14" fmla="*/ 1714500 h 1714500"/>
                        <a:gd name="connsiteX15" fmla="*/ 92453 w 1298774"/>
                        <a:gd name="connsiteY15" fmla="*/ 881061 h 1714500"/>
                        <a:gd name="connsiteX16" fmla="*/ 54353 w 1298774"/>
                        <a:gd name="connsiteY16" fmla="*/ 442911 h 1714500"/>
                        <a:gd name="connsiteX17" fmla="*/ 173415 w 1298774"/>
                        <a:gd name="connsiteY17" fmla="*/ 233361 h 1714500"/>
                        <a:gd name="connsiteX18" fmla="*/ 444878 w 1298774"/>
                        <a:gd name="connsiteY18" fmla="*/ 219073 h 1714500"/>
                        <a:gd name="connsiteX19" fmla="*/ 416302 w 1298774"/>
                        <a:gd name="connsiteY19" fmla="*/ 600075 h 1714500"/>
                        <a:gd name="connsiteX20" fmla="*/ 581267 w 1298774"/>
                        <a:gd name="connsiteY20" fmla="*/ 1304924 h 1714500"/>
                        <a:gd name="connsiteX21" fmla="*/ 567742 w 1298774"/>
                        <a:gd name="connsiteY21" fmla="*/ 1192570 h 1714500"/>
                        <a:gd name="connsiteX22" fmla="*/ 478212 w 1298774"/>
                        <a:gd name="connsiteY22" fmla="*/ 385762 h 1714500"/>
                        <a:gd name="connsiteX0" fmla="*/ 584695 w 1298774"/>
                        <a:gd name="connsiteY0" fmla="*/ 1319569 h 1714500"/>
                        <a:gd name="connsiteX1" fmla="*/ 596870 w 1298774"/>
                        <a:gd name="connsiteY1" fmla="*/ 1322105 h 1714500"/>
                        <a:gd name="connsiteX2" fmla="*/ 584695 w 1298774"/>
                        <a:gd name="connsiteY2" fmla="*/ 1319569 h 1714500"/>
                        <a:gd name="connsiteX3" fmla="*/ 602037 w 1298774"/>
                        <a:gd name="connsiteY3" fmla="*/ 0 h 1714500"/>
                        <a:gd name="connsiteX4" fmla="*/ 706812 w 1298774"/>
                        <a:gd name="connsiteY4" fmla="*/ 285750 h 1714500"/>
                        <a:gd name="connsiteX5" fmla="*/ 709194 w 1298774"/>
                        <a:gd name="connsiteY5" fmla="*/ 834033 h 1714500"/>
                        <a:gd name="connsiteX6" fmla="*/ 709443 w 1298774"/>
                        <a:gd name="connsiteY6" fmla="*/ 889256 h 1714500"/>
                        <a:gd name="connsiteX7" fmla="*/ 778252 w 1298774"/>
                        <a:gd name="connsiteY7" fmla="*/ 266696 h 1714500"/>
                        <a:gd name="connsiteX8" fmla="*/ 959227 w 1298774"/>
                        <a:gd name="connsiteY8" fmla="*/ 147633 h 1714500"/>
                        <a:gd name="connsiteX9" fmla="*/ 1192589 w 1298774"/>
                        <a:gd name="connsiteY9" fmla="*/ 333372 h 1714500"/>
                        <a:gd name="connsiteX10" fmla="*/ 1183064 w 1298774"/>
                        <a:gd name="connsiteY10" fmla="*/ 962023 h 1714500"/>
                        <a:gd name="connsiteX11" fmla="*/ 730627 w 1298774"/>
                        <a:gd name="connsiteY11" fmla="*/ 1700210 h 1714500"/>
                        <a:gd name="connsiteX12" fmla="*/ 601820 w 1298774"/>
                        <a:gd name="connsiteY12" fmla="*/ 1392738 h 1714500"/>
                        <a:gd name="connsiteX13" fmla="*/ 625852 w 1298774"/>
                        <a:gd name="connsiteY13" fmla="*/ 1495424 h 1714500"/>
                        <a:gd name="connsiteX14" fmla="*/ 568701 w 1298774"/>
                        <a:gd name="connsiteY14" fmla="*/ 1714500 h 1714500"/>
                        <a:gd name="connsiteX15" fmla="*/ 92453 w 1298774"/>
                        <a:gd name="connsiteY15" fmla="*/ 881061 h 1714500"/>
                        <a:gd name="connsiteX16" fmla="*/ 54353 w 1298774"/>
                        <a:gd name="connsiteY16" fmla="*/ 442911 h 1714500"/>
                        <a:gd name="connsiteX17" fmla="*/ 173415 w 1298774"/>
                        <a:gd name="connsiteY17" fmla="*/ 233361 h 1714500"/>
                        <a:gd name="connsiteX18" fmla="*/ 444878 w 1298774"/>
                        <a:gd name="connsiteY18" fmla="*/ 219073 h 1714500"/>
                        <a:gd name="connsiteX19" fmla="*/ 416302 w 1298774"/>
                        <a:gd name="connsiteY19" fmla="*/ 600075 h 1714500"/>
                        <a:gd name="connsiteX20" fmla="*/ 581267 w 1298774"/>
                        <a:gd name="connsiteY20" fmla="*/ 1304924 h 1714500"/>
                        <a:gd name="connsiteX21" fmla="*/ 567742 w 1298774"/>
                        <a:gd name="connsiteY21" fmla="*/ 1192570 h 1714500"/>
                        <a:gd name="connsiteX22" fmla="*/ 478212 w 1298774"/>
                        <a:gd name="connsiteY22" fmla="*/ 385762 h 1714500"/>
                        <a:gd name="connsiteX23" fmla="*/ 602037 w 1298774"/>
                        <a:gd name="connsiteY23"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625852 w 1298774"/>
                        <a:gd name="connsiteY10" fmla="*/ 149542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81267 w 1298774"/>
                        <a:gd name="connsiteY17" fmla="*/ 1304924 h 1714500"/>
                        <a:gd name="connsiteX18" fmla="*/ 567742 w 1298774"/>
                        <a:gd name="connsiteY18" fmla="*/ 1192570 h 1714500"/>
                        <a:gd name="connsiteX19" fmla="*/ 478212 w 1298774"/>
                        <a:gd name="connsiteY19" fmla="*/ 385762 h 1714500"/>
                        <a:gd name="connsiteX20" fmla="*/ 602037 w 1298774"/>
                        <a:gd name="connsiteY20"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625852 w 1298774"/>
                        <a:gd name="connsiteY10" fmla="*/ 149542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654427 w 1298774"/>
                        <a:gd name="connsiteY10" fmla="*/ 1504949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01820 w 1298774"/>
                        <a:gd name="connsiteY9" fmla="*/ 1392738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39920 w 1298774"/>
                        <a:gd name="connsiteY9" fmla="*/ 1497513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30627 w 1298774"/>
                        <a:gd name="connsiteY8" fmla="*/ 1700210 h 1714500"/>
                        <a:gd name="connsiteX9" fmla="*/ 635157 w 1298774"/>
                        <a:gd name="connsiteY9" fmla="*/ 1576094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46502 w 1298774"/>
                        <a:gd name="connsiteY8" fmla="*/ 1700210 h 1714500"/>
                        <a:gd name="connsiteX9" fmla="*/ 635157 w 1298774"/>
                        <a:gd name="connsiteY9" fmla="*/ 1576094 h 1714500"/>
                        <a:gd name="connsiteX10" fmla="*/ 568701 w 1298774"/>
                        <a:gd name="connsiteY10" fmla="*/ 1714500 h 1714500"/>
                        <a:gd name="connsiteX11" fmla="*/ 92453 w 1298774"/>
                        <a:gd name="connsiteY11" fmla="*/ 881061 h 1714500"/>
                        <a:gd name="connsiteX12" fmla="*/ 54353 w 1298774"/>
                        <a:gd name="connsiteY12" fmla="*/ 442911 h 1714500"/>
                        <a:gd name="connsiteX13" fmla="*/ 173415 w 1298774"/>
                        <a:gd name="connsiteY13" fmla="*/ 233361 h 1714500"/>
                        <a:gd name="connsiteX14" fmla="*/ 444878 w 1298774"/>
                        <a:gd name="connsiteY14" fmla="*/ 219073 h 1714500"/>
                        <a:gd name="connsiteX15" fmla="*/ 416302 w 1298774"/>
                        <a:gd name="connsiteY15" fmla="*/ 600075 h 1714500"/>
                        <a:gd name="connsiteX16" fmla="*/ 567742 w 1298774"/>
                        <a:gd name="connsiteY16" fmla="*/ 1192570 h 1714500"/>
                        <a:gd name="connsiteX17" fmla="*/ 478212 w 1298774"/>
                        <a:gd name="connsiteY17" fmla="*/ 385762 h 1714500"/>
                        <a:gd name="connsiteX18" fmla="*/ 602037 w 1298774"/>
                        <a:gd name="connsiteY18"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46502 w 1298774"/>
                        <a:gd name="connsiteY8" fmla="*/ 1700210 h 1714500"/>
                        <a:gd name="connsiteX9" fmla="*/ 703638 w 1298774"/>
                        <a:gd name="connsiteY9" fmla="*/ 1654174 h 1714500"/>
                        <a:gd name="connsiteX10" fmla="*/ 635157 w 1298774"/>
                        <a:gd name="connsiteY10" fmla="*/ 157609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 name="connsiteX0" fmla="*/ 602037 w 1298774"/>
                        <a:gd name="connsiteY0" fmla="*/ 0 h 1714500"/>
                        <a:gd name="connsiteX1" fmla="*/ 706812 w 1298774"/>
                        <a:gd name="connsiteY1" fmla="*/ 285750 h 1714500"/>
                        <a:gd name="connsiteX2" fmla="*/ 709194 w 1298774"/>
                        <a:gd name="connsiteY2" fmla="*/ 834033 h 1714500"/>
                        <a:gd name="connsiteX3" fmla="*/ 709443 w 1298774"/>
                        <a:gd name="connsiteY3" fmla="*/ 889256 h 1714500"/>
                        <a:gd name="connsiteX4" fmla="*/ 778252 w 1298774"/>
                        <a:gd name="connsiteY4" fmla="*/ 266696 h 1714500"/>
                        <a:gd name="connsiteX5" fmla="*/ 959227 w 1298774"/>
                        <a:gd name="connsiteY5" fmla="*/ 147633 h 1714500"/>
                        <a:gd name="connsiteX6" fmla="*/ 1192589 w 1298774"/>
                        <a:gd name="connsiteY6" fmla="*/ 333372 h 1714500"/>
                        <a:gd name="connsiteX7" fmla="*/ 1183064 w 1298774"/>
                        <a:gd name="connsiteY7" fmla="*/ 962023 h 1714500"/>
                        <a:gd name="connsiteX8" fmla="*/ 746502 w 1298774"/>
                        <a:gd name="connsiteY8" fmla="*/ 1700210 h 1714500"/>
                        <a:gd name="connsiteX9" fmla="*/ 703638 w 1298774"/>
                        <a:gd name="connsiteY9" fmla="*/ 1685924 h 1714500"/>
                        <a:gd name="connsiteX10" fmla="*/ 635157 w 1298774"/>
                        <a:gd name="connsiteY10" fmla="*/ 1576094 h 1714500"/>
                        <a:gd name="connsiteX11" fmla="*/ 568701 w 1298774"/>
                        <a:gd name="connsiteY11" fmla="*/ 1714500 h 1714500"/>
                        <a:gd name="connsiteX12" fmla="*/ 92453 w 1298774"/>
                        <a:gd name="connsiteY12" fmla="*/ 881061 h 1714500"/>
                        <a:gd name="connsiteX13" fmla="*/ 54353 w 1298774"/>
                        <a:gd name="connsiteY13" fmla="*/ 442911 h 1714500"/>
                        <a:gd name="connsiteX14" fmla="*/ 173415 w 1298774"/>
                        <a:gd name="connsiteY14" fmla="*/ 233361 h 1714500"/>
                        <a:gd name="connsiteX15" fmla="*/ 444878 w 1298774"/>
                        <a:gd name="connsiteY15" fmla="*/ 219073 h 1714500"/>
                        <a:gd name="connsiteX16" fmla="*/ 416302 w 1298774"/>
                        <a:gd name="connsiteY16" fmla="*/ 600075 h 1714500"/>
                        <a:gd name="connsiteX17" fmla="*/ 567742 w 1298774"/>
                        <a:gd name="connsiteY17" fmla="*/ 1192570 h 1714500"/>
                        <a:gd name="connsiteX18" fmla="*/ 478212 w 1298774"/>
                        <a:gd name="connsiteY18" fmla="*/ 385762 h 1714500"/>
                        <a:gd name="connsiteX19" fmla="*/ 602037 w 1298774"/>
                        <a:gd name="connsiteY19" fmla="*/ 0 h 171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98774" h="1714500">
                          <a:moveTo>
                            <a:pt x="602037" y="0"/>
                          </a:moveTo>
                          <a:lnTo>
                            <a:pt x="706812" y="285750"/>
                          </a:lnTo>
                          <a:cubicBezTo>
                            <a:pt x="700462" y="467519"/>
                            <a:pt x="706019" y="654050"/>
                            <a:pt x="709194" y="834033"/>
                          </a:cubicBezTo>
                          <a:lnTo>
                            <a:pt x="709443" y="889256"/>
                          </a:lnTo>
                          <a:lnTo>
                            <a:pt x="778252" y="266696"/>
                          </a:lnTo>
                          <a:lnTo>
                            <a:pt x="959227" y="147633"/>
                          </a:lnTo>
                          <a:cubicBezTo>
                            <a:pt x="1078290" y="63496"/>
                            <a:pt x="1102102" y="188909"/>
                            <a:pt x="1192589" y="333372"/>
                          </a:cubicBezTo>
                          <a:cubicBezTo>
                            <a:pt x="1260058" y="457992"/>
                            <a:pt x="1398171" y="643729"/>
                            <a:pt x="1183064" y="962023"/>
                          </a:cubicBezTo>
                          <a:cubicBezTo>
                            <a:pt x="1048920" y="1170779"/>
                            <a:pt x="794921" y="1631948"/>
                            <a:pt x="746502" y="1700210"/>
                          </a:cubicBezTo>
                          <a:lnTo>
                            <a:pt x="703638" y="1685924"/>
                          </a:lnTo>
                          <a:lnTo>
                            <a:pt x="635157" y="1576094"/>
                          </a:lnTo>
                          <a:lnTo>
                            <a:pt x="568701" y="1714500"/>
                          </a:lnTo>
                          <a:lnTo>
                            <a:pt x="92453" y="881061"/>
                          </a:lnTo>
                          <a:cubicBezTo>
                            <a:pt x="48003" y="847724"/>
                            <a:pt x="-67885" y="642935"/>
                            <a:pt x="54353" y="442911"/>
                          </a:cubicBezTo>
                          <a:lnTo>
                            <a:pt x="173415" y="233361"/>
                          </a:lnTo>
                          <a:cubicBezTo>
                            <a:pt x="240091" y="52386"/>
                            <a:pt x="349627" y="152399"/>
                            <a:pt x="444878" y="219073"/>
                          </a:cubicBezTo>
                          <a:cubicBezTo>
                            <a:pt x="406778" y="346074"/>
                            <a:pt x="344865" y="415924"/>
                            <a:pt x="416302" y="600075"/>
                          </a:cubicBezTo>
                          <a:lnTo>
                            <a:pt x="567742" y="1192570"/>
                          </a:lnTo>
                          <a:cubicBezTo>
                            <a:pt x="527871" y="877144"/>
                            <a:pt x="462933" y="445492"/>
                            <a:pt x="478212" y="385762"/>
                          </a:cubicBezTo>
                          <a:lnTo>
                            <a:pt x="602037"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grpSp>
            </p:grpSp>
          </p:grpSp>
        </p:grpSp>
      </p:grpSp>
      <p:graphicFrame>
        <p:nvGraphicFramePr>
          <p:cNvPr id="2" name="Table 1">
            <a:extLst>
              <a:ext uri="{FF2B5EF4-FFF2-40B4-BE49-F238E27FC236}">
                <a16:creationId xmlns:a16="http://schemas.microsoft.com/office/drawing/2014/main" id="{6DC978B5-0953-CC77-738B-B4E59B7F119A}"/>
              </a:ext>
            </a:extLst>
          </p:cNvPr>
          <p:cNvGraphicFramePr>
            <a:graphicFrameLocks noGrp="1"/>
          </p:cNvGraphicFramePr>
          <p:nvPr>
            <p:extLst>
              <p:ext uri="{D42A27DB-BD31-4B8C-83A1-F6EECF244321}">
                <p14:modId xmlns:p14="http://schemas.microsoft.com/office/powerpoint/2010/main" val="1730226015"/>
              </p:ext>
            </p:extLst>
          </p:nvPr>
        </p:nvGraphicFramePr>
        <p:xfrm>
          <a:off x="3123642" y="1643496"/>
          <a:ext cx="8693378" cy="5171320"/>
        </p:xfrm>
        <a:graphic>
          <a:graphicData uri="http://schemas.openxmlformats.org/drawingml/2006/table">
            <a:tbl>
              <a:tblPr firstRow="1" firstCol="1" lastRow="1" lastCol="1" bandRow="1" bandCol="1">
                <a:tableStyleId>{5C22544A-7EE6-4342-B048-85BDC9FD1C3A}</a:tableStyleId>
              </a:tblPr>
              <a:tblGrid>
                <a:gridCol w="7930438">
                  <a:extLst>
                    <a:ext uri="{9D8B030D-6E8A-4147-A177-3AD203B41FA5}">
                      <a16:colId xmlns:a16="http://schemas.microsoft.com/office/drawing/2014/main" val="1559645837"/>
                    </a:ext>
                  </a:extLst>
                </a:gridCol>
                <a:gridCol w="762940">
                  <a:extLst>
                    <a:ext uri="{9D8B030D-6E8A-4147-A177-3AD203B41FA5}">
                      <a16:colId xmlns:a16="http://schemas.microsoft.com/office/drawing/2014/main" val="1268592150"/>
                    </a:ext>
                  </a:extLst>
                </a:gridCol>
              </a:tblGrid>
              <a:tr h="398664">
                <a:tc>
                  <a:txBody>
                    <a:bodyPr/>
                    <a:lstStyle/>
                    <a:p>
                      <a:pPr algn="just">
                        <a:lnSpc>
                          <a:spcPct val="150000"/>
                        </a:lnSpc>
                        <a:spcBef>
                          <a:spcPts val="300"/>
                        </a:spcBef>
                        <a:buNone/>
                      </a:pPr>
                      <a:r>
                        <a:rPr lang="en-GB" sz="1050" kern="1200" dirty="0">
                          <a:effectLst/>
                        </a:rPr>
                        <a:t> ESSENTIAL RETURNABLE DOCUMENTS &amp; SCHEDULES </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744" marR="14744" marT="8506" marB="0"/>
                </a:tc>
                <a:tc>
                  <a:txBody>
                    <a:bodyPr/>
                    <a:lstStyle/>
                    <a:p>
                      <a:pPr indent="-269875" algn="l">
                        <a:lnSpc>
                          <a:spcPct val="150000"/>
                        </a:lnSpc>
                        <a:spcBef>
                          <a:spcPts val="300"/>
                        </a:spcBef>
                        <a:buNone/>
                      </a:pPr>
                      <a:r>
                        <a:rPr lang="en-GB" sz="800">
                          <a:effectLst/>
                        </a:rPr>
                        <a:t>SUBMITTED </a:t>
                      </a:r>
                      <a:endParaRPr lang="en-ZA" sz="800">
                        <a:effectLst/>
                      </a:endParaRPr>
                    </a:p>
                    <a:p>
                      <a:pPr marL="90170" algn="l">
                        <a:lnSpc>
                          <a:spcPct val="150000"/>
                        </a:lnSpc>
                        <a:spcBef>
                          <a:spcPts val="300"/>
                        </a:spcBef>
                        <a:buNone/>
                      </a:pPr>
                      <a:r>
                        <a:rPr lang="en-GB" sz="800">
                          <a:effectLst/>
                        </a:rPr>
                        <a:t>[Yes or No]</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232719576"/>
                  </a:ext>
                </a:extLst>
              </a:tr>
              <a:tr h="453939">
                <a:tc>
                  <a:txBody>
                    <a:bodyPr/>
                    <a:lstStyle/>
                    <a:p>
                      <a:pPr algn="just">
                        <a:lnSpc>
                          <a:spcPct val="115000"/>
                        </a:lnSpc>
                        <a:spcBef>
                          <a:spcPts val="300"/>
                        </a:spcBef>
                        <a:buNone/>
                      </a:pPr>
                      <a:r>
                        <a:rPr lang="en-GB" sz="1050" kern="1200" dirty="0">
                          <a:effectLst/>
                        </a:rPr>
                        <a:t>In the case of Joint Ventures, a copy of the Joint Venture Agreement or written confirmation of the intention to enter into a Joint Venture Agreement</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744" marR="14744" marT="8506" marB="0"/>
                </a:tc>
                <a:tc>
                  <a:txBody>
                    <a:bodyPr/>
                    <a:lstStyle/>
                    <a:p>
                      <a:pPr algn="just">
                        <a:lnSpc>
                          <a:spcPct val="115000"/>
                        </a:lnSpc>
                        <a:spcBef>
                          <a:spcPts val="300"/>
                        </a:spcBef>
                        <a:buNone/>
                      </a:pPr>
                      <a:r>
                        <a:rPr lang="en-GB" sz="800" kern="1200">
                          <a:effectLst/>
                        </a:rPr>
                        <a:t> </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4022728311"/>
                  </a:ext>
                </a:extLst>
              </a:tr>
              <a:tr h="300547">
                <a:tc>
                  <a:txBody>
                    <a:bodyPr/>
                    <a:lstStyle/>
                    <a:p>
                      <a:pPr algn="just">
                        <a:lnSpc>
                          <a:spcPct val="115000"/>
                        </a:lnSpc>
                        <a:spcBef>
                          <a:spcPts val="300"/>
                        </a:spcBef>
                        <a:buNone/>
                      </a:pPr>
                      <a:r>
                        <a:rPr lang="en-GB" sz="1050" kern="1200" dirty="0">
                          <a:effectLst/>
                        </a:rPr>
                        <a:t>Latest Financial Statements signed by your Accounting Officer or latest Audited Financial Statements plus 2 previous years</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744" marR="14744" marT="8506" marB="0"/>
                </a:tc>
                <a:tc>
                  <a:txBody>
                    <a:bodyPr/>
                    <a:lstStyle/>
                    <a:p>
                      <a:pPr algn="just">
                        <a:lnSpc>
                          <a:spcPct val="115000"/>
                        </a:lnSpc>
                        <a:spcBef>
                          <a:spcPts val="300"/>
                        </a:spcBef>
                        <a:buNone/>
                      </a:pPr>
                      <a:r>
                        <a:rPr lang="en-GB" sz="800" kern="1200">
                          <a:effectLst/>
                        </a:rPr>
                        <a:t> </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29998757"/>
                  </a:ext>
                </a:extLst>
              </a:tr>
              <a:tr h="232186">
                <a:tc>
                  <a:txBody>
                    <a:bodyPr/>
                    <a:lstStyle/>
                    <a:p>
                      <a:pPr algn="just">
                        <a:lnSpc>
                          <a:spcPct val="115000"/>
                        </a:lnSpc>
                        <a:spcBef>
                          <a:spcPts val="300"/>
                        </a:spcBef>
                        <a:buNone/>
                      </a:pPr>
                      <a:r>
                        <a:rPr lang="en-GB" sz="1050" kern="1200" dirty="0">
                          <a:effectLst/>
                        </a:rPr>
                        <a:t>Section 1: SBD1 Form</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744" marR="14744" marT="8506" marB="0"/>
                </a:tc>
                <a:tc>
                  <a:txBody>
                    <a:bodyPr/>
                    <a:lstStyle/>
                    <a:p>
                      <a:pPr algn="just">
                        <a:lnSpc>
                          <a:spcPct val="115000"/>
                        </a:lnSpc>
                        <a:spcBef>
                          <a:spcPts val="300"/>
                        </a:spcBef>
                        <a:buNone/>
                      </a:pPr>
                      <a:r>
                        <a:rPr lang="en-GB" sz="800" kern="1200">
                          <a:effectLst/>
                        </a:rPr>
                        <a:t> </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2661456309"/>
                  </a:ext>
                </a:extLst>
              </a:tr>
              <a:tr h="237127">
                <a:tc>
                  <a:txBody>
                    <a:bodyPr/>
                    <a:lstStyle/>
                    <a:p>
                      <a:pPr algn="just">
                        <a:lnSpc>
                          <a:spcPct val="115000"/>
                        </a:lnSpc>
                        <a:spcBef>
                          <a:spcPts val="300"/>
                        </a:spcBef>
                        <a:buNone/>
                      </a:pPr>
                      <a:r>
                        <a:rPr lang="en-GB" sz="1050" kern="1200" dirty="0">
                          <a:effectLst/>
                        </a:rPr>
                        <a:t>SECTION 5: Proposal Form and List of Returnable documents</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6086" marR="26086" marT="8506" marB="0"/>
                </a:tc>
                <a:tc>
                  <a:txBody>
                    <a:bodyPr/>
                    <a:lstStyle/>
                    <a:p>
                      <a:pPr algn="l">
                        <a:lnSpc>
                          <a:spcPct val="115000"/>
                        </a:lnSpc>
                        <a:spcBef>
                          <a:spcPts val="300"/>
                        </a:spcBef>
                        <a:buNone/>
                      </a:pPr>
                      <a:r>
                        <a:rPr lang="en-GB" sz="800" kern="1200">
                          <a:effectLst/>
                        </a:rPr>
                        <a:t> </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666948262"/>
                  </a:ext>
                </a:extLst>
              </a:tr>
              <a:tr h="300547">
                <a:tc>
                  <a:txBody>
                    <a:bodyPr/>
                    <a:lstStyle/>
                    <a:p>
                      <a:pPr algn="just">
                        <a:lnSpc>
                          <a:spcPct val="115000"/>
                        </a:lnSpc>
                        <a:spcBef>
                          <a:spcPts val="300"/>
                        </a:spcBef>
                        <a:buNone/>
                      </a:pPr>
                      <a:r>
                        <a:rPr lang="en-GB" sz="1050" kern="1200" dirty="0">
                          <a:effectLst/>
                        </a:rPr>
                        <a:t>SECTION 6: Certificate Of Acquaintance with RFP, Terms &amp; Conditions &amp; Applicable Documents</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6086" marR="26086" marT="8506" marB="0"/>
                </a:tc>
                <a:tc>
                  <a:txBody>
                    <a:bodyPr/>
                    <a:lstStyle/>
                    <a:p>
                      <a:pPr algn="just">
                        <a:lnSpc>
                          <a:spcPct val="115000"/>
                        </a:lnSpc>
                        <a:spcBef>
                          <a:spcPts val="300"/>
                        </a:spcBef>
                        <a:buNone/>
                      </a:pPr>
                      <a:r>
                        <a:rPr lang="en-GB" sz="800" kern="1200">
                          <a:effectLst/>
                        </a:rPr>
                        <a:t> </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2517594553"/>
                  </a:ext>
                </a:extLst>
              </a:tr>
              <a:tr h="250095">
                <a:tc>
                  <a:txBody>
                    <a:bodyPr/>
                    <a:lstStyle/>
                    <a:p>
                      <a:pPr algn="just">
                        <a:lnSpc>
                          <a:spcPct val="115000"/>
                        </a:lnSpc>
                        <a:spcBef>
                          <a:spcPts val="300"/>
                        </a:spcBef>
                        <a:buNone/>
                      </a:pPr>
                      <a:r>
                        <a:rPr lang="en-GB" sz="1050" kern="1200" dirty="0">
                          <a:effectLst/>
                        </a:rPr>
                        <a:t>SECTION 7: RFP Declaration and Breach of Law Form</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6086" marR="26086" marT="8506" marB="0"/>
                </a:tc>
                <a:tc>
                  <a:txBody>
                    <a:bodyPr/>
                    <a:lstStyle/>
                    <a:p>
                      <a:pPr algn="just">
                        <a:lnSpc>
                          <a:spcPct val="115000"/>
                        </a:lnSpc>
                        <a:spcBef>
                          <a:spcPts val="300"/>
                        </a:spcBef>
                        <a:buNone/>
                      </a:pPr>
                      <a:r>
                        <a:rPr lang="en-GB" sz="800" kern="1200">
                          <a:effectLst/>
                        </a:rPr>
                        <a:t> </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2977151973"/>
                  </a:ext>
                </a:extLst>
              </a:tr>
              <a:tr h="250095">
                <a:tc>
                  <a:txBody>
                    <a:bodyPr/>
                    <a:lstStyle/>
                    <a:p>
                      <a:pPr algn="just">
                        <a:lnSpc>
                          <a:spcPct val="115000"/>
                        </a:lnSpc>
                        <a:spcBef>
                          <a:spcPts val="300"/>
                        </a:spcBef>
                        <a:buNone/>
                      </a:pPr>
                      <a:r>
                        <a:rPr lang="en-GB" sz="1050" kern="1200" dirty="0">
                          <a:effectLst/>
                        </a:rPr>
                        <a:t>SECTION 9: </a:t>
                      </a:r>
                      <a:r>
                        <a:rPr lang="en-GB" sz="1050" dirty="0">
                          <a:effectLst/>
                        </a:rPr>
                        <a:t>Specific goals points claim form</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6086" marR="26086" marT="8506" marB="0"/>
                </a:tc>
                <a:tc>
                  <a:txBody>
                    <a:bodyPr/>
                    <a:lstStyle/>
                    <a:p>
                      <a:pPr algn="just">
                        <a:lnSpc>
                          <a:spcPct val="115000"/>
                        </a:lnSpc>
                        <a:spcBef>
                          <a:spcPts val="300"/>
                        </a:spcBef>
                        <a:buNone/>
                      </a:pPr>
                      <a:r>
                        <a:rPr lang="en-GB" sz="800" kern="1200">
                          <a:effectLst/>
                        </a:rPr>
                        <a:t> </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407646535"/>
                  </a:ext>
                </a:extLst>
              </a:tr>
              <a:tr h="1455416">
                <a:tc>
                  <a:txBody>
                    <a:bodyPr/>
                    <a:lstStyle/>
                    <a:p>
                      <a:pPr algn="just">
                        <a:lnSpc>
                          <a:spcPct val="115000"/>
                        </a:lnSpc>
                        <a:spcBef>
                          <a:spcPts val="300"/>
                        </a:spcBef>
                        <a:buNone/>
                      </a:pPr>
                      <a:r>
                        <a:rPr lang="en-GB" sz="1050" kern="1200" dirty="0">
                          <a:effectLst/>
                        </a:rPr>
                        <a:t>SECTION </a:t>
                      </a:r>
                      <a:r>
                        <a:rPr lang="en-GB" sz="1050" dirty="0">
                          <a:effectLst/>
                        </a:rPr>
                        <a:t>10</a:t>
                      </a:r>
                      <a:r>
                        <a:rPr lang="en-GB" sz="1050" kern="1200" dirty="0">
                          <a:effectLst/>
                        </a:rPr>
                        <a:t>: Job-Creation Schedule</a:t>
                      </a:r>
                      <a:endParaRPr lang="en-ZA" sz="1050" dirty="0">
                        <a:effectLst/>
                      </a:endParaRPr>
                    </a:p>
                    <a:p>
                      <a:pPr algn="just">
                        <a:lnSpc>
                          <a:spcPct val="115000"/>
                        </a:lnSpc>
                        <a:spcBef>
                          <a:spcPts val="300"/>
                        </a:spcBef>
                        <a:buNone/>
                      </a:pPr>
                      <a:r>
                        <a:rPr lang="en-GB" sz="1050" kern="1200" dirty="0">
                          <a:effectLst/>
                        </a:rPr>
                        <a:t>Note:</a:t>
                      </a:r>
                      <a:endParaRPr lang="en-ZA" sz="1050" dirty="0">
                        <a:effectLst/>
                      </a:endParaRPr>
                    </a:p>
                    <a:p>
                      <a:pPr marL="342900" lvl="0" indent="-342900" algn="just">
                        <a:lnSpc>
                          <a:spcPct val="115000"/>
                        </a:lnSpc>
                        <a:spcBef>
                          <a:spcPts val="300"/>
                        </a:spcBef>
                        <a:buFont typeface="Symbol" panose="05050102010706020507" pitchFamily="18" charset="2"/>
                        <a:buChar char=""/>
                      </a:pPr>
                      <a:r>
                        <a:rPr lang="en-GB" sz="1050" kern="1200" dirty="0">
                          <a:effectLst/>
                        </a:rPr>
                        <a:t>Job creation schedule will be evaluated under specific goals as per Section 9: Specific Goals points claim form.</a:t>
                      </a:r>
                      <a:endParaRPr lang="en-ZA" sz="1050" dirty="0">
                        <a:effectLst/>
                      </a:endParaRPr>
                    </a:p>
                    <a:p>
                      <a:pPr marL="342900" lvl="0" indent="-342900" algn="just">
                        <a:lnSpc>
                          <a:spcPct val="115000"/>
                        </a:lnSpc>
                        <a:spcBef>
                          <a:spcPts val="300"/>
                        </a:spcBef>
                        <a:buFont typeface="Symbol" panose="05050102010706020507" pitchFamily="18" charset="2"/>
                        <a:buChar char=""/>
                      </a:pPr>
                      <a:r>
                        <a:rPr lang="en-GB" sz="1050" dirty="0">
                          <a:effectLst/>
                        </a:rPr>
                        <a:t>Job Creation Plan is required as an essential returnable document</a:t>
                      </a:r>
                      <a:endParaRPr lang="en-ZA" sz="1050" dirty="0">
                        <a:effectLst/>
                      </a:endParaRPr>
                    </a:p>
                    <a:p>
                      <a:pPr marL="342900" lvl="0" indent="-342900" algn="just">
                        <a:lnSpc>
                          <a:spcPct val="150000"/>
                        </a:lnSpc>
                        <a:spcBef>
                          <a:spcPts val="300"/>
                        </a:spcBef>
                        <a:buFont typeface="Symbol" panose="05050102010706020507" pitchFamily="18" charset="2"/>
                        <a:buChar char=""/>
                      </a:pPr>
                      <a:r>
                        <a:rPr lang="en-GB" sz="1050" kern="1200" dirty="0">
                          <a:effectLst/>
                        </a:rPr>
                        <a:t>Bidders are to note that job creation plan will not be for evaluation purpose but will be negotiated with the winning bidder at the time of award.</a:t>
                      </a:r>
                      <a:endParaRPr lang="en-ZA" sz="1050" dirty="0">
                        <a:effectLst/>
                      </a:endParaRPr>
                    </a:p>
                    <a:p>
                      <a:pPr marL="742950" lvl="1" indent="-285750" algn="just">
                        <a:lnSpc>
                          <a:spcPct val="115000"/>
                        </a:lnSpc>
                        <a:spcBef>
                          <a:spcPts val="300"/>
                        </a:spcBef>
                        <a:buFont typeface="Courier New" panose="02070309020205020404" pitchFamily="49" charset="0"/>
                        <a:buChar char="o"/>
                      </a:pPr>
                      <a:r>
                        <a:rPr lang="en-GB" sz="1050" kern="1600" dirty="0">
                          <a:effectLst/>
                        </a:rPr>
                        <a:t>Section 2 - </a:t>
                      </a:r>
                      <a:r>
                        <a:rPr lang="en-GB" sz="1050" dirty="0">
                          <a:effectLst/>
                        </a:rPr>
                        <a:t>Notice To Bidders</a:t>
                      </a:r>
                      <a:r>
                        <a:rPr lang="en-GB" sz="1050" kern="1600" dirty="0">
                          <a:effectLst/>
                        </a:rPr>
                        <a:t>, Number 4</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6086" marR="26086" marT="8506" marB="0"/>
                </a:tc>
                <a:tc>
                  <a:txBody>
                    <a:bodyPr/>
                    <a:lstStyle/>
                    <a:p>
                      <a:pPr algn="just">
                        <a:lnSpc>
                          <a:spcPct val="115000"/>
                        </a:lnSpc>
                        <a:spcBef>
                          <a:spcPts val="300"/>
                        </a:spcBef>
                        <a:buNone/>
                      </a:pPr>
                      <a:r>
                        <a:rPr lang="en-GB" sz="800" kern="1200" dirty="0">
                          <a:effectLst/>
                        </a:rPr>
                        <a:t> </a:t>
                      </a:r>
                      <a:endParaRPr lang="en-ZA" sz="8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526414066"/>
                  </a:ext>
                </a:extLst>
              </a:tr>
              <a:tr h="250095">
                <a:tc>
                  <a:txBody>
                    <a:bodyPr/>
                    <a:lstStyle/>
                    <a:p>
                      <a:pPr algn="just">
                        <a:lnSpc>
                          <a:spcPct val="115000"/>
                        </a:lnSpc>
                        <a:spcBef>
                          <a:spcPts val="300"/>
                        </a:spcBef>
                        <a:buNone/>
                      </a:pPr>
                      <a:r>
                        <a:rPr lang="en-GB" sz="1050" dirty="0">
                          <a:effectLst/>
                        </a:rPr>
                        <a:t>SECTION 11: Protection of Personal Information</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6086" marR="26086" marT="8506" marB="0"/>
                </a:tc>
                <a:tc>
                  <a:txBody>
                    <a:bodyPr/>
                    <a:lstStyle/>
                    <a:p>
                      <a:pPr algn="just">
                        <a:lnSpc>
                          <a:spcPct val="115000"/>
                        </a:lnSpc>
                        <a:spcBef>
                          <a:spcPts val="300"/>
                        </a:spcBef>
                        <a:buNone/>
                      </a:pPr>
                      <a:r>
                        <a:rPr lang="en-GB" sz="800" kern="1200">
                          <a:effectLst/>
                        </a:rPr>
                        <a:t> </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3857760807"/>
                  </a:ext>
                </a:extLst>
              </a:tr>
              <a:tr h="490990">
                <a:tc>
                  <a:txBody>
                    <a:bodyPr/>
                    <a:lstStyle/>
                    <a:p>
                      <a:pPr algn="just">
                        <a:lnSpc>
                          <a:spcPct val="115000"/>
                        </a:lnSpc>
                        <a:spcBef>
                          <a:spcPts val="300"/>
                        </a:spcBef>
                        <a:buNone/>
                      </a:pPr>
                      <a:r>
                        <a:rPr lang="en-GB" sz="1050" dirty="0">
                          <a:effectLst/>
                        </a:rPr>
                        <a:t>ANNEXURE K - Possible Subcontracting</a:t>
                      </a:r>
                      <a:endParaRPr lang="en-ZA" sz="1050" dirty="0">
                        <a:effectLst/>
                      </a:endParaRPr>
                    </a:p>
                    <a:p>
                      <a:pPr algn="just">
                        <a:lnSpc>
                          <a:spcPct val="115000"/>
                        </a:lnSpc>
                        <a:spcBef>
                          <a:spcPts val="300"/>
                        </a:spcBef>
                        <a:buNone/>
                      </a:pPr>
                      <a:r>
                        <a:rPr lang="en-GB" sz="1050" kern="1600" dirty="0">
                          <a:effectLst/>
                        </a:rPr>
                        <a:t>A subcontracting a minimum 30% to an EME (Exempted Micro Enterprise) and QSE (Qualifying Small Enterprise). </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6086" marR="26086" marT="8506" marB="0"/>
                </a:tc>
                <a:tc>
                  <a:txBody>
                    <a:bodyPr/>
                    <a:lstStyle/>
                    <a:p>
                      <a:pPr algn="just">
                        <a:lnSpc>
                          <a:spcPct val="115000"/>
                        </a:lnSpc>
                        <a:spcBef>
                          <a:spcPts val="300"/>
                        </a:spcBef>
                        <a:buNone/>
                      </a:pPr>
                      <a:r>
                        <a:rPr lang="en-GB" sz="800" kern="1200">
                          <a:effectLst/>
                        </a:rPr>
                        <a:t> </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4034507319"/>
                  </a:ext>
                </a:extLst>
              </a:tr>
              <a:tr h="150709">
                <a:tc>
                  <a:txBody>
                    <a:bodyPr/>
                    <a:lstStyle/>
                    <a:p>
                      <a:pPr algn="just">
                        <a:lnSpc>
                          <a:spcPct val="115000"/>
                        </a:lnSpc>
                        <a:spcBef>
                          <a:spcPts val="300"/>
                        </a:spcBef>
                        <a:buNone/>
                      </a:pPr>
                      <a:r>
                        <a:rPr lang="en-GB" sz="1050" kern="1200" dirty="0">
                          <a:effectLst/>
                        </a:rPr>
                        <a:t>Proof Of CSD Registration</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6086" marR="26086" marT="8506" marB="0"/>
                </a:tc>
                <a:tc>
                  <a:txBody>
                    <a:bodyPr/>
                    <a:lstStyle/>
                    <a:p>
                      <a:pPr algn="just">
                        <a:lnSpc>
                          <a:spcPct val="115000"/>
                        </a:lnSpc>
                        <a:spcBef>
                          <a:spcPts val="300"/>
                        </a:spcBef>
                        <a:buNone/>
                      </a:pPr>
                      <a:r>
                        <a:rPr lang="en-GB" sz="800" kern="1200">
                          <a:effectLst/>
                        </a:rPr>
                        <a:t> </a:t>
                      </a:r>
                      <a:endParaRPr lang="en-ZA" sz="8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543490506"/>
                  </a:ext>
                </a:extLst>
              </a:tr>
              <a:tr h="195135">
                <a:tc>
                  <a:txBody>
                    <a:bodyPr/>
                    <a:lstStyle/>
                    <a:p>
                      <a:pPr algn="just">
                        <a:lnSpc>
                          <a:spcPct val="115000"/>
                        </a:lnSpc>
                        <a:spcBef>
                          <a:spcPts val="300"/>
                        </a:spcBef>
                        <a:buNone/>
                      </a:pPr>
                      <a:r>
                        <a:rPr lang="en-GB" sz="1050" kern="1200" dirty="0">
                          <a:effectLst/>
                        </a:rPr>
                        <a:t>Proof Of Tax Compliance</a:t>
                      </a:r>
                      <a:endParaRPr lang="en-ZA" sz="10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26086" marR="26086" marT="8506" marB="0"/>
                </a:tc>
                <a:tc>
                  <a:txBody>
                    <a:bodyPr/>
                    <a:lstStyle/>
                    <a:p>
                      <a:pPr algn="just">
                        <a:lnSpc>
                          <a:spcPct val="115000"/>
                        </a:lnSpc>
                        <a:spcBef>
                          <a:spcPts val="300"/>
                        </a:spcBef>
                        <a:buNone/>
                      </a:pPr>
                      <a:r>
                        <a:rPr lang="en-GB" sz="800" kern="1200" dirty="0">
                          <a:effectLst/>
                        </a:rPr>
                        <a:t> </a:t>
                      </a:r>
                      <a:endParaRPr lang="en-ZA" sz="8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445330878"/>
                  </a:ext>
                </a:extLst>
              </a:tr>
            </a:tbl>
          </a:graphicData>
        </a:graphic>
      </p:graphicFrame>
    </p:spTree>
    <p:extLst>
      <p:ext uri="{BB962C8B-B14F-4D97-AF65-F5344CB8AC3E}">
        <p14:creationId xmlns:p14="http://schemas.microsoft.com/office/powerpoint/2010/main" val="3416598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ZA" altLang="en-US" dirty="0"/>
              <a:t>Tender Process (</a:t>
            </a:r>
            <a:r>
              <a:rPr lang="en-ZA" altLang="en-US" dirty="0" err="1"/>
              <a:t>Cont</a:t>
            </a:r>
            <a:r>
              <a:rPr lang="en-ZA" altLang="en-US" dirty="0"/>
              <a:t>) </a:t>
            </a:r>
          </a:p>
        </p:txBody>
      </p:sp>
      <p:sp>
        <p:nvSpPr>
          <p:cNvPr id="8196"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CC0000"/>
              </a:buClr>
              <a:buFont typeface="Wingdings" panose="05000000000000000000" pitchFamily="2" charset="2"/>
              <a:buChar char="§"/>
              <a:defRPr sz="2000">
                <a:solidFill>
                  <a:schemeClr val="tx1"/>
                </a:solidFill>
                <a:latin typeface="Tahoma" panose="020B0604030504040204" pitchFamily="34" charset="0"/>
              </a:defRPr>
            </a:lvl1pPr>
            <a:lvl2pPr marL="742950" indent="-28575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2pPr>
            <a:lvl3pPr marL="11430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3pPr>
            <a:lvl4pPr marL="16002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4pPr>
            <a:lvl5pPr marL="2057400" indent="-228600">
              <a:spcBef>
                <a:spcPct val="20000"/>
              </a:spcBef>
              <a:buClr>
                <a:srgbClr val="CC0000"/>
              </a:buClr>
              <a:buFont typeface="Wingdings" panose="05000000000000000000" pitchFamily="2" charset="2"/>
              <a:buChar char="§"/>
              <a:defRPr>
                <a:solidFill>
                  <a:srgbClr val="4D4D4D"/>
                </a:solidFill>
                <a:latin typeface="Tahoma" panose="020B0604030504040204" pitchFamily="34" charset="0"/>
              </a:defRPr>
            </a:lvl5pPr>
            <a:lvl6pPr marL="25146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6pPr>
            <a:lvl7pPr marL="29718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7pPr>
            <a:lvl8pPr marL="34290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8pPr>
            <a:lvl9pPr marL="3886200" indent="-228600" defTabSz="457200" eaLnBrk="0" fontAlgn="base" hangingPunct="0">
              <a:spcBef>
                <a:spcPct val="20000"/>
              </a:spcBef>
              <a:spcAft>
                <a:spcPct val="0"/>
              </a:spcAft>
              <a:buClr>
                <a:srgbClr val="CC0000"/>
              </a:buClr>
              <a:buFont typeface="Wingdings" panose="05000000000000000000" pitchFamily="2" charset="2"/>
              <a:buChar char="§"/>
              <a:defRPr>
                <a:solidFill>
                  <a:srgbClr val="4D4D4D"/>
                </a:solidFill>
                <a:latin typeface="Tahoma" panose="020B0604030504040204" pitchFamily="34" charset="0"/>
              </a:defRPr>
            </a:lvl9pPr>
          </a:lstStyle>
          <a:p>
            <a:pPr>
              <a:spcBef>
                <a:spcPct val="0"/>
              </a:spcBef>
              <a:buClrTx/>
              <a:buFontTx/>
              <a:buNone/>
            </a:pPr>
            <a:fld id="{8DED7663-F0FE-4C6F-B467-18AD27CBAE27}" type="slidenum">
              <a:rPr lang="en-US" altLang="en-US" sz="1200">
                <a:solidFill>
                  <a:schemeClr val="bg1"/>
                </a:solidFill>
              </a:rPr>
              <a:pPr>
                <a:spcBef>
                  <a:spcPct val="0"/>
                </a:spcBef>
                <a:buClrTx/>
                <a:buFontTx/>
                <a:buNone/>
              </a:pPr>
              <a:t>8</a:t>
            </a:fld>
            <a:endParaRPr lang="en-US" altLang="en-US" sz="1200">
              <a:solidFill>
                <a:schemeClr val="bg1"/>
              </a:solidFill>
            </a:endParaRPr>
          </a:p>
        </p:txBody>
      </p:sp>
      <p:grpSp>
        <p:nvGrpSpPr>
          <p:cNvPr id="6" name="Group 5"/>
          <p:cNvGrpSpPr/>
          <p:nvPr/>
        </p:nvGrpSpPr>
        <p:grpSpPr>
          <a:xfrm>
            <a:off x="618755" y="1515087"/>
            <a:ext cx="11489162" cy="3986247"/>
            <a:chOff x="1199932" y="1498790"/>
            <a:chExt cx="12923662" cy="4483956"/>
          </a:xfrm>
        </p:grpSpPr>
        <p:grpSp>
          <p:nvGrpSpPr>
            <p:cNvPr id="7" name="Group 6"/>
            <p:cNvGrpSpPr/>
            <p:nvPr/>
          </p:nvGrpSpPr>
          <p:grpSpPr>
            <a:xfrm>
              <a:off x="3937336" y="1498790"/>
              <a:ext cx="10186258" cy="3177377"/>
              <a:chOff x="3937336" y="1498790"/>
              <a:chExt cx="10186261" cy="3177378"/>
            </a:xfrm>
          </p:grpSpPr>
          <p:sp>
            <p:nvSpPr>
              <p:cNvPr id="92" name="Rectangle 91"/>
              <p:cNvSpPr/>
              <p:nvPr/>
            </p:nvSpPr>
            <p:spPr>
              <a:xfrm>
                <a:off x="3937336" y="1498790"/>
                <a:ext cx="9796007" cy="519307"/>
              </a:xfrm>
              <a:prstGeom prst="rect">
                <a:avLst/>
              </a:prstGeom>
            </p:spPr>
            <p:txBody>
              <a:bodyPr wrap="square">
                <a:spAutoFit/>
              </a:bodyPr>
              <a:lstStyle/>
              <a:p>
                <a:pPr marL="285750" indent="-285750" defTabSz="914400">
                  <a:spcBef>
                    <a:spcPct val="0"/>
                  </a:spcBef>
                  <a:buFont typeface="Wingdings" panose="05000000000000000000" pitchFamily="2" charset="2"/>
                  <a:buChar char="v"/>
                  <a:defRPr/>
                </a:pPr>
                <a:r>
                  <a:rPr lang="en-ZA" sz="1200" dirty="0">
                    <a:solidFill>
                      <a:srgbClr val="000000"/>
                    </a:solidFill>
                    <a:ea typeface="Tahoma" pitchFamily="34" charset="0"/>
                    <a:cs typeface="Tahoma" pitchFamily="34" charset="0"/>
                  </a:rPr>
                  <a:t>The </a:t>
                </a:r>
                <a:r>
                  <a:rPr lang="en-ZA" sz="1200" b="1" dirty="0">
                    <a:solidFill>
                      <a:srgbClr val="000000"/>
                    </a:solidFill>
                    <a:ea typeface="Tahoma" pitchFamily="34" charset="0"/>
                    <a:cs typeface="Tahoma" pitchFamily="34" charset="0"/>
                  </a:rPr>
                  <a:t>deadline for questions /clarifications </a:t>
                </a:r>
                <a:r>
                  <a:rPr lang="en-ZA" sz="1200" dirty="0">
                    <a:solidFill>
                      <a:srgbClr val="000000"/>
                    </a:solidFill>
                    <a:ea typeface="Tahoma" pitchFamily="34" charset="0"/>
                    <a:cs typeface="Tahoma" pitchFamily="34" charset="0"/>
                  </a:rPr>
                  <a:t>is before 16:00 on the  </a:t>
                </a:r>
                <a:r>
                  <a:rPr lang="en-ZA" sz="1200" b="1" dirty="0">
                    <a:solidFill>
                      <a:srgbClr val="000000"/>
                    </a:solidFill>
                    <a:ea typeface="Tahoma" pitchFamily="34" charset="0"/>
                    <a:cs typeface="Tahoma" pitchFamily="34" charset="0"/>
                  </a:rPr>
                  <a:t>8</a:t>
                </a:r>
                <a:r>
                  <a:rPr lang="en-ZA" sz="1200" b="1" baseline="30000" dirty="0">
                    <a:solidFill>
                      <a:srgbClr val="000000"/>
                    </a:solidFill>
                    <a:ea typeface="Tahoma" pitchFamily="34" charset="0"/>
                    <a:cs typeface="Tahoma" pitchFamily="34" charset="0"/>
                  </a:rPr>
                  <a:t>th</a:t>
                </a:r>
                <a:r>
                  <a:rPr lang="en-ZA" sz="1200" b="1" dirty="0">
                    <a:solidFill>
                      <a:srgbClr val="000000"/>
                    </a:solidFill>
                    <a:ea typeface="Tahoma" pitchFamily="34" charset="0"/>
                    <a:cs typeface="Tahoma" pitchFamily="34" charset="0"/>
                  </a:rPr>
                  <a:t> of December 2025</a:t>
                </a:r>
                <a:r>
                  <a:rPr lang="en-ZA" sz="1200" dirty="0">
                    <a:solidFill>
                      <a:srgbClr val="000000"/>
                    </a:solidFill>
                    <a:ea typeface="Tahoma" pitchFamily="34" charset="0"/>
                    <a:cs typeface="Tahoma" pitchFamily="34" charset="0"/>
                  </a:rPr>
                  <a:t>. clarifications can be directed t</a:t>
                </a:r>
                <a:r>
                  <a:rPr lang="en-US" sz="1200" dirty="0">
                    <a:solidFill>
                      <a:srgbClr val="000000"/>
                    </a:solidFill>
                    <a:ea typeface="Tahoma" pitchFamily="34" charset="0"/>
                    <a:cs typeface="Tahoma" pitchFamily="34" charset="0"/>
                  </a:rPr>
                  <a:t>o Emmanuel Moriri </a:t>
                </a:r>
                <a:r>
                  <a:rPr lang="en-US" sz="1200" dirty="0">
                    <a:ea typeface="Tahoma" pitchFamily="34" charset="0"/>
                    <a:cs typeface="Tahoma" pitchFamily="34" charset="0"/>
                  </a:rPr>
                  <a:t>via e-mail:- </a:t>
                </a:r>
                <a:r>
                  <a:rPr lang="en-US" sz="1200" dirty="0">
                    <a:ea typeface="Tahoma" pitchFamily="34" charset="0"/>
                    <a:cs typeface="Tahoma" pitchFamily="34" charset="0"/>
                    <a:hlinkClick r:id="rId2"/>
                  </a:rPr>
                  <a:t>Emmanuel.Moririi@transnet.net</a:t>
                </a:r>
                <a:r>
                  <a:rPr lang="en-US" sz="1200" dirty="0">
                    <a:ea typeface="Tahoma" pitchFamily="34" charset="0"/>
                    <a:cs typeface="Tahoma" pitchFamily="34" charset="0"/>
                  </a:rPr>
                  <a:t> </a:t>
                </a:r>
                <a:endParaRPr lang="en-US" sz="1200" dirty="0">
                  <a:solidFill>
                    <a:srgbClr val="000000"/>
                  </a:solidFill>
                  <a:ea typeface="Tahoma" pitchFamily="34" charset="0"/>
                  <a:cs typeface="Tahoma" pitchFamily="34" charset="0"/>
                </a:endParaRPr>
              </a:p>
            </p:txBody>
          </p:sp>
          <p:sp>
            <p:nvSpPr>
              <p:cNvPr id="90" name="Rectangle 89"/>
              <p:cNvSpPr/>
              <p:nvPr/>
            </p:nvSpPr>
            <p:spPr>
              <a:xfrm>
                <a:off x="4370707" y="2395837"/>
                <a:ext cx="8841760" cy="311584"/>
              </a:xfrm>
              <a:prstGeom prst="rect">
                <a:avLst/>
              </a:prstGeom>
            </p:spPr>
            <p:txBody>
              <a:bodyPr wrap="square">
                <a:spAutoFit/>
              </a:bodyPr>
              <a:lstStyle/>
              <a:p>
                <a:pPr marL="285750" indent="-285750" defTabSz="914400">
                  <a:spcBef>
                    <a:spcPct val="0"/>
                  </a:spcBef>
                  <a:buFont typeface="Wingdings" panose="05000000000000000000" pitchFamily="2" charset="2"/>
                  <a:buChar char="v"/>
                  <a:defRPr/>
                </a:pPr>
                <a:r>
                  <a:rPr lang="en-GB" sz="1200" dirty="0">
                    <a:solidFill>
                      <a:srgbClr val="000000"/>
                    </a:solidFill>
                    <a:ea typeface="Tahoma" pitchFamily="34" charset="0"/>
                    <a:cs typeface="Tahoma" pitchFamily="34" charset="0"/>
                  </a:rPr>
                  <a:t>Response to questions / bid </a:t>
                </a:r>
                <a:r>
                  <a:rPr lang="en-US" sz="1200" dirty="0">
                    <a:solidFill>
                      <a:srgbClr val="000000"/>
                    </a:solidFill>
                    <a:ea typeface="Tahoma" pitchFamily="34" charset="0"/>
                    <a:cs typeface="Tahoma" pitchFamily="34" charset="0"/>
                  </a:rPr>
                  <a:t>clarifications will be sent to </a:t>
                </a:r>
                <a:r>
                  <a:rPr lang="en-US" sz="1200" b="1" dirty="0">
                    <a:solidFill>
                      <a:srgbClr val="000000"/>
                    </a:solidFill>
                    <a:ea typeface="Tahoma" pitchFamily="34" charset="0"/>
                    <a:cs typeface="Tahoma" pitchFamily="34" charset="0"/>
                  </a:rPr>
                  <a:t>all Respondents </a:t>
                </a:r>
                <a:r>
                  <a:rPr lang="en-US" sz="1200" dirty="0">
                    <a:solidFill>
                      <a:srgbClr val="000000"/>
                    </a:solidFill>
                    <a:ea typeface="Tahoma" pitchFamily="34" charset="0"/>
                    <a:cs typeface="Tahoma" pitchFamily="34" charset="0"/>
                  </a:rPr>
                  <a:t>who attended the briefing session.</a:t>
                </a:r>
              </a:p>
            </p:txBody>
          </p:sp>
          <p:sp>
            <p:nvSpPr>
              <p:cNvPr id="88" name="Rectangle 87"/>
              <p:cNvSpPr/>
              <p:nvPr/>
            </p:nvSpPr>
            <p:spPr>
              <a:xfrm>
                <a:off x="4051469" y="3168946"/>
                <a:ext cx="9681874" cy="519307"/>
              </a:xfrm>
              <a:prstGeom prst="rect">
                <a:avLst/>
              </a:prstGeom>
            </p:spPr>
            <p:txBody>
              <a:bodyPr wrap="square">
                <a:spAutoFit/>
              </a:bodyPr>
              <a:lstStyle/>
              <a:p>
                <a:pPr marL="342900" indent="-342900" defTabSz="844083">
                  <a:spcBef>
                    <a:spcPts val="200"/>
                  </a:spcBef>
                  <a:spcAft>
                    <a:spcPts val="200"/>
                  </a:spcAft>
                  <a:buFont typeface="Wingdings" panose="05000000000000000000" pitchFamily="2" charset="2"/>
                  <a:buChar char="v"/>
                  <a:defRPr/>
                </a:pPr>
                <a:r>
                  <a:rPr lang="en-ZA" sz="1200" dirty="0">
                    <a:solidFill>
                      <a:srgbClr val="000000"/>
                    </a:solidFill>
                    <a:ea typeface="Tahoma" pitchFamily="34" charset="0"/>
                    <a:cs typeface="Tahoma" pitchFamily="34" charset="0"/>
                  </a:rPr>
                  <a:t>Proposals / tender documents have to be submitted on or before the tender closing, which is </a:t>
                </a:r>
                <a:r>
                  <a:rPr lang="en-ZA" sz="1200" b="1" dirty="0">
                    <a:solidFill>
                      <a:srgbClr val="000000"/>
                    </a:solidFill>
                    <a:ea typeface="Tahoma" pitchFamily="34" charset="0"/>
                    <a:cs typeface="Tahoma" pitchFamily="34" charset="0"/>
                  </a:rPr>
                  <a:t>14h00 pm (Central Africa Time), 11</a:t>
                </a:r>
                <a:r>
                  <a:rPr lang="en-ZA" sz="1200" b="1" baseline="30000" dirty="0">
                    <a:solidFill>
                      <a:srgbClr val="000000"/>
                    </a:solidFill>
                    <a:ea typeface="Tahoma" pitchFamily="34" charset="0"/>
                    <a:cs typeface="Tahoma" pitchFamily="34" charset="0"/>
                  </a:rPr>
                  <a:t>th</a:t>
                </a:r>
                <a:r>
                  <a:rPr lang="en-ZA" sz="1200" b="1" dirty="0">
                    <a:solidFill>
                      <a:srgbClr val="000000"/>
                    </a:solidFill>
                    <a:ea typeface="Tahoma" pitchFamily="34" charset="0"/>
                    <a:cs typeface="Tahoma" pitchFamily="34" charset="0"/>
                  </a:rPr>
                  <a:t>  of December 2025 at </a:t>
                </a:r>
                <a:r>
                  <a:rPr lang="en-ZA" sz="1200" b="1" dirty="0">
                    <a:solidFill>
                      <a:srgbClr val="000000"/>
                    </a:solidFill>
                    <a:ea typeface="Tahoma" pitchFamily="34" charset="0"/>
                    <a:cs typeface="Tahoma" pitchFamily="34" charset="0"/>
                    <a:hlinkClick r:id="rId3"/>
                  </a:rPr>
                  <a:t>www.etenders.gov.za</a:t>
                </a:r>
                <a:r>
                  <a:rPr lang="en-ZA" sz="1200" b="1" dirty="0">
                    <a:solidFill>
                      <a:srgbClr val="000000"/>
                    </a:solidFill>
                    <a:ea typeface="Tahoma" pitchFamily="34" charset="0"/>
                    <a:cs typeface="Tahoma" pitchFamily="34" charset="0"/>
                  </a:rPr>
                  <a:t> and transnetetenders.azurewebsites.net.</a:t>
                </a:r>
                <a:r>
                  <a:rPr lang="en-US" sz="1200" b="1" dirty="0">
                    <a:solidFill>
                      <a:srgbClr val="000000"/>
                    </a:solidFill>
                    <a:ea typeface="Tahoma" pitchFamily="34" charset="0"/>
                    <a:cs typeface="Tahoma" pitchFamily="34" charset="0"/>
                  </a:rPr>
                  <a:t> </a:t>
                </a:r>
                <a:endParaRPr lang="en-ZA" sz="1200" b="1" dirty="0">
                  <a:solidFill>
                    <a:srgbClr val="536142"/>
                  </a:solidFill>
                  <a:ea typeface="Times New Roman" panose="02020603050405020304" pitchFamily="18" charset="0"/>
                  <a:cs typeface="Times New Roman" panose="02020603050405020304" pitchFamily="18" charset="0"/>
                </a:endParaRPr>
              </a:p>
            </p:txBody>
          </p:sp>
          <p:sp>
            <p:nvSpPr>
              <p:cNvPr id="86" name="Rectangle 85"/>
              <p:cNvSpPr/>
              <p:nvPr/>
            </p:nvSpPr>
            <p:spPr>
              <a:xfrm>
                <a:off x="3992671" y="4298923"/>
                <a:ext cx="10130926" cy="377245"/>
              </a:xfrm>
              <a:prstGeom prst="rect">
                <a:avLst/>
              </a:prstGeom>
            </p:spPr>
            <p:txBody>
              <a:bodyPr wrap="square">
                <a:spAutoFit/>
              </a:bodyPr>
              <a:lstStyle/>
              <a:p>
                <a:pPr marL="285750" indent="-285750" defTabSz="914400">
                  <a:lnSpc>
                    <a:spcPct val="150000"/>
                  </a:lnSpc>
                  <a:spcBef>
                    <a:spcPct val="0"/>
                  </a:spcBef>
                  <a:buFont typeface="Wingdings" panose="05000000000000000000" pitchFamily="2" charset="2"/>
                  <a:buChar char="v"/>
                  <a:defRPr/>
                </a:pPr>
                <a:r>
                  <a:rPr lang="en-US" sz="1200" b="1" dirty="0">
                    <a:solidFill>
                      <a:srgbClr val="000000"/>
                    </a:solidFill>
                    <a:ea typeface="Tahoma" pitchFamily="34" charset="0"/>
                    <a:cs typeface="Tahoma" pitchFamily="34" charset="0"/>
                  </a:rPr>
                  <a:t>No late submissions will be accepted</a:t>
                </a:r>
                <a:r>
                  <a:rPr lang="en-US" sz="1200" dirty="0">
                    <a:ea typeface="Tahoma" pitchFamily="34" charset="0"/>
                    <a:cs typeface="Tahoma" pitchFamily="34" charset="0"/>
                  </a:rPr>
                  <a:t>. </a:t>
                </a:r>
              </a:p>
            </p:txBody>
          </p:sp>
        </p:grpSp>
        <p:grpSp>
          <p:nvGrpSpPr>
            <p:cNvPr id="8" name="Group 7"/>
            <p:cNvGrpSpPr/>
            <p:nvPr/>
          </p:nvGrpSpPr>
          <p:grpSpPr>
            <a:xfrm>
              <a:off x="1199932" y="1571223"/>
              <a:ext cx="3235450" cy="4411523"/>
              <a:chOff x="1082977" y="1637045"/>
              <a:chExt cx="3138901" cy="4279880"/>
            </a:xfrm>
          </p:grpSpPr>
          <p:grpSp>
            <p:nvGrpSpPr>
              <p:cNvPr id="9" name="Group 8"/>
              <p:cNvGrpSpPr/>
              <p:nvPr/>
            </p:nvGrpSpPr>
            <p:grpSpPr>
              <a:xfrm>
                <a:off x="1082977" y="2036641"/>
                <a:ext cx="2172402" cy="2825115"/>
                <a:chOff x="1082977" y="2036641"/>
                <a:chExt cx="2172402" cy="2825116"/>
              </a:xfrm>
            </p:grpSpPr>
            <p:grpSp>
              <p:nvGrpSpPr>
                <p:cNvPr id="66" name="Group 65"/>
                <p:cNvGrpSpPr/>
                <p:nvPr/>
              </p:nvGrpSpPr>
              <p:grpSpPr>
                <a:xfrm>
                  <a:off x="1082977" y="2689359"/>
                  <a:ext cx="2172402" cy="2172398"/>
                  <a:chOff x="3382318" y="1739427"/>
                  <a:chExt cx="2748586" cy="2748584"/>
                </a:xfrm>
                <a:effectLst>
                  <a:outerShdw blurRad="63500" sx="102000" sy="102000" algn="ctr" rotWithShape="0">
                    <a:prstClr val="black">
                      <a:alpha val="35000"/>
                    </a:prstClr>
                  </a:outerShdw>
                </a:effectLst>
              </p:grpSpPr>
              <p:sp>
                <p:nvSpPr>
                  <p:cNvPr id="76" name="Oval 75"/>
                  <p:cNvSpPr/>
                  <p:nvPr/>
                </p:nvSpPr>
                <p:spPr>
                  <a:xfrm>
                    <a:off x="3382318" y="1739427"/>
                    <a:ext cx="2748586" cy="2748584"/>
                  </a:xfrm>
                  <a:prstGeom prst="ellipse">
                    <a:avLst/>
                  </a:prstGeom>
                  <a:solidFill>
                    <a:srgbClr val="E20000"/>
                  </a:solidFill>
                  <a:ln w="571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7" name="Oval 76"/>
                  <p:cNvSpPr/>
                  <p:nvPr/>
                </p:nvSpPr>
                <p:spPr>
                  <a:xfrm>
                    <a:off x="3622480" y="1979591"/>
                    <a:ext cx="2268259" cy="2268258"/>
                  </a:xfrm>
                  <a:prstGeom prst="ellipse">
                    <a:avLst/>
                  </a:prstGeom>
                  <a:gradFill>
                    <a:gsLst>
                      <a:gs pos="0">
                        <a:sysClr val="window" lastClr="FFFFFF"/>
                      </a:gs>
                      <a:gs pos="37000">
                        <a:sysClr val="window" lastClr="FFFFFF"/>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8" name="Oval 77"/>
                  <p:cNvSpPr/>
                  <p:nvPr/>
                </p:nvSpPr>
                <p:spPr>
                  <a:xfrm>
                    <a:off x="3880566" y="2237676"/>
                    <a:ext cx="1752089" cy="1752088"/>
                  </a:xfrm>
                  <a:prstGeom prst="ellipse">
                    <a:avLst/>
                  </a:prstGeom>
                  <a:solidFill>
                    <a:srgbClr val="E2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9" name="Oval 78"/>
                  <p:cNvSpPr/>
                  <p:nvPr/>
                </p:nvSpPr>
                <p:spPr>
                  <a:xfrm>
                    <a:off x="4122581" y="2479691"/>
                    <a:ext cx="1268059" cy="1268058"/>
                  </a:xfrm>
                  <a:prstGeom prst="ellipse">
                    <a:avLst/>
                  </a:prstGeom>
                  <a:gradFill>
                    <a:gsLst>
                      <a:gs pos="0">
                        <a:sysClr val="window" lastClr="FFFFFF"/>
                      </a:gs>
                      <a:gs pos="37000">
                        <a:sysClr val="window" lastClr="FFFFFF"/>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80" name="Oval 79"/>
                  <p:cNvSpPr/>
                  <p:nvPr/>
                </p:nvSpPr>
                <p:spPr>
                  <a:xfrm>
                    <a:off x="4386138" y="2743248"/>
                    <a:ext cx="740944" cy="740943"/>
                  </a:xfrm>
                  <a:prstGeom prst="ellipse">
                    <a:avLst/>
                  </a:prstGeom>
                  <a:solidFill>
                    <a:srgbClr val="E2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67" name="Group 66"/>
                <p:cNvGrpSpPr/>
                <p:nvPr/>
              </p:nvGrpSpPr>
              <p:grpSpPr>
                <a:xfrm rot="19591725" flipH="1">
                  <a:off x="1110715" y="2036641"/>
                  <a:ext cx="559742" cy="2121058"/>
                  <a:chOff x="5529730" y="595312"/>
                  <a:chExt cx="836573" cy="3170083"/>
                </a:xfrm>
              </p:grpSpPr>
              <p:sp>
                <p:nvSpPr>
                  <p:cNvPr id="68" name="Rectangle 50"/>
                  <p:cNvSpPr/>
                  <p:nvPr/>
                </p:nvSpPr>
                <p:spPr>
                  <a:xfrm>
                    <a:off x="5621644" y="1523176"/>
                    <a:ext cx="333377" cy="1088056"/>
                  </a:xfrm>
                  <a:custGeom>
                    <a:avLst/>
                    <a:gdLst>
                      <a:gd name="connsiteX0" fmla="*/ 0 w 209550"/>
                      <a:gd name="connsiteY0" fmla="*/ 0 h 519112"/>
                      <a:gd name="connsiteX1" fmla="*/ 209550 w 209550"/>
                      <a:gd name="connsiteY1" fmla="*/ 0 h 519112"/>
                      <a:gd name="connsiteX2" fmla="*/ 209550 w 209550"/>
                      <a:gd name="connsiteY2" fmla="*/ 519112 h 519112"/>
                      <a:gd name="connsiteX3" fmla="*/ 0 w 209550"/>
                      <a:gd name="connsiteY3" fmla="*/ 519112 h 519112"/>
                      <a:gd name="connsiteX4" fmla="*/ 0 w 209550"/>
                      <a:gd name="connsiteY4" fmla="*/ 0 h 519112"/>
                      <a:gd name="connsiteX0" fmla="*/ 0 w 278607"/>
                      <a:gd name="connsiteY0" fmla="*/ 0 h 519112"/>
                      <a:gd name="connsiteX1" fmla="*/ 278607 w 278607"/>
                      <a:gd name="connsiteY1" fmla="*/ 4762 h 519112"/>
                      <a:gd name="connsiteX2" fmla="*/ 209550 w 278607"/>
                      <a:gd name="connsiteY2" fmla="*/ 519112 h 519112"/>
                      <a:gd name="connsiteX3" fmla="*/ 0 w 278607"/>
                      <a:gd name="connsiteY3" fmla="*/ 519112 h 519112"/>
                      <a:gd name="connsiteX4" fmla="*/ 0 w 278607"/>
                      <a:gd name="connsiteY4" fmla="*/ 0 h 519112"/>
                      <a:gd name="connsiteX0" fmla="*/ 69056 w 278607"/>
                      <a:gd name="connsiteY0" fmla="*/ 0 h 545306"/>
                      <a:gd name="connsiteX1" fmla="*/ 278607 w 278607"/>
                      <a:gd name="connsiteY1" fmla="*/ 30956 h 545306"/>
                      <a:gd name="connsiteX2" fmla="*/ 209550 w 278607"/>
                      <a:gd name="connsiteY2" fmla="*/ 545306 h 545306"/>
                      <a:gd name="connsiteX3" fmla="*/ 0 w 278607"/>
                      <a:gd name="connsiteY3" fmla="*/ 545306 h 545306"/>
                      <a:gd name="connsiteX4" fmla="*/ 69056 w 278607"/>
                      <a:gd name="connsiteY4" fmla="*/ 0 h 545306"/>
                      <a:gd name="connsiteX0" fmla="*/ 69056 w 278607"/>
                      <a:gd name="connsiteY0" fmla="*/ 429 h 545735"/>
                      <a:gd name="connsiteX1" fmla="*/ 278607 w 278607"/>
                      <a:gd name="connsiteY1" fmla="*/ 31385 h 545735"/>
                      <a:gd name="connsiteX2" fmla="*/ 209550 w 278607"/>
                      <a:gd name="connsiteY2" fmla="*/ 545735 h 545735"/>
                      <a:gd name="connsiteX3" fmla="*/ 0 w 278607"/>
                      <a:gd name="connsiteY3" fmla="*/ 545735 h 545735"/>
                      <a:gd name="connsiteX4" fmla="*/ 69056 w 278607"/>
                      <a:gd name="connsiteY4" fmla="*/ 429 h 545735"/>
                      <a:gd name="connsiteX0" fmla="*/ 69056 w 278607"/>
                      <a:gd name="connsiteY0" fmla="*/ 514 h 545820"/>
                      <a:gd name="connsiteX1" fmla="*/ 278607 w 278607"/>
                      <a:gd name="connsiteY1" fmla="*/ 31470 h 545820"/>
                      <a:gd name="connsiteX2" fmla="*/ 209550 w 278607"/>
                      <a:gd name="connsiteY2" fmla="*/ 545820 h 545820"/>
                      <a:gd name="connsiteX3" fmla="*/ 0 w 278607"/>
                      <a:gd name="connsiteY3" fmla="*/ 545820 h 545820"/>
                      <a:gd name="connsiteX4" fmla="*/ 69056 w 278607"/>
                      <a:gd name="connsiteY4" fmla="*/ 514 h 545820"/>
                      <a:gd name="connsiteX0" fmla="*/ 69056 w 278607"/>
                      <a:gd name="connsiteY0" fmla="*/ 514 h 574395"/>
                      <a:gd name="connsiteX1" fmla="*/ 278607 w 278607"/>
                      <a:gd name="connsiteY1" fmla="*/ 31470 h 574395"/>
                      <a:gd name="connsiteX2" fmla="*/ 195262 w 278607"/>
                      <a:gd name="connsiteY2" fmla="*/ 574395 h 574395"/>
                      <a:gd name="connsiteX3" fmla="*/ 0 w 278607"/>
                      <a:gd name="connsiteY3" fmla="*/ 545820 h 574395"/>
                      <a:gd name="connsiteX4" fmla="*/ 69056 w 278607"/>
                      <a:gd name="connsiteY4" fmla="*/ 514 h 574395"/>
                      <a:gd name="connsiteX0" fmla="*/ 69056 w 288132"/>
                      <a:gd name="connsiteY0" fmla="*/ 571 h 574452"/>
                      <a:gd name="connsiteX1" fmla="*/ 288132 w 288132"/>
                      <a:gd name="connsiteY1" fmla="*/ 29146 h 574452"/>
                      <a:gd name="connsiteX2" fmla="*/ 195262 w 288132"/>
                      <a:gd name="connsiteY2" fmla="*/ 574452 h 574452"/>
                      <a:gd name="connsiteX3" fmla="*/ 0 w 288132"/>
                      <a:gd name="connsiteY3" fmla="*/ 545877 h 574452"/>
                      <a:gd name="connsiteX4" fmla="*/ 69056 w 288132"/>
                      <a:gd name="connsiteY4" fmla="*/ 571 h 574452"/>
                      <a:gd name="connsiteX0" fmla="*/ 90488 w 309564"/>
                      <a:gd name="connsiteY0" fmla="*/ 571 h 574452"/>
                      <a:gd name="connsiteX1" fmla="*/ 309564 w 309564"/>
                      <a:gd name="connsiteY1" fmla="*/ 29146 h 574452"/>
                      <a:gd name="connsiteX2" fmla="*/ 216694 w 309564"/>
                      <a:gd name="connsiteY2" fmla="*/ 574452 h 574452"/>
                      <a:gd name="connsiteX3" fmla="*/ 0 w 309564"/>
                      <a:gd name="connsiteY3" fmla="*/ 550639 h 574452"/>
                      <a:gd name="connsiteX4" fmla="*/ 90488 w 309564"/>
                      <a:gd name="connsiteY4" fmla="*/ 571 h 574452"/>
                      <a:gd name="connsiteX0" fmla="*/ 90488 w 309564"/>
                      <a:gd name="connsiteY0" fmla="*/ 571 h 581595"/>
                      <a:gd name="connsiteX1" fmla="*/ 309564 w 309564"/>
                      <a:gd name="connsiteY1" fmla="*/ 29146 h 581595"/>
                      <a:gd name="connsiteX2" fmla="*/ 200026 w 309564"/>
                      <a:gd name="connsiteY2" fmla="*/ 581595 h 581595"/>
                      <a:gd name="connsiteX3" fmla="*/ 0 w 309564"/>
                      <a:gd name="connsiteY3" fmla="*/ 550639 h 581595"/>
                      <a:gd name="connsiteX4" fmla="*/ 90488 w 309564"/>
                      <a:gd name="connsiteY4" fmla="*/ 571 h 581595"/>
                      <a:gd name="connsiteX0" fmla="*/ 92870 w 311946"/>
                      <a:gd name="connsiteY0" fmla="*/ 571 h 581595"/>
                      <a:gd name="connsiteX1" fmla="*/ 311946 w 311946"/>
                      <a:gd name="connsiteY1" fmla="*/ 29146 h 581595"/>
                      <a:gd name="connsiteX2" fmla="*/ 202408 w 311946"/>
                      <a:gd name="connsiteY2" fmla="*/ 581595 h 581595"/>
                      <a:gd name="connsiteX3" fmla="*/ 0 w 311946"/>
                      <a:gd name="connsiteY3" fmla="*/ 550639 h 581595"/>
                      <a:gd name="connsiteX4" fmla="*/ 92870 w 311946"/>
                      <a:gd name="connsiteY4" fmla="*/ 571 h 581595"/>
                      <a:gd name="connsiteX0" fmla="*/ 92870 w 311946"/>
                      <a:gd name="connsiteY0" fmla="*/ 571 h 581595"/>
                      <a:gd name="connsiteX1" fmla="*/ 311946 w 311946"/>
                      <a:gd name="connsiteY1" fmla="*/ 29146 h 581595"/>
                      <a:gd name="connsiteX2" fmla="*/ 202408 w 311946"/>
                      <a:gd name="connsiteY2" fmla="*/ 581595 h 581595"/>
                      <a:gd name="connsiteX3" fmla="*/ 0 w 311946"/>
                      <a:gd name="connsiteY3" fmla="*/ 555402 h 581595"/>
                      <a:gd name="connsiteX4" fmla="*/ 92870 w 311946"/>
                      <a:gd name="connsiteY4" fmla="*/ 571 h 581595"/>
                      <a:gd name="connsiteX0" fmla="*/ 92870 w 311946"/>
                      <a:gd name="connsiteY0" fmla="*/ 571 h 581595"/>
                      <a:gd name="connsiteX1" fmla="*/ 311946 w 311946"/>
                      <a:gd name="connsiteY1" fmla="*/ 29146 h 581595"/>
                      <a:gd name="connsiteX2" fmla="*/ 202408 w 311946"/>
                      <a:gd name="connsiteY2" fmla="*/ 581595 h 581595"/>
                      <a:gd name="connsiteX3" fmla="*/ 0 w 311946"/>
                      <a:gd name="connsiteY3" fmla="*/ 555402 h 581595"/>
                      <a:gd name="connsiteX4" fmla="*/ 92870 w 311946"/>
                      <a:gd name="connsiteY4" fmla="*/ 571 h 581595"/>
                      <a:gd name="connsiteX0" fmla="*/ 92870 w 311946"/>
                      <a:gd name="connsiteY0" fmla="*/ 571 h 581595"/>
                      <a:gd name="connsiteX1" fmla="*/ 311946 w 311946"/>
                      <a:gd name="connsiteY1" fmla="*/ 29146 h 581595"/>
                      <a:gd name="connsiteX2" fmla="*/ 202408 w 311946"/>
                      <a:gd name="connsiteY2" fmla="*/ 581595 h 581595"/>
                      <a:gd name="connsiteX3" fmla="*/ 0 w 311946"/>
                      <a:gd name="connsiteY3" fmla="*/ 555402 h 581595"/>
                      <a:gd name="connsiteX4" fmla="*/ 92870 w 311946"/>
                      <a:gd name="connsiteY4" fmla="*/ 571 h 581595"/>
                      <a:gd name="connsiteX0" fmla="*/ 92870 w 323852"/>
                      <a:gd name="connsiteY0" fmla="*/ 481352 h 1062376"/>
                      <a:gd name="connsiteX1" fmla="*/ 323852 w 323852"/>
                      <a:gd name="connsiteY1" fmla="*/ 339 h 1062376"/>
                      <a:gd name="connsiteX2" fmla="*/ 202408 w 323852"/>
                      <a:gd name="connsiteY2" fmla="*/ 1062376 h 1062376"/>
                      <a:gd name="connsiteX3" fmla="*/ 0 w 323852"/>
                      <a:gd name="connsiteY3" fmla="*/ 1036183 h 1062376"/>
                      <a:gd name="connsiteX4" fmla="*/ 92870 w 323852"/>
                      <a:gd name="connsiteY4" fmla="*/ 481352 h 1062376"/>
                      <a:gd name="connsiteX0" fmla="*/ 219076 w 323852"/>
                      <a:gd name="connsiteY0" fmla="*/ 9352 h 1069007"/>
                      <a:gd name="connsiteX1" fmla="*/ 323852 w 323852"/>
                      <a:gd name="connsiteY1" fmla="*/ 6970 h 1069007"/>
                      <a:gd name="connsiteX2" fmla="*/ 202408 w 323852"/>
                      <a:gd name="connsiteY2" fmla="*/ 1069007 h 1069007"/>
                      <a:gd name="connsiteX3" fmla="*/ 0 w 323852"/>
                      <a:gd name="connsiteY3" fmla="*/ 1042814 h 1069007"/>
                      <a:gd name="connsiteX4" fmla="*/ 219076 w 323852"/>
                      <a:gd name="connsiteY4" fmla="*/ 9352 h 1069007"/>
                      <a:gd name="connsiteX0" fmla="*/ 230982 w 335758"/>
                      <a:gd name="connsiteY0" fmla="*/ 9352 h 1069007"/>
                      <a:gd name="connsiteX1" fmla="*/ 335758 w 335758"/>
                      <a:gd name="connsiteY1" fmla="*/ 6970 h 1069007"/>
                      <a:gd name="connsiteX2" fmla="*/ 214314 w 335758"/>
                      <a:gd name="connsiteY2" fmla="*/ 1069007 h 1069007"/>
                      <a:gd name="connsiteX3" fmla="*/ 0 w 335758"/>
                      <a:gd name="connsiteY3" fmla="*/ 1047577 h 1069007"/>
                      <a:gd name="connsiteX4" fmla="*/ 230982 w 335758"/>
                      <a:gd name="connsiteY4" fmla="*/ 9352 h 1069007"/>
                      <a:gd name="connsiteX0" fmla="*/ 230982 w 335758"/>
                      <a:gd name="connsiteY0" fmla="*/ 9352 h 1073769"/>
                      <a:gd name="connsiteX1" fmla="*/ 335758 w 335758"/>
                      <a:gd name="connsiteY1" fmla="*/ 6970 h 1073769"/>
                      <a:gd name="connsiteX2" fmla="*/ 219077 w 335758"/>
                      <a:gd name="connsiteY2" fmla="*/ 1073769 h 1073769"/>
                      <a:gd name="connsiteX3" fmla="*/ 0 w 335758"/>
                      <a:gd name="connsiteY3" fmla="*/ 1047577 h 1073769"/>
                      <a:gd name="connsiteX4" fmla="*/ 230982 w 335758"/>
                      <a:gd name="connsiteY4" fmla="*/ 9352 h 1073769"/>
                      <a:gd name="connsiteX0" fmla="*/ 223838 w 328614"/>
                      <a:gd name="connsiteY0" fmla="*/ 9352 h 1073769"/>
                      <a:gd name="connsiteX1" fmla="*/ 328614 w 328614"/>
                      <a:gd name="connsiteY1" fmla="*/ 6970 h 1073769"/>
                      <a:gd name="connsiteX2" fmla="*/ 211933 w 328614"/>
                      <a:gd name="connsiteY2" fmla="*/ 1073769 h 1073769"/>
                      <a:gd name="connsiteX3" fmla="*/ 0 w 328614"/>
                      <a:gd name="connsiteY3" fmla="*/ 1047577 h 1073769"/>
                      <a:gd name="connsiteX4" fmla="*/ 223838 w 328614"/>
                      <a:gd name="connsiteY4" fmla="*/ 9352 h 1073769"/>
                      <a:gd name="connsiteX0" fmla="*/ 223838 w 328614"/>
                      <a:gd name="connsiteY0" fmla="*/ 9352 h 1088056"/>
                      <a:gd name="connsiteX1" fmla="*/ 328614 w 328614"/>
                      <a:gd name="connsiteY1" fmla="*/ 6970 h 1088056"/>
                      <a:gd name="connsiteX2" fmla="*/ 211933 w 328614"/>
                      <a:gd name="connsiteY2" fmla="*/ 1088056 h 1088056"/>
                      <a:gd name="connsiteX3" fmla="*/ 0 w 328614"/>
                      <a:gd name="connsiteY3" fmla="*/ 1047577 h 1088056"/>
                      <a:gd name="connsiteX4" fmla="*/ 223838 w 328614"/>
                      <a:gd name="connsiteY4" fmla="*/ 9352 h 1088056"/>
                      <a:gd name="connsiteX0" fmla="*/ 230982 w 335758"/>
                      <a:gd name="connsiteY0" fmla="*/ 9352 h 1088056"/>
                      <a:gd name="connsiteX1" fmla="*/ 335758 w 335758"/>
                      <a:gd name="connsiteY1" fmla="*/ 6970 h 1088056"/>
                      <a:gd name="connsiteX2" fmla="*/ 219077 w 335758"/>
                      <a:gd name="connsiteY2" fmla="*/ 1088056 h 1088056"/>
                      <a:gd name="connsiteX3" fmla="*/ 0 w 335758"/>
                      <a:gd name="connsiteY3" fmla="*/ 1052339 h 1088056"/>
                      <a:gd name="connsiteX4" fmla="*/ 230982 w 335758"/>
                      <a:gd name="connsiteY4" fmla="*/ 9352 h 1088056"/>
                      <a:gd name="connsiteX0" fmla="*/ 228601 w 333377"/>
                      <a:gd name="connsiteY0" fmla="*/ 9352 h 1088056"/>
                      <a:gd name="connsiteX1" fmla="*/ 333377 w 333377"/>
                      <a:gd name="connsiteY1" fmla="*/ 6970 h 1088056"/>
                      <a:gd name="connsiteX2" fmla="*/ 216696 w 333377"/>
                      <a:gd name="connsiteY2" fmla="*/ 1088056 h 1088056"/>
                      <a:gd name="connsiteX3" fmla="*/ 0 w 333377"/>
                      <a:gd name="connsiteY3" fmla="*/ 1052339 h 1088056"/>
                      <a:gd name="connsiteX4" fmla="*/ 228601 w 333377"/>
                      <a:gd name="connsiteY4" fmla="*/ 9352 h 1088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7" h="1088056">
                        <a:moveTo>
                          <a:pt x="228601" y="9352"/>
                        </a:moveTo>
                        <a:cubicBezTo>
                          <a:pt x="303214" y="5383"/>
                          <a:pt x="282577" y="-8112"/>
                          <a:pt x="333377" y="6970"/>
                        </a:cubicBezTo>
                        <a:lnTo>
                          <a:pt x="216696" y="1088056"/>
                        </a:lnTo>
                        <a:cubicBezTo>
                          <a:pt x="158752" y="1072181"/>
                          <a:pt x="65087" y="1051545"/>
                          <a:pt x="0" y="1052339"/>
                        </a:cubicBezTo>
                        <a:lnTo>
                          <a:pt x="228601" y="9352"/>
                        </a:lnTo>
                        <a:close/>
                      </a:path>
                    </a:pathLst>
                  </a:custGeom>
                  <a:solidFill>
                    <a:srgbClr val="9F9F9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69" name="Rectangle 56"/>
                  <p:cNvSpPr/>
                  <p:nvPr/>
                </p:nvSpPr>
                <p:spPr>
                  <a:xfrm>
                    <a:off x="5948362" y="678206"/>
                    <a:ext cx="71437" cy="96405"/>
                  </a:xfrm>
                  <a:custGeom>
                    <a:avLst/>
                    <a:gdLst>
                      <a:gd name="connsiteX0" fmla="*/ 0 w 92868"/>
                      <a:gd name="connsiteY0" fmla="*/ 0 h 169069"/>
                      <a:gd name="connsiteX1" fmla="*/ 92868 w 92868"/>
                      <a:gd name="connsiteY1" fmla="*/ 0 h 169069"/>
                      <a:gd name="connsiteX2" fmla="*/ 92868 w 92868"/>
                      <a:gd name="connsiteY2" fmla="*/ 169069 h 169069"/>
                      <a:gd name="connsiteX3" fmla="*/ 0 w 92868"/>
                      <a:gd name="connsiteY3" fmla="*/ 169069 h 169069"/>
                      <a:gd name="connsiteX4" fmla="*/ 0 w 92868"/>
                      <a:gd name="connsiteY4" fmla="*/ 0 h 169069"/>
                      <a:gd name="connsiteX0" fmla="*/ 0 w 92868"/>
                      <a:gd name="connsiteY0" fmla="*/ 0 h 169069"/>
                      <a:gd name="connsiteX1" fmla="*/ 38099 w 92868"/>
                      <a:gd name="connsiteY1" fmla="*/ 2381 h 169069"/>
                      <a:gd name="connsiteX2" fmla="*/ 92868 w 92868"/>
                      <a:gd name="connsiteY2" fmla="*/ 169069 h 169069"/>
                      <a:gd name="connsiteX3" fmla="*/ 0 w 92868"/>
                      <a:gd name="connsiteY3" fmla="*/ 169069 h 169069"/>
                      <a:gd name="connsiteX4" fmla="*/ 0 w 92868"/>
                      <a:gd name="connsiteY4" fmla="*/ 0 h 169069"/>
                      <a:gd name="connsiteX0" fmla="*/ 0 w 92868"/>
                      <a:gd name="connsiteY0" fmla="*/ 166688 h 166688"/>
                      <a:gd name="connsiteX1" fmla="*/ 38099 w 92868"/>
                      <a:gd name="connsiteY1" fmla="*/ 0 h 166688"/>
                      <a:gd name="connsiteX2" fmla="*/ 92868 w 92868"/>
                      <a:gd name="connsiteY2" fmla="*/ 166688 h 166688"/>
                      <a:gd name="connsiteX3" fmla="*/ 0 w 92868"/>
                      <a:gd name="connsiteY3" fmla="*/ 166688 h 166688"/>
                      <a:gd name="connsiteX0" fmla="*/ 0 w 80962"/>
                      <a:gd name="connsiteY0" fmla="*/ 42863 h 166688"/>
                      <a:gd name="connsiteX1" fmla="*/ 26193 w 80962"/>
                      <a:gd name="connsiteY1" fmla="*/ 0 h 166688"/>
                      <a:gd name="connsiteX2" fmla="*/ 80962 w 80962"/>
                      <a:gd name="connsiteY2" fmla="*/ 166688 h 166688"/>
                      <a:gd name="connsiteX3" fmla="*/ 0 w 80962"/>
                      <a:gd name="connsiteY3" fmla="*/ 42863 h 166688"/>
                      <a:gd name="connsiteX0" fmla="*/ 0 w 57149"/>
                      <a:gd name="connsiteY0" fmla="*/ 42863 h 59532"/>
                      <a:gd name="connsiteX1" fmla="*/ 26193 w 57149"/>
                      <a:gd name="connsiteY1" fmla="*/ 0 h 59532"/>
                      <a:gd name="connsiteX2" fmla="*/ 57149 w 57149"/>
                      <a:gd name="connsiteY2" fmla="*/ 59532 h 59532"/>
                      <a:gd name="connsiteX3" fmla="*/ 0 w 57149"/>
                      <a:gd name="connsiteY3" fmla="*/ 42863 h 59532"/>
                      <a:gd name="connsiteX0" fmla="*/ 0 w 57515"/>
                      <a:gd name="connsiteY0" fmla="*/ 42863 h 79763"/>
                      <a:gd name="connsiteX1" fmla="*/ 26193 w 57515"/>
                      <a:gd name="connsiteY1" fmla="*/ 0 h 79763"/>
                      <a:gd name="connsiteX2" fmla="*/ 57149 w 57515"/>
                      <a:gd name="connsiteY2" fmla="*/ 59532 h 79763"/>
                      <a:gd name="connsiteX3" fmla="*/ 0 w 57515"/>
                      <a:gd name="connsiteY3" fmla="*/ 42863 h 79763"/>
                      <a:gd name="connsiteX0" fmla="*/ 0 w 57515"/>
                      <a:gd name="connsiteY0" fmla="*/ 42863 h 79763"/>
                      <a:gd name="connsiteX1" fmla="*/ 26193 w 57515"/>
                      <a:gd name="connsiteY1" fmla="*/ 0 h 79763"/>
                      <a:gd name="connsiteX2" fmla="*/ 57149 w 57515"/>
                      <a:gd name="connsiteY2" fmla="*/ 59532 h 79763"/>
                      <a:gd name="connsiteX3" fmla="*/ 0 w 57515"/>
                      <a:gd name="connsiteY3" fmla="*/ 42863 h 79763"/>
                      <a:gd name="connsiteX0" fmla="*/ 0 w 57515"/>
                      <a:gd name="connsiteY0" fmla="*/ 42863 h 79763"/>
                      <a:gd name="connsiteX1" fmla="*/ 26193 w 57515"/>
                      <a:gd name="connsiteY1" fmla="*/ 0 h 79763"/>
                      <a:gd name="connsiteX2" fmla="*/ 57149 w 57515"/>
                      <a:gd name="connsiteY2" fmla="*/ 59532 h 79763"/>
                      <a:gd name="connsiteX3" fmla="*/ 0 w 57515"/>
                      <a:gd name="connsiteY3" fmla="*/ 42863 h 79763"/>
                      <a:gd name="connsiteX0" fmla="*/ 0 w 57515"/>
                      <a:gd name="connsiteY0" fmla="*/ 52388 h 89288"/>
                      <a:gd name="connsiteX1" fmla="*/ 16668 w 57515"/>
                      <a:gd name="connsiteY1" fmla="*/ 0 h 89288"/>
                      <a:gd name="connsiteX2" fmla="*/ 57149 w 57515"/>
                      <a:gd name="connsiteY2" fmla="*/ 69057 h 89288"/>
                      <a:gd name="connsiteX3" fmla="*/ 0 w 57515"/>
                      <a:gd name="connsiteY3" fmla="*/ 52388 h 89288"/>
                      <a:gd name="connsiteX0" fmla="*/ 0 w 57515"/>
                      <a:gd name="connsiteY0" fmla="*/ 52388 h 89288"/>
                      <a:gd name="connsiteX1" fmla="*/ 16668 w 57515"/>
                      <a:gd name="connsiteY1" fmla="*/ 0 h 89288"/>
                      <a:gd name="connsiteX2" fmla="*/ 57149 w 57515"/>
                      <a:gd name="connsiteY2" fmla="*/ 69057 h 89288"/>
                      <a:gd name="connsiteX3" fmla="*/ 0 w 57515"/>
                      <a:gd name="connsiteY3" fmla="*/ 52388 h 89288"/>
                      <a:gd name="connsiteX0" fmla="*/ 0 w 66978"/>
                      <a:gd name="connsiteY0" fmla="*/ 52388 h 87396"/>
                      <a:gd name="connsiteX1" fmla="*/ 16668 w 66978"/>
                      <a:gd name="connsiteY1" fmla="*/ 0 h 87396"/>
                      <a:gd name="connsiteX2" fmla="*/ 66674 w 66978"/>
                      <a:gd name="connsiteY2" fmla="*/ 66676 h 87396"/>
                      <a:gd name="connsiteX3" fmla="*/ 0 w 66978"/>
                      <a:gd name="connsiteY3" fmla="*/ 52388 h 87396"/>
                      <a:gd name="connsiteX0" fmla="*/ 0 w 66978"/>
                      <a:gd name="connsiteY0" fmla="*/ 52388 h 96852"/>
                      <a:gd name="connsiteX1" fmla="*/ 16668 w 66978"/>
                      <a:gd name="connsiteY1" fmla="*/ 0 h 96852"/>
                      <a:gd name="connsiteX2" fmla="*/ 66674 w 66978"/>
                      <a:gd name="connsiteY2" fmla="*/ 66676 h 96852"/>
                      <a:gd name="connsiteX3" fmla="*/ 0 w 66978"/>
                      <a:gd name="connsiteY3" fmla="*/ 52388 h 96852"/>
                      <a:gd name="connsiteX0" fmla="*/ 0 w 66978"/>
                      <a:gd name="connsiteY0" fmla="*/ 52388 h 96852"/>
                      <a:gd name="connsiteX1" fmla="*/ 16668 w 66978"/>
                      <a:gd name="connsiteY1" fmla="*/ 0 h 96852"/>
                      <a:gd name="connsiteX2" fmla="*/ 66674 w 66978"/>
                      <a:gd name="connsiteY2" fmla="*/ 66676 h 96852"/>
                      <a:gd name="connsiteX3" fmla="*/ 0 w 66978"/>
                      <a:gd name="connsiteY3" fmla="*/ 52388 h 96852"/>
                      <a:gd name="connsiteX0" fmla="*/ 0 w 66674"/>
                      <a:gd name="connsiteY0" fmla="*/ 52388 h 92644"/>
                      <a:gd name="connsiteX1" fmla="*/ 16668 w 66674"/>
                      <a:gd name="connsiteY1" fmla="*/ 0 h 92644"/>
                      <a:gd name="connsiteX2" fmla="*/ 66674 w 66674"/>
                      <a:gd name="connsiteY2" fmla="*/ 66676 h 92644"/>
                      <a:gd name="connsiteX3" fmla="*/ 0 w 66674"/>
                      <a:gd name="connsiteY3" fmla="*/ 52388 h 92644"/>
                      <a:gd name="connsiteX0" fmla="*/ 0 w 71437"/>
                      <a:gd name="connsiteY0" fmla="*/ 52388 h 96405"/>
                      <a:gd name="connsiteX1" fmla="*/ 16668 w 71437"/>
                      <a:gd name="connsiteY1" fmla="*/ 0 h 96405"/>
                      <a:gd name="connsiteX2" fmla="*/ 71437 w 71437"/>
                      <a:gd name="connsiteY2" fmla="*/ 71438 h 96405"/>
                      <a:gd name="connsiteX3" fmla="*/ 0 w 71437"/>
                      <a:gd name="connsiteY3" fmla="*/ 52388 h 96405"/>
                    </a:gdLst>
                    <a:ahLst/>
                    <a:cxnLst>
                      <a:cxn ang="0">
                        <a:pos x="connsiteX0" y="connsiteY0"/>
                      </a:cxn>
                      <a:cxn ang="0">
                        <a:pos x="connsiteX1" y="connsiteY1"/>
                      </a:cxn>
                      <a:cxn ang="0">
                        <a:pos x="connsiteX2" y="connsiteY2"/>
                      </a:cxn>
                      <a:cxn ang="0">
                        <a:pos x="connsiteX3" y="connsiteY3"/>
                      </a:cxn>
                    </a:cxnLst>
                    <a:rect l="l" t="t" r="r" b="b"/>
                    <a:pathLst>
                      <a:path w="71437" h="96405">
                        <a:moveTo>
                          <a:pt x="0" y="52388"/>
                        </a:moveTo>
                        <a:cubicBezTo>
                          <a:pt x="5556" y="34925"/>
                          <a:pt x="1587" y="12701"/>
                          <a:pt x="16668" y="0"/>
                        </a:cubicBezTo>
                        <a:cubicBezTo>
                          <a:pt x="31749" y="3175"/>
                          <a:pt x="61118" y="51594"/>
                          <a:pt x="71437" y="71438"/>
                        </a:cubicBezTo>
                        <a:cubicBezTo>
                          <a:pt x="47624" y="134939"/>
                          <a:pt x="19050" y="57944"/>
                          <a:pt x="0" y="52388"/>
                        </a:cubicBezTo>
                        <a:close/>
                      </a:path>
                    </a:pathLst>
                  </a:custGeom>
                  <a:gradFill>
                    <a:gsLst>
                      <a:gs pos="0">
                        <a:srgbClr val="9F9F9F"/>
                      </a:gs>
                      <a:gs pos="84000">
                        <a:srgbClr val="7F7F7F"/>
                      </a:gs>
                    </a:gsLst>
                    <a:lin ang="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0" name="Rectangle 49"/>
                  <p:cNvSpPr/>
                  <p:nvPr/>
                </p:nvSpPr>
                <p:spPr>
                  <a:xfrm rot="452036">
                    <a:off x="5552207" y="3257925"/>
                    <a:ext cx="65250" cy="507470"/>
                  </a:xfrm>
                  <a:custGeom>
                    <a:avLst/>
                    <a:gdLst>
                      <a:gd name="connsiteX0" fmla="*/ 0 w 204787"/>
                      <a:gd name="connsiteY0" fmla="*/ 0 h 152400"/>
                      <a:gd name="connsiteX1" fmla="*/ 204787 w 204787"/>
                      <a:gd name="connsiteY1" fmla="*/ 0 h 152400"/>
                      <a:gd name="connsiteX2" fmla="*/ 204787 w 204787"/>
                      <a:gd name="connsiteY2" fmla="*/ 152400 h 152400"/>
                      <a:gd name="connsiteX3" fmla="*/ 0 w 204787"/>
                      <a:gd name="connsiteY3" fmla="*/ 152400 h 152400"/>
                      <a:gd name="connsiteX4" fmla="*/ 0 w 204787"/>
                      <a:gd name="connsiteY4" fmla="*/ 0 h 152400"/>
                      <a:gd name="connsiteX0" fmla="*/ 0 w 214542"/>
                      <a:gd name="connsiteY0" fmla="*/ 0 h 153511"/>
                      <a:gd name="connsiteX1" fmla="*/ 214542 w 214542"/>
                      <a:gd name="connsiteY1" fmla="*/ 1111 h 153511"/>
                      <a:gd name="connsiteX2" fmla="*/ 214542 w 214542"/>
                      <a:gd name="connsiteY2" fmla="*/ 153511 h 153511"/>
                      <a:gd name="connsiteX3" fmla="*/ 9755 w 214542"/>
                      <a:gd name="connsiteY3" fmla="*/ 153511 h 153511"/>
                      <a:gd name="connsiteX4" fmla="*/ 0 w 214542"/>
                      <a:gd name="connsiteY4" fmla="*/ 0 h 153511"/>
                      <a:gd name="connsiteX0" fmla="*/ 0 w 221625"/>
                      <a:gd name="connsiteY0" fmla="*/ 0 h 153511"/>
                      <a:gd name="connsiteX1" fmla="*/ 221625 w 221625"/>
                      <a:gd name="connsiteY1" fmla="*/ 175 h 153511"/>
                      <a:gd name="connsiteX2" fmla="*/ 214542 w 221625"/>
                      <a:gd name="connsiteY2" fmla="*/ 153511 h 153511"/>
                      <a:gd name="connsiteX3" fmla="*/ 9755 w 221625"/>
                      <a:gd name="connsiteY3" fmla="*/ 153511 h 153511"/>
                      <a:gd name="connsiteX4" fmla="*/ 0 w 221625"/>
                      <a:gd name="connsiteY4" fmla="*/ 0 h 153511"/>
                      <a:gd name="connsiteX0" fmla="*/ 0 w 221625"/>
                      <a:gd name="connsiteY0" fmla="*/ 0 h 153511"/>
                      <a:gd name="connsiteX1" fmla="*/ 221625 w 221625"/>
                      <a:gd name="connsiteY1" fmla="*/ 175 h 153511"/>
                      <a:gd name="connsiteX2" fmla="*/ 204787 w 221625"/>
                      <a:gd name="connsiteY2" fmla="*/ 152400 h 153511"/>
                      <a:gd name="connsiteX3" fmla="*/ 9755 w 221625"/>
                      <a:gd name="connsiteY3" fmla="*/ 153511 h 153511"/>
                      <a:gd name="connsiteX4" fmla="*/ 0 w 221625"/>
                      <a:gd name="connsiteY4" fmla="*/ 0 h 153511"/>
                      <a:gd name="connsiteX0" fmla="*/ 0 w 221625"/>
                      <a:gd name="connsiteY0" fmla="*/ 0 h 154935"/>
                      <a:gd name="connsiteX1" fmla="*/ 221625 w 221625"/>
                      <a:gd name="connsiteY1" fmla="*/ 175 h 154935"/>
                      <a:gd name="connsiteX2" fmla="*/ 204787 w 221625"/>
                      <a:gd name="connsiteY2" fmla="*/ 152400 h 154935"/>
                      <a:gd name="connsiteX3" fmla="*/ 17149 w 221625"/>
                      <a:gd name="connsiteY3" fmla="*/ 154935 h 154935"/>
                      <a:gd name="connsiteX4" fmla="*/ 0 w 221625"/>
                      <a:gd name="connsiteY4" fmla="*/ 0 h 154935"/>
                      <a:gd name="connsiteX0" fmla="*/ 0 w 223985"/>
                      <a:gd name="connsiteY0" fmla="*/ 137 h 154760"/>
                      <a:gd name="connsiteX1" fmla="*/ 223985 w 223985"/>
                      <a:gd name="connsiteY1" fmla="*/ 0 h 154760"/>
                      <a:gd name="connsiteX2" fmla="*/ 207147 w 223985"/>
                      <a:gd name="connsiteY2" fmla="*/ 152225 h 154760"/>
                      <a:gd name="connsiteX3" fmla="*/ 19509 w 223985"/>
                      <a:gd name="connsiteY3" fmla="*/ 154760 h 154760"/>
                      <a:gd name="connsiteX4" fmla="*/ 0 w 223985"/>
                      <a:gd name="connsiteY4" fmla="*/ 137 h 154760"/>
                      <a:gd name="connsiteX0" fmla="*/ 0 w 223985"/>
                      <a:gd name="connsiteY0" fmla="*/ 137 h 154760"/>
                      <a:gd name="connsiteX1" fmla="*/ 223985 w 223985"/>
                      <a:gd name="connsiteY1" fmla="*/ 0 h 154760"/>
                      <a:gd name="connsiteX2" fmla="*/ 207147 w 223985"/>
                      <a:gd name="connsiteY2" fmla="*/ 152225 h 154760"/>
                      <a:gd name="connsiteX3" fmla="*/ 19509 w 223985"/>
                      <a:gd name="connsiteY3" fmla="*/ 154760 h 154760"/>
                      <a:gd name="connsiteX4" fmla="*/ 0 w 223985"/>
                      <a:gd name="connsiteY4" fmla="*/ 137 h 154760"/>
                      <a:gd name="connsiteX0" fmla="*/ 0 w 223985"/>
                      <a:gd name="connsiteY0" fmla="*/ 137 h 154760"/>
                      <a:gd name="connsiteX1" fmla="*/ 223985 w 223985"/>
                      <a:gd name="connsiteY1" fmla="*/ 0 h 154760"/>
                      <a:gd name="connsiteX2" fmla="*/ 207147 w 223985"/>
                      <a:gd name="connsiteY2" fmla="*/ 152225 h 154760"/>
                      <a:gd name="connsiteX3" fmla="*/ 19509 w 223985"/>
                      <a:gd name="connsiteY3" fmla="*/ 154760 h 154760"/>
                      <a:gd name="connsiteX4" fmla="*/ 0 w 223985"/>
                      <a:gd name="connsiteY4" fmla="*/ 137 h 154760"/>
                      <a:gd name="connsiteX0" fmla="*/ 0 w 223985"/>
                      <a:gd name="connsiteY0" fmla="*/ 137 h 154760"/>
                      <a:gd name="connsiteX1" fmla="*/ 223985 w 223985"/>
                      <a:gd name="connsiteY1" fmla="*/ 0 h 154760"/>
                      <a:gd name="connsiteX2" fmla="*/ 207147 w 223985"/>
                      <a:gd name="connsiteY2" fmla="*/ 152225 h 154760"/>
                      <a:gd name="connsiteX3" fmla="*/ 19509 w 223985"/>
                      <a:gd name="connsiteY3" fmla="*/ 154760 h 154760"/>
                      <a:gd name="connsiteX4" fmla="*/ 0 w 223985"/>
                      <a:gd name="connsiteY4" fmla="*/ 137 h 154760"/>
                      <a:gd name="connsiteX0" fmla="*/ 0 w 226345"/>
                      <a:gd name="connsiteY0" fmla="*/ 450 h 155073"/>
                      <a:gd name="connsiteX1" fmla="*/ 226345 w 226345"/>
                      <a:gd name="connsiteY1" fmla="*/ 0 h 155073"/>
                      <a:gd name="connsiteX2" fmla="*/ 207147 w 226345"/>
                      <a:gd name="connsiteY2" fmla="*/ 152538 h 155073"/>
                      <a:gd name="connsiteX3" fmla="*/ 19509 w 226345"/>
                      <a:gd name="connsiteY3" fmla="*/ 155073 h 155073"/>
                      <a:gd name="connsiteX4" fmla="*/ 0 w 226345"/>
                      <a:gd name="connsiteY4" fmla="*/ 450 h 155073"/>
                      <a:gd name="connsiteX0" fmla="*/ 0 w 226345"/>
                      <a:gd name="connsiteY0" fmla="*/ 450 h 474665"/>
                      <a:gd name="connsiteX1" fmla="*/ 226345 w 226345"/>
                      <a:gd name="connsiteY1" fmla="*/ 0 h 474665"/>
                      <a:gd name="connsiteX2" fmla="*/ 207147 w 226345"/>
                      <a:gd name="connsiteY2" fmla="*/ 152538 h 474665"/>
                      <a:gd name="connsiteX3" fmla="*/ 16156 w 226345"/>
                      <a:gd name="connsiteY3" fmla="*/ 474665 h 474665"/>
                      <a:gd name="connsiteX4" fmla="*/ 0 w 226345"/>
                      <a:gd name="connsiteY4" fmla="*/ 450 h 474665"/>
                      <a:gd name="connsiteX0" fmla="*/ 0 w 226345"/>
                      <a:gd name="connsiteY0" fmla="*/ 450 h 478374"/>
                      <a:gd name="connsiteX1" fmla="*/ 226345 w 226345"/>
                      <a:gd name="connsiteY1" fmla="*/ 0 h 478374"/>
                      <a:gd name="connsiteX2" fmla="*/ 40013 w 226345"/>
                      <a:gd name="connsiteY2" fmla="*/ 478374 h 478374"/>
                      <a:gd name="connsiteX3" fmla="*/ 16156 w 226345"/>
                      <a:gd name="connsiteY3" fmla="*/ 474665 h 478374"/>
                      <a:gd name="connsiteX4" fmla="*/ 0 w 226345"/>
                      <a:gd name="connsiteY4" fmla="*/ 450 h 478374"/>
                      <a:gd name="connsiteX0" fmla="*/ 0 w 226345"/>
                      <a:gd name="connsiteY0" fmla="*/ 450 h 478374"/>
                      <a:gd name="connsiteX1" fmla="*/ 226345 w 226345"/>
                      <a:gd name="connsiteY1" fmla="*/ 0 h 478374"/>
                      <a:gd name="connsiteX2" fmla="*/ 40013 w 226345"/>
                      <a:gd name="connsiteY2" fmla="*/ 478374 h 478374"/>
                      <a:gd name="connsiteX3" fmla="*/ 57102 w 226345"/>
                      <a:gd name="connsiteY3" fmla="*/ 473104 h 478374"/>
                      <a:gd name="connsiteX4" fmla="*/ 0 w 226345"/>
                      <a:gd name="connsiteY4" fmla="*/ 450 h 478374"/>
                      <a:gd name="connsiteX0" fmla="*/ 0 w 226345"/>
                      <a:gd name="connsiteY0" fmla="*/ 450 h 478374"/>
                      <a:gd name="connsiteX1" fmla="*/ 226345 w 226345"/>
                      <a:gd name="connsiteY1" fmla="*/ 0 h 478374"/>
                      <a:gd name="connsiteX2" fmla="*/ 40013 w 226345"/>
                      <a:gd name="connsiteY2" fmla="*/ 478374 h 478374"/>
                      <a:gd name="connsiteX3" fmla="*/ 39639 w 226345"/>
                      <a:gd name="connsiteY3" fmla="*/ 471368 h 478374"/>
                      <a:gd name="connsiteX4" fmla="*/ 0 w 226345"/>
                      <a:gd name="connsiteY4" fmla="*/ 450 h 478374"/>
                      <a:gd name="connsiteX0" fmla="*/ 24102 w 250447"/>
                      <a:gd name="connsiteY0" fmla="*/ 450 h 478374"/>
                      <a:gd name="connsiteX1" fmla="*/ 250447 w 250447"/>
                      <a:gd name="connsiteY1" fmla="*/ 0 h 478374"/>
                      <a:gd name="connsiteX2" fmla="*/ 64115 w 250447"/>
                      <a:gd name="connsiteY2" fmla="*/ 478374 h 478374"/>
                      <a:gd name="connsiteX3" fmla="*/ 5334 w 250447"/>
                      <a:gd name="connsiteY3" fmla="*/ 471193 h 478374"/>
                      <a:gd name="connsiteX4" fmla="*/ 24102 w 250447"/>
                      <a:gd name="connsiteY4" fmla="*/ 450 h 478374"/>
                      <a:gd name="connsiteX0" fmla="*/ 24102 w 250447"/>
                      <a:gd name="connsiteY0" fmla="*/ 450 h 475565"/>
                      <a:gd name="connsiteX1" fmla="*/ 250447 w 250447"/>
                      <a:gd name="connsiteY1" fmla="*/ 0 h 475565"/>
                      <a:gd name="connsiteX2" fmla="*/ 137814 w 250447"/>
                      <a:gd name="connsiteY2" fmla="*/ 475565 h 475565"/>
                      <a:gd name="connsiteX3" fmla="*/ 5334 w 250447"/>
                      <a:gd name="connsiteY3" fmla="*/ 471193 h 475565"/>
                      <a:gd name="connsiteX4" fmla="*/ 24102 w 250447"/>
                      <a:gd name="connsiteY4" fmla="*/ 450 h 475565"/>
                      <a:gd name="connsiteX0" fmla="*/ 0 w 226345"/>
                      <a:gd name="connsiteY0" fmla="*/ 450 h 475565"/>
                      <a:gd name="connsiteX1" fmla="*/ 226345 w 226345"/>
                      <a:gd name="connsiteY1" fmla="*/ 0 h 475565"/>
                      <a:gd name="connsiteX2" fmla="*/ 113712 w 226345"/>
                      <a:gd name="connsiteY2" fmla="*/ 475565 h 475565"/>
                      <a:gd name="connsiteX3" fmla="*/ 54933 w 226345"/>
                      <a:gd name="connsiteY3" fmla="*/ 468383 h 475565"/>
                      <a:gd name="connsiteX4" fmla="*/ 0 w 226345"/>
                      <a:gd name="connsiteY4" fmla="*/ 450 h 475565"/>
                      <a:gd name="connsiteX0" fmla="*/ 0 w 226345"/>
                      <a:gd name="connsiteY0" fmla="*/ 450 h 475565"/>
                      <a:gd name="connsiteX1" fmla="*/ 226345 w 226345"/>
                      <a:gd name="connsiteY1" fmla="*/ 0 h 475565"/>
                      <a:gd name="connsiteX2" fmla="*/ 113712 w 226345"/>
                      <a:gd name="connsiteY2" fmla="*/ 475565 h 475565"/>
                      <a:gd name="connsiteX3" fmla="*/ 54933 w 226345"/>
                      <a:gd name="connsiteY3" fmla="*/ 468383 h 475565"/>
                      <a:gd name="connsiteX4" fmla="*/ 0 w 226345"/>
                      <a:gd name="connsiteY4" fmla="*/ 450 h 475565"/>
                      <a:gd name="connsiteX0" fmla="*/ 0 w 226345"/>
                      <a:gd name="connsiteY0" fmla="*/ 450 h 475565"/>
                      <a:gd name="connsiteX1" fmla="*/ 226345 w 226345"/>
                      <a:gd name="connsiteY1" fmla="*/ 0 h 475565"/>
                      <a:gd name="connsiteX2" fmla="*/ 113712 w 226345"/>
                      <a:gd name="connsiteY2" fmla="*/ 475565 h 475565"/>
                      <a:gd name="connsiteX3" fmla="*/ 54933 w 226345"/>
                      <a:gd name="connsiteY3" fmla="*/ 468383 h 475565"/>
                      <a:gd name="connsiteX4" fmla="*/ 0 w 226345"/>
                      <a:gd name="connsiteY4" fmla="*/ 450 h 475565"/>
                      <a:gd name="connsiteX0" fmla="*/ 0 w 226345"/>
                      <a:gd name="connsiteY0" fmla="*/ 450 h 475565"/>
                      <a:gd name="connsiteX1" fmla="*/ 226345 w 226345"/>
                      <a:gd name="connsiteY1" fmla="*/ 0 h 475565"/>
                      <a:gd name="connsiteX2" fmla="*/ 113712 w 226345"/>
                      <a:gd name="connsiteY2" fmla="*/ 475565 h 475565"/>
                      <a:gd name="connsiteX3" fmla="*/ 54933 w 226345"/>
                      <a:gd name="connsiteY3" fmla="*/ 468383 h 475565"/>
                      <a:gd name="connsiteX4" fmla="*/ 0 w 226345"/>
                      <a:gd name="connsiteY4" fmla="*/ 450 h 475565"/>
                      <a:gd name="connsiteX0" fmla="*/ 0 w 226345"/>
                      <a:gd name="connsiteY0" fmla="*/ 450 h 473829"/>
                      <a:gd name="connsiteX1" fmla="*/ 226345 w 226345"/>
                      <a:gd name="connsiteY1" fmla="*/ 0 h 473829"/>
                      <a:gd name="connsiteX2" fmla="*/ 96250 w 226345"/>
                      <a:gd name="connsiteY2" fmla="*/ 473829 h 473829"/>
                      <a:gd name="connsiteX3" fmla="*/ 54933 w 226345"/>
                      <a:gd name="connsiteY3" fmla="*/ 468383 h 473829"/>
                      <a:gd name="connsiteX4" fmla="*/ 0 w 226345"/>
                      <a:gd name="connsiteY4" fmla="*/ 450 h 473829"/>
                      <a:gd name="connsiteX0" fmla="*/ 0 w 226345"/>
                      <a:gd name="connsiteY0" fmla="*/ 450 h 473829"/>
                      <a:gd name="connsiteX1" fmla="*/ 226345 w 226345"/>
                      <a:gd name="connsiteY1" fmla="*/ 0 h 473829"/>
                      <a:gd name="connsiteX2" fmla="*/ 96250 w 226345"/>
                      <a:gd name="connsiteY2" fmla="*/ 473829 h 473829"/>
                      <a:gd name="connsiteX3" fmla="*/ 54933 w 226345"/>
                      <a:gd name="connsiteY3" fmla="*/ 468383 h 473829"/>
                      <a:gd name="connsiteX4" fmla="*/ 0 w 226345"/>
                      <a:gd name="connsiteY4" fmla="*/ 450 h 473829"/>
                      <a:gd name="connsiteX0" fmla="*/ 0 w 226345"/>
                      <a:gd name="connsiteY0" fmla="*/ 3449 h 476828"/>
                      <a:gd name="connsiteX1" fmla="*/ 226345 w 226345"/>
                      <a:gd name="connsiteY1" fmla="*/ 2999 h 476828"/>
                      <a:gd name="connsiteX2" fmla="*/ 96250 w 226345"/>
                      <a:gd name="connsiteY2" fmla="*/ 476828 h 476828"/>
                      <a:gd name="connsiteX3" fmla="*/ 54933 w 226345"/>
                      <a:gd name="connsiteY3" fmla="*/ 471382 h 476828"/>
                      <a:gd name="connsiteX4" fmla="*/ 0 w 226345"/>
                      <a:gd name="connsiteY4" fmla="*/ 3449 h 476828"/>
                      <a:gd name="connsiteX0" fmla="*/ 0 w 226345"/>
                      <a:gd name="connsiteY0" fmla="*/ 6562 h 479941"/>
                      <a:gd name="connsiteX1" fmla="*/ 226345 w 226345"/>
                      <a:gd name="connsiteY1" fmla="*/ 6112 h 479941"/>
                      <a:gd name="connsiteX2" fmla="*/ 96250 w 226345"/>
                      <a:gd name="connsiteY2" fmla="*/ 479941 h 479941"/>
                      <a:gd name="connsiteX3" fmla="*/ 54933 w 226345"/>
                      <a:gd name="connsiteY3" fmla="*/ 474495 h 479941"/>
                      <a:gd name="connsiteX4" fmla="*/ 0 w 226345"/>
                      <a:gd name="connsiteY4" fmla="*/ 6562 h 479941"/>
                      <a:gd name="connsiteX0" fmla="*/ 3656 w 230001"/>
                      <a:gd name="connsiteY0" fmla="*/ 6562 h 479941"/>
                      <a:gd name="connsiteX1" fmla="*/ 230001 w 230001"/>
                      <a:gd name="connsiteY1" fmla="*/ 6112 h 479941"/>
                      <a:gd name="connsiteX2" fmla="*/ 99906 w 230001"/>
                      <a:gd name="connsiteY2" fmla="*/ 479941 h 479941"/>
                      <a:gd name="connsiteX3" fmla="*/ 3656 w 230001"/>
                      <a:gd name="connsiteY3" fmla="*/ 6562 h 479941"/>
                      <a:gd name="connsiteX0" fmla="*/ 5168 w 231513"/>
                      <a:gd name="connsiteY0" fmla="*/ 6562 h 507470"/>
                      <a:gd name="connsiteX1" fmla="*/ 231513 w 231513"/>
                      <a:gd name="connsiteY1" fmla="*/ 6112 h 507470"/>
                      <a:gd name="connsiteX2" fmla="*/ 72388 w 231513"/>
                      <a:gd name="connsiteY2" fmla="*/ 507470 h 507470"/>
                      <a:gd name="connsiteX3" fmla="*/ 5168 w 231513"/>
                      <a:gd name="connsiteY3" fmla="*/ 6562 h 507470"/>
                      <a:gd name="connsiteX0" fmla="*/ 5168 w 231513"/>
                      <a:gd name="connsiteY0" fmla="*/ 6562 h 507470"/>
                      <a:gd name="connsiteX1" fmla="*/ 231513 w 231513"/>
                      <a:gd name="connsiteY1" fmla="*/ 6112 h 507470"/>
                      <a:gd name="connsiteX2" fmla="*/ 72388 w 231513"/>
                      <a:gd name="connsiteY2" fmla="*/ 507470 h 507470"/>
                      <a:gd name="connsiteX3" fmla="*/ 5168 w 231513"/>
                      <a:gd name="connsiteY3" fmla="*/ 6562 h 507470"/>
                      <a:gd name="connsiteX0" fmla="*/ 5168 w 231513"/>
                      <a:gd name="connsiteY0" fmla="*/ 6562 h 507470"/>
                      <a:gd name="connsiteX1" fmla="*/ 231513 w 231513"/>
                      <a:gd name="connsiteY1" fmla="*/ 6112 h 507470"/>
                      <a:gd name="connsiteX2" fmla="*/ 72388 w 231513"/>
                      <a:gd name="connsiteY2" fmla="*/ 507470 h 507470"/>
                      <a:gd name="connsiteX3" fmla="*/ 5168 w 231513"/>
                      <a:gd name="connsiteY3" fmla="*/ 6562 h 507470"/>
                      <a:gd name="connsiteX0" fmla="*/ 3937 w 230282"/>
                      <a:gd name="connsiteY0" fmla="*/ 6562 h 507470"/>
                      <a:gd name="connsiteX1" fmla="*/ 230282 w 230282"/>
                      <a:gd name="connsiteY1" fmla="*/ 6112 h 507470"/>
                      <a:gd name="connsiteX2" fmla="*/ 71157 w 230282"/>
                      <a:gd name="connsiteY2" fmla="*/ 507470 h 507470"/>
                      <a:gd name="connsiteX3" fmla="*/ 3937 w 230282"/>
                      <a:gd name="connsiteY3" fmla="*/ 6562 h 507470"/>
                      <a:gd name="connsiteX0" fmla="*/ 0 w 226345"/>
                      <a:gd name="connsiteY0" fmla="*/ 6562 h 507470"/>
                      <a:gd name="connsiteX1" fmla="*/ 226345 w 226345"/>
                      <a:gd name="connsiteY1" fmla="*/ 6112 h 507470"/>
                      <a:gd name="connsiteX2" fmla="*/ 67220 w 226345"/>
                      <a:gd name="connsiteY2" fmla="*/ 507470 h 507470"/>
                      <a:gd name="connsiteX3" fmla="*/ 0 w 226345"/>
                      <a:gd name="connsiteY3" fmla="*/ 6562 h 507470"/>
                      <a:gd name="connsiteX0" fmla="*/ 0 w 226345"/>
                      <a:gd name="connsiteY0" fmla="*/ 6562 h 507470"/>
                      <a:gd name="connsiteX1" fmla="*/ 226345 w 226345"/>
                      <a:gd name="connsiteY1" fmla="*/ 6112 h 507470"/>
                      <a:gd name="connsiteX2" fmla="*/ 67220 w 226345"/>
                      <a:gd name="connsiteY2" fmla="*/ 507470 h 507470"/>
                      <a:gd name="connsiteX3" fmla="*/ 0 w 226345"/>
                      <a:gd name="connsiteY3" fmla="*/ 6562 h 507470"/>
                    </a:gdLst>
                    <a:ahLst/>
                    <a:cxnLst>
                      <a:cxn ang="0">
                        <a:pos x="connsiteX0" y="connsiteY0"/>
                      </a:cxn>
                      <a:cxn ang="0">
                        <a:pos x="connsiteX1" y="connsiteY1"/>
                      </a:cxn>
                      <a:cxn ang="0">
                        <a:pos x="connsiteX2" y="connsiteY2"/>
                      </a:cxn>
                      <a:cxn ang="0">
                        <a:pos x="connsiteX3" y="connsiteY3"/>
                      </a:cxn>
                    </a:cxnLst>
                    <a:rect l="l" t="t" r="r" b="b"/>
                    <a:pathLst>
                      <a:path w="226345" h="507470">
                        <a:moveTo>
                          <a:pt x="0" y="6562"/>
                        </a:moveTo>
                        <a:cubicBezTo>
                          <a:pt x="79309" y="-3343"/>
                          <a:pt x="147648" y="-819"/>
                          <a:pt x="226345" y="6112"/>
                        </a:cubicBezTo>
                        <a:cubicBezTo>
                          <a:pt x="162191" y="92713"/>
                          <a:pt x="89592" y="460201"/>
                          <a:pt x="67220" y="507470"/>
                        </a:cubicBezTo>
                        <a:cubicBezTo>
                          <a:pt x="52636" y="449015"/>
                          <a:pt x="35506" y="119384"/>
                          <a:pt x="0" y="6562"/>
                        </a:cubicBezTo>
                        <a:close/>
                      </a:path>
                    </a:pathLst>
                  </a:custGeom>
                  <a:solidFill>
                    <a:srgbClr val="D9D9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1" name="Rectangle 49"/>
                  <p:cNvSpPr/>
                  <p:nvPr/>
                </p:nvSpPr>
                <p:spPr>
                  <a:xfrm rot="452036">
                    <a:off x="5529730" y="3121045"/>
                    <a:ext cx="214515" cy="174427"/>
                  </a:xfrm>
                  <a:custGeom>
                    <a:avLst/>
                    <a:gdLst>
                      <a:gd name="connsiteX0" fmla="*/ 0 w 204787"/>
                      <a:gd name="connsiteY0" fmla="*/ 0 h 152400"/>
                      <a:gd name="connsiteX1" fmla="*/ 204787 w 204787"/>
                      <a:gd name="connsiteY1" fmla="*/ 0 h 152400"/>
                      <a:gd name="connsiteX2" fmla="*/ 204787 w 204787"/>
                      <a:gd name="connsiteY2" fmla="*/ 152400 h 152400"/>
                      <a:gd name="connsiteX3" fmla="*/ 0 w 204787"/>
                      <a:gd name="connsiteY3" fmla="*/ 152400 h 152400"/>
                      <a:gd name="connsiteX4" fmla="*/ 0 w 204787"/>
                      <a:gd name="connsiteY4" fmla="*/ 0 h 152400"/>
                      <a:gd name="connsiteX0" fmla="*/ 0 w 214542"/>
                      <a:gd name="connsiteY0" fmla="*/ 0 h 153511"/>
                      <a:gd name="connsiteX1" fmla="*/ 214542 w 214542"/>
                      <a:gd name="connsiteY1" fmla="*/ 1111 h 153511"/>
                      <a:gd name="connsiteX2" fmla="*/ 214542 w 214542"/>
                      <a:gd name="connsiteY2" fmla="*/ 153511 h 153511"/>
                      <a:gd name="connsiteX3" fmla="*/ 9755 w 214542"/>
                      <a:gd name="connsiteY3" fmla="*/ 153511 h 153511"/>
                      <a:gd name="connsiteX4" fmla="*/ 0 w 214542"/>
                      <a:gd name="connsiteY4" fmla="*/ 0 h 153511"/>
                      <a:gd name="connsiteX0" fmla="*/ 0 w 221625"/>
                      <a:gd name="connsiteY0" fmla="*/ 0 h 153511"/>
                      <a:gd name="connsiteX1" fmla="*/ 221625 w 221625"/>
                      <a:gd name="connsiteY1" fmla="*/ 175 h 153511"/>
                      <a:gd name="connsiteX2" fmla="*/ 214542 w 221625"/>
                      <a:gd name="connsiteY2" fmla="*/ 153511 h 153511"/>
                      <a:gd name="connsiteX3" fmla="*/ 9755 w 221625"/>
                      <a:gd name="connsiteY3" fmla="*/ 153511 h 153511"/>
                      <a:gd name="connsiteX4" fmla="*/ 0 w 221625"/>
                      <a:gd name="connsiteY4" fmla="*/ 0 h 153511"/>
                      <a:gd name="connsiteX0" fmla="*/ 0 w 221625"/>
                      <a:gd name="connsiteY0" fmla="*/ 0 h 153511"/>
                      <a:gd name="connsiteX1" fmla="*/ 221625 w 221625"/>
                      <a:gd name="connsiteY1" fmla="*/ 175 h 153511"/>
                      <a:gd name="connsiteX2" fmla="*/ 204787 w 221625"/>
                      <a:gd name="connsiteY2" fmla="*/ 152400 h 153511"/>
                      <a:gd name="connsiteX3" fmla="*/ 9755 w 221625"/>
                      <a:gd name="connsiteY3" fmla="*/ 153511 h 153511"/>
                      <a:gd name="connsiteX4" fmla="*/ 0 w 221625"/>
                      <a:gd name="connsiteY4" fmla="*/ 0 h 153511"/>
                      <a:gd name="connsiteX0" fmla="*/ 0 w 221625"/>
                      <a:gd name="connsiteY0" fmla="*/ 0 h 154935"/>
                      <a:gd name="connsiteX1" fmla="*/ 221625 w 221625"/>
                      <a:gd name="connsiteY1" fmla="*/ 175 h 154935"/>
                      <a:gd name="connsiteX2" fmla="*/ 204787 w 221625"/>
                      <a:gd name="connsiteY2" fmla="*/ 152400 h 154935"/>
                      <a:gd name="connsiteX3" fmla="*/ 17149 w 221625"/>
                      <a:gd name="connsiteY3" fmla="*/ 154935 h 154935"/>
                      <a:gd name="connsiteX4" fmla="*/ 0 w 221625"/>
                      <a:gd name="connsiteY4" fmla="*/ 0 h 154935"/>
                      <a:gd name="connsiteX0" fmla="*/ 0 w 223985"/>
                      <a:gd name="connsiteY0" fmla="*/ 137 h 154760"/>
                      <a:gd name="connsiteX1" fmla="*/ 223985 w 223985"/>
                      <a:gd name="connsiteY1" fmla="*/ 0 h 154760"/>
                      <a:gd name="connsiteX2" fmla="*/ 207147 w 223985"/>
                      <a:gd name="connsiteY2" fmla="*/ 152225 h 154760"/>
                      <a:gd name="connsiteX3" fmla="*/ 19509 w 223985"/>
                      <a:gd name="connsiteY3" fmla="*/ 154760 h 154760"/>
                      <a:gd name="connsiteX4" fmla="*/ 0 w 223985"/>
                      <a:gd name="connsiteY4" fmla="*/ 137 h 154760"/>
                      <a:gd name="connsiteX0" fmla="*/ 0 w 223985"/>
                      <a:gd name="connsiteY0" fmla="*/ 137 h 154760"/>
                      <a:gd name="connsiteX1" fmla="*/ 223985 w 223985"/>
                      <a:gd name="connsiteY1" fmla="*/ 0 h 154760"/>
                      <a:gd name="connsiteX2" fmla="*/ 207147 w 223985"/>
                      <a:gd name="connsiteY2" fmla="*/ 152225 h 154760"/>
                      <a:gd name="connsiteX3" fmla="*/ 19509 w 223985"/>
                      <a:gd name="connsiteY3" fmla="*/ 154760 h 154760"/>
                      <a:gd name="connsiteX4" fmla="*/ 0 w 223985"/>
                      <a:gd name="connsiteY4" fmla="*/ 137 h 154760"/>
                      <a:gd name="connsiteX0" fmla="*/ 0 w 223985"/>
                      <a:gd name="connsiteY0" fmla="*/ 137 h 154760"/>
                      <a:gd name="connsiteX1" fmla="*/ 223985 w 223985"/>
                      <a:gd name="connsiteY1" fmla="*/ 0 h 154760"/>
                      <a:gd name="connsiteX2" fmla="*/ 207147 w 223985"/>
                      <a:gd name="connsiteY2" fmla="*/ 152225 h 154760"/>
                      <a:gd name="connsiteX3" fmla="*/ 19509 w 223985"/>
                      <a:gd name="connsiteY3" fmla="*/ 154760 h 154760"/>
                      <a:gd name="connsiteX4" fmla="*/ 0 w 223985"/>
                      <a:gd name="connsiteY4" fmla="*/ 137 h 154760"/>
                      <a:gd name="connsiteX0" fmla="*/ 0 w 223985"/>
                      <a:gd name="connsiteY0" fmla="*/ 137 h 154760"/>
                      <a:gd name="connsiteX1" fmla="*/ 223985 w 223985"/>
                      <a:gd name="connsiteY1" fmla="*/ 0 h 154760"/>
                      <a:gd name="connsiteX2" fmla="*/ 207147 w 223985"/>
                      <a:gd name="connsiteY2" fmla="*/ 152225 h 154760"/>
                      <a:gd name="connsiteX3" fmla="*/ 19509 w 223985"/>
                      <a:gd name="connsiteY3" fmla="*/ 154760 h 154760"/>
                      <a:gd name="connsiteX4" fmla="*/ 0 w 223985"/>
                      <a:gd name="connsiteY4" fmla="*/ 137 h 154760"/>
                      <a:gd name="connsiteX0" fmla="*/ 0 w 226345"/>
                      <a:gd name="connsiteY0" fmla="*/ 450 h 155073"/>
                      <a:gd name="connsiteX1" fmla="*/ 226345 w 226345"/>
                      <a:gd name="connsiteY1" fmla="*/ 0 h 155073"/>
                      <a:gd name="connsiteX2" fmla="*/ 207147 w 226345"/>
                      <a:gd name="connsiteY2" fmla="*/ 152538 h 155073"/>
                      <a:gd name="connsiteX3" fmla="*/ 19509 w 226345"/>
                      <a:gd name="connsiteY3" fmla="*/ 155073 h 155073"/>
                      <a:gd name="connsiteX4" fmla="*/ 0 w 226345"/>
                      <a:gd name="connsiteY4" fmla="*/ 450 h 155073"/>
                      <a:gd name="connsiteX0" fmla="*/ 0 w 226345"/>
                      <a:gd name="connsiteY0" fmla="*/ 450 h 155073"/>
                      <a:gd name="connsiteX1" fmla="*/ 226345 w 226345"/>
                      <a:gd name="connsiteY1" fmla="*/ 0 h 155073"/>
                      <a:gd name="connsiteX2" fmla="*/ 207147 w 226345"/>
                      <a:gd name="connsiteY2" fmla="*/ 152538 h 155073"/>
                      <a:gd name="connsiteX3" fmla="*/ 19509 w 226345"/>
                      <a:gd name="connsiteY3" fmla="*/ 155073 h 155073"/>
                      <a:gd name="connsiteX4" fmla="*/ 0 w 226345"/>
                      <a:gd name="connsiteY4" fmla="*/ 450 h 155073"/>
                      <a:gd name="connsiteX0" fmla="*/ 0 w 226345"/>
                      <a:gd name="connsiteY0" fmla="*/ 450 h 155073"/>
                      <a:gd name="connsiteX1" fmla="*/ 226345 w 226345"/>
                      <a:gd name="connsiteY1" fmla="*/ 0 h 155073"/>
                      <a:gd name="connsiteX2" fmla="*/ 207147 w 226345"/>
                      <a:gd name="connsiteY2" fmla="*/ 152538 h 155073"/>
                      <a:gd name="connsiteX3" fmla="*/ 19509 w 226345"/>
                      <a:gd name="connsiteY3" fmla="*/ 155073 h 155073"/>
                      <a:gd name="connsiteX4" fmla="*/ 0 w 226345"/>
                      <a:gd name="connsiteY4" fmla="*/ 450 h 155073"/>
                      <a:gd name="connsiteX0" fmla="*/ 0 w 226345"/>
                      <a:gd name="connsiteY0" fmla="*/ 450 h 155073"/>
                      <a:gd name="connsiteX1" fmla="*/ 226345 w 226345"/>
                      <a:gd name="connsiteY1" fmla="*/ 0 h 155073"/>
                      <a:gd name="connsiteX2" fmla="*/ 207147 w 226345"/>
                      <a:gd name="connsiteY2" fmla="*/ 152538 h 155073"/>
                      <a:gd name="connsiteX3" fmla="*/ 19509 w 226345"/>
                      <a:gd name="connsiteY3" fmla="*/ 155073 h 155073"/>
                      <a:gd name="connsiteX4" fmla="*/ 0 w 226345"/>
                      <a:gd name="connsiteY4" fmla="*/ 450 h 155073"/>
                      <a:gd name="connsiteX0" fmla="*/ 25307 w 206836"/>
                      <a:gd name="connsiteY0" fmla="*/ 30552 h 155073"/>
                      <a:gd name="connsiteX1" fmla="*/ 206836 w 206836"/>
                      <a:gd name="connsiteY1" fmla="*/ 0 h 155073"/>
                      <a:gd name="connsiteX2" fmla="*/ 187638 w 206836"/>
                      <a:gd name="connsiteY2" fmla="*/ 152538 h 155073"/>
                      <a:gd name="connsiteX3" fmla="*/ 0 w 206836"/>
                      <a:gd name="connsiteY3" fmla="*/ 155073 h 155073"/>
                      <a:gd name="connsiteX4" fmla="*/ 25307 w 206836"/>
                      <a:gd name="connsiteY4" fmla="*/ 30552 h 155073"/>
                      <a:gd name="connsiteX0" fmla="*/ 5836 w 206836"/>
                      <a:gd name="connsiteY0" fmla="*/ 0 h 162779"/>
                      <a:gd name="connsiteX1" fmla="*/ 206836 w 206836"/>
                      <a:gd name="connsiteY1" fmla="*/ 7706 h 162779"/>
                      <a:gd name="connsiteX2" fmla="*/ 187638 w 206836"/>
                      <a:gd name="connsiteY2" fmla="*/ 160244 h 162779"/>
                      <a:gd name="connsiteX3" fmla="*/ 0 w 206836"/>
                      <a:gd name="connsiteY3" fmla="*/ 162779 h 162779"/>
                      <a:gd name="connsiteX4" fmla="*/ 5836 w 206836"/>
                      <a:gd name="connsiteY4" fmla="*/ 0 h 162779"/>
                      <a:gd name="connsiteX0" fmla="*/ 0 w 201000"/>
                      <a:gd name="connsiteY0" fmla="*/ 0 h 160244"/>
                      <a:gd name="connsiteX1" fmla="*/ 201000 w 201000"/>
                      <a:gd name="connsiteY1" fmla="*/ 7706 h 160244"/>
                      <a:gd name="connsiteX2" fmla="*/ 181802 w 201000"/>
                      <a:gd name="connsiteY2" fmla="*/ 160244 h 160244"/>
                      <a:gd name="connsiteX3" fmla="*/ 2983 w 201000"/>
                      <a:gd name="connsiteY3" fmla="*/ 156809 h 160244"/>
                      <a:gd name="connsiteX4" fmla="*/ 0 w 201000"/>
                      <a:gd name="connsiteY4" fmla="*/ 0 h 160244"/>
                      <a:gd name="connsiteX0" fmla="*/ 5126 w 206126"/>
                      <a:gd name="connsiteY0" fmla="*/ 0 h 160244"/>
                      <a:gd name="connsiteX1" fmla="*/ 206126 w 206126"/>
                      <a:gd name="connsiteY1" fmla="*/ 7706 h 160244"/>
                      <a:gd name="connsiteX2" fmla="*/ 186928 w 206126"/>
                      <a:gd name="connsiteY2" fmla="*/ 160244 h 160244"/>
                      <a:gd name="connsiteX3" fmla="*/ 8109 w 206126"/>
                      <a:gd name="connsiteY3" fmla="*/ 156809 h 160244"/>
                      <a:gd name="connsiteX4" fmla="*/ 5126 w 206126"/>
                      <a:gd name="connsiteY4" fmla="*/ 0 h 160244"/>
                      <a:gd name="connsiteX0" fmla="*/ 10042 w 211042"/>
                      <a:gd name="connsiteY0" fmla="*/ 0 h 160244"/>
                      <a:gd name="connsiteX1" fmla="*/ 211042 w 211042"/>
                      <a:gd name="connsiteY1" fmla="*/ 7706 h 160244"/>
                      <a:gd name="connsiteX2" fmla="*/ 191844 w 211042"/>
                      <a:gd name="connsiteY2" fmla="*/ 160244 h 160244"/>
                      <a:gd name="connsiteX3" fmla="*/ 13025 w 211042"/>
                      <a:gd name="connsiteY3" fmla="*/ 156809 h 160244"/>
                      <a:gd name="connsiteX4" fmla="*/ 10042 w 211042"/>
                      <a:gd name="connsiteY4" fmla="*/ 0 h 160244"/>
                      <a:gd name="connsiteX0" fmla="*/ 10042 w 214193"/>
                      <a:gd name="connsiteY0" fmla="*/ 0 h 160244"/>
                      <a:gd name="connsiteX1" fmla="*/ 211042 w 214193"/>
                      <a:gd name="connsiteY1" fmla="*/ 7706 h 160244"/>
                      <a:gd name="connsiteX2" fmla="*/ 191844 w 214193"/>
                      <a:gd name="connsiteY2" fmla="*/ 160244 h 160244"/>
                      <a:gd name="connsiteX3" fmla="*/ 13025 w 214193"/>
                      <a:gd name="connsiteY3" fmla="*/ 156809 h 160244"/>
                      <a:gd name="connsiteX4" fmla="*/ 10042 w 214193"/>
                      <a:gd name="connsiteY4" fmla="*/ 0 h 160244"/>
                      <a:gd name="connsiteX0" fmla="*/ 10042 w 214515"/>
                      <a:gd name="connsiteY0" fmla="*/ 0 h 160244"/>
                      <a:gd name="connsiteX1" fmla="*/ 211042 w 214515"/>
                      <a:gd name="connsiteY1" fmla="*/ 7706 h 160244"/>
                      <a:gd name="connsiteX2" fmla="*/ 191844 w 214515"/>
                      <a:gd name="connsiteY2" fmla="*/ 160244 h 160244"/>
                      <a:gd name="connsiteX3" fmla="*/ 13025 w 214515"/>
                      <a:gd name="connsiteY3" fmla="*/ 156809 h 160244"/>
                      <a:gd name="connsiteX4" fmla="*/ 10042 w 214515"/>
                      <a:gd name="connsiteY4" fmla="*/ 0 h 160244"/>
                      <a:gd name="connsiteX0" fmla="*/ 10042 w 214515"/>
                      <a:gd name="connsiteY0" fmla="*/ 0 h 166539"/>
                      <a:gd name="connsiteX1" fmla="*/ 211042 w 214515"/>
                      <a:gd name="connsiteY1" fmla="*/ 7706 h 166539"/>
                      <a:gd name="connsiteX2" fmla="*/ 191844 w 214515"/>
                      <a:gd name="connsiteY2" fmla="*/ 160244 h 166539"/>
                      <a:gd name="connsiteX3" fmla="*/ 13025 w 214515"/>
                      <a:gd name="connsiteY3" fmla="*/ 156809 h 166539"/>
                      <a:gd name="connsiteX4" fmla="*/ 10042 w 214515"/>
                      <a:gd name="connsiteY4" fmla="*/ 0 h 166539"/>
                      <a:gd name="connsiteX0" fmla="*/ 10042 w 214515"/>
                      <a:gd name="connsiteY0" fmla="*/ 0 h 174427"/>
                      <a:gd name="connsiteX1" fmla="*/ 211042 w 214515"/>
                      <a:gd name="connsiteY1" fmla="*/ 7706 h 174427"/>
                      <a:gd name="connsiteX2" fmla="*/ 191844 w 214515"/>
                      <a:gd name="connsiteY2" fmla="*/ 160244 h 174427"/>
                      <a:gd name="connsiteX3" fmla="*/ 13025 w 214515"/>
                      <a:gd name="connsiteY3" fmla="*/ 156809 h 174427"/>
                      <a:gd name="connsiteX4" fmla="*/ 10042 w 214515"/>
                      <a:gd name="connsiteY4" fmla="*/ 0 h 174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515" h="174427">
                        <a:moveTo>
                          <a:pt x="10042" y="0"/>
                        </a:moveTo>
                        <a:lnTo>
                          <a:pt x="211042" y="7706"/>
                        </a:lnTo>
                        <a:cubicBezTo>
                          <a:pt x="221155" y="68378"/>
                          <a:pt x="207486" y="149009"/>
                          <a:pt x="191844" y="160244"/>
                        </a:cubicBezTo>
                        <a:cubicBezTo>
                          <a:pt x="123244" y="181907"/>
                          <a:pt x="72768" y="177152"/>
                          <a:pt x="13025" y="156809"/>
                        </a:cubicBezTo>
                        <a:cubicBezTo>
                          <a:pt x="-3870" y="111446"/>
                          <a:pt x="-3753" y="49421"/>
                          <a:pt x="10042" y="0"/>
                        </a:cubicBezTo>
                        <a:close/>
                      </a:path>
                    </a:pathLst>
                  </a:custGeom>
                  <a:solidFill>
                    <a:srgbClr val="7F7F7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2" name="Rectangle 50"/>
                  <p:cNvSpPr/>
                  <p:nvPr/>
                </p:nvSpPr>
                <p:spPr>
                  <a:xfrm>
                    <a:off x="5552241" y="2567800"/>
                    <a:ext cx="288132" cy="574452"/>
                  </a:xfrm>
                  <a:custGeom>
                    <a:avLst/>
                    <a:gdLst>
                      <a:gd name="connsiteX0" fmla="*/ 0 w 209550"/>
                      <a:gd name="connsiteY0" fmla="*/ 0 h 519112"/>
                      <a:gd name="connsiteX1" fmla="*/ 209550 w 209550"/>
                      <a:gd name="connsiteY1" fmla="*/ 0 h 519112"/>
                      <a:gd name="connsiteX2" fmla="*/ 209550 w 209550"/>
                      <a:gd name="connsiteY2" fmla="*/ 519112 h 519112"/>
                      <a:gd name="connsiteX3" fmla="*/ 0 w 209550"/>
                      <a:gd name="connsiteY3" fmla="*/ 519112 h 519112"/>
                      <a:gd name="connsiteX4" fmla="*/ 0 w 209550"/>
                      <a:gd name="connsiteY4" fmla="*/ 0 h 519112"/>
                      <a:gd name="connsiteX0" fmla="*/ 0 w 278607"/>
                      <a:gd name="connsiteY0" fmla="*/ 0 h 519112"/>
                      <a:gd name="connsiteX1" fmla="*/ 278607 w 278607"/>
                      <a:gd name="connsiteY1" fmla="*/ 4762 h 519112"/>
                      <a:gd name="connsiteX2" fmla="*/ 209550 w 278607"/>
                      <a:gd name="connsiteY2" fmla="*/ 519112 h 519112"/>
                      <a:gd name="connsiteX3" fmla="*/ 0 w 278607"/>
                      <a:gd name="connsiteY3" fmla="*/ 519112 h 519112"/>
                      <a:gd name="connsiteX4" fmla="*/ 0 w 278607"/>
                      <a:gd name="connsiteY4" fmla="*/ 0 h 519112"/>
                      <a:gd name="connsiteX0" fmla="*/ 69056 w 278607"/>
                      <a:gd name="connsiteY0" fmla="*/ 0 h 545306"/>
                      <a:gd name="connsiteX1" fmla="*/ 278607 w 278607"/>
                      <a:gd name="connsiteY1" fmla="*/ 30956 h 545306"/>
                      <a:gd name="connsiteX2" fmla="*/ 209550 w 278607"/>
                      <a:gd name="connsiteY2" fmla="*/ 545306 h 545306"/>
                      <a:gd name="connsiteX3" fmla="*/ 0 w 278607"/>
                      <a:gd name="connsiteY3" fmla="*/ 545306 h 545306"/>
                      <a:gd name="connsiteX4" fmla="*/ 69056 w 278607"/>
                      <a:gd name="connsiteY4" fmla="*/ 0 h 545306"/>
                      <a:gd name="connsiteX0" fmla="*/ 69056 w 278607"/>
                      <a:gd name="connsiteY0" fmla="*/ 429 h 545735"/>
                      <a:gd name="connsiteX1" fmla="*/ 278607 w 278607"/>
                      <a:gd name="connsiteY1" fmla="*/ 31385 h 545735"/>
                      <a:gd name="connsiteX2" fmla="*/ 209550 w 278607"/>
                      <a:gd name="connsiteY2" fmla="*/ 545735 h 545735"/>
                      <a:gd name="connsiteX3" fmla="*/ 0 w 278607"/>
                      <a:gd name="connsiteY3" fmla="*/ 545735 h 545735"/>
                      <a:gd name="connsiteX4" fmla="*/ 69056 w 278607"/>
                      <a:gd name="connsiteY4" fmla="*/ 429 h 545735"/>
                      <a:gd name="connsiteX0" fmla="*/ 69056 w 278607"/>
                      <a:gd name="connsiteY0" fmla="*/ 514 h 545820"/>
                      <a:gd name="connsiteX1" fmla="*/ 278607 w 278607"/>
                      <a:gd name="connsiteY1" fmla="*/ 31470 h 545820"/>
                      <a:gd name="connsiteX2" fmla="*/ 209550 w 278607"/>
                      <a:gd name="connsiteY2" fmla="*/ 545820 h 545820"/>
                      <a:gd name="connsiteX3" fmla="*/ 0 w 278607"/>
                      <a:gd name="connsiteY3" fmla="*/ 545820 h 545820"/>
                      <a:gd name="connsiteX4" fmla="*/ 69056 w 278607"/>
                      <a:gd name="connsiteY4" fmla="*/ 514 h 545820"/>
                      <a:gd name="connsiteX0" fmla="*/ 69056 w 278607"/>
                      <a:gd name="connsiteY0" fmla="*/ 514 h 574395"/>
                      <a:gd name="connsiteX1" fmla="*/ 278607 w 278607"/>
                      <a:gd name="connsiteY1" fmla="*/ 31470 h 574395"/>
                      <a:gd name="connsiteX2" fmla="*/ 195262 w 278607"/>
                      <a:gd name="connsiteY2" fmla="*/ 574395 h 574395"/>
                      <a:gd name="connsiteX3" fmla="*/ 0 w 278607"/>
                      <a:gd name="connsiteY3" fmla="*/ 545820 h 574395"/>
                      <a:gd name="connsiteX4" fmla="*/ 69056 w 278607"/>
                      <a:gd name="connsiteY4" fmla="*/ 514 h 574395"/>
                      <a:gd name="connsiteX0" fmla="*/ 69056 w 288132"/>
                      <a:gd name="connsiteY0" fmla="*/ 571 h 574452"/>
                      <a:gd name="connsiteX1" fmla="*/ 288132 w 288132"/>
                      <a:gd name="connsiteY1" fmla="*/ 29146 h 574452"/>
                      <a:gd name="connsiteX2" fmla="*/ 195262 w 288132"/>
                      <a:gd name="connsiteY2" fmla="*/ 574452 h 574452"/>
                      <a:gd name="connsiteX3" fmla="*/ 0 w 288132"/>
                      <a:gd name="connsiteY3" fmla="*/ 545877 h 574452"/>
                      <a:gd name="connsiteX4" fmla="*/ 69056 w 288132"/>
                      <a:gd name="connsiteY4" fmla="*/ 571 h 574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32" h="574452">
                        <a:moveTo>
                          <a:pt x="69056" y="571"/>
                        </a:moveTo>
                        <a:cubicBezTo>
                          <a:pt x="143669" y="-3398"/>
                          <a:pt x="237332" y="14064"/>
                          <a:pt x="288132" y="29146"/>
                        </a:cubicBezTo>
                        <a:lnTo>
                          <a:pt x="195262" y="574452"/>
                        </a:lnTo>
                        <a:lnTo>
                          <a:pt x="0" y="545877"/>
                        </a:lnTo>
                        <a:lnTo>
                          <a:pt x="69056" y="571"/>
                        </a:lnTo>
                        <a:close/>
                      </a:path>
                    </a:pathLst>
                  </a:cu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3" name="Rectangle 53"/>
                  <p:cNvSpPr/>
                  <p:nvPr/>
                </p:nvSpPr>
                <p:spPr>
                  <a:xfrm>
                    <a:off x="5884068" y="595312"/>
                    <a:ext cx="267176" cy="1078705"/>
                  </a:xfrm>
                  <a:custGeom>
                    <a:avLst/>
                    <a:gdLst>
                      <a:gd name="connsiteX0" fmla="*/ 0 w 166688"/>
                      <a:gd name="connsiteY0" fmla="*/ 0 h 797718"/>
                      <a:gd name="connsiteX1" fmla="*/ 166688 w 166688"/>
                      <a:gd name="connsiteY1" fmla="*/ 0 h 797718"/>
                      <a:gd name="connsiteX2" fmla="*/ 166688 w 166688"/>
                      <a:gd name="connsiteY2" fmla="*/ 797718 h 797718"/>
                      <a:gd name="connsiteX3" fmla="*/ 0 w 166688"/>
                      <a:gd name="connsiteY3" fmla="*/ 797718 h 797718"/>
                      <a:gd name="connsiteX4" fmla="*/ 0 w 166688"/>
                      <a:gd name="connsiteY4" fmla="*/ 0 h 797718"/>
                      <a:gd name="connsiteX0" fmla="*/ 0 w 166688"/>
                      <a:gd name="connsiteY0" fmla="*/ 154781 h 952499"/>
                      <a:gd name="connsiteX1" fmla="*/ 102394 w 166688"/>
                      <a:gd name="connsiteY1" fmla="*/ 0 h 952499"/>
                      <a:gd name="connsiteX2" fmla="*/ 166688 w 166688"/>
                      <a:gd name="connsiteY2" fmla="*/ 952499 h 952499"/>
                      <a:gd name="connsiteX3" fmla="*/ 0 w 166688"/>
                      <a:gd name="connsiteY3" fmla="*/ 952499 h 952499"/>
                      <a:gd name="connsiteX4" fmla="*/ 0 w 166688"/>
                      <a:gd name="connsiteY4" fmla="*/ 154781 h 952499"/>
                      <a:gd name="connsiteX0" fmla="*/ 0 w 166688"/>
                      <a:gd name="connsiteY0" fmla="*/ 154781 h 952499"/>
                      <a:gd name="connsiteX1" fmla="*/ 102394 w 166688"/>
                      <a:gd name="connsiteY1" fmla="*/ 0 h 952499"/>
                      <a:gd name="connsiteX2" fmla="*/ 119063 w 166688"/>
                      <a:gd name="connsiteY2" fmla="*/ 252413 h 952499"/>
                      <a:gd name="connsiteX3" fmla="*/ 166688 w 166688"/>
                      <a:gd name="connsiteY3" fmla="*/ 952499 h 952499"/>
                      <a:gd name="connsiteX4" fmla="*/ 0 w 166688"/>
                      <a:gd name="connsiteY4" fmla="*/ 952499 h 952499"/>
                      <a:gd name="connsiteX5" fmla="*/ 0 w 166688"/>
                      <a:gd name="connsiteY5" fmla="*/ 154781 h 952499"/>
                      <a:gd name="connsiteX0" fmla="*/ 0 w 166688"/>
                      <a:gd name="connsiteY0" fmla="*/ 154781 h 952499"/>
                      <a:gd name="connsiteX1" fmla="*/ 102394 w 166688"/>
                      <a:gd name="connsiteY1" fmla="*/ 0 h 952499"/>
                      <a:gd name="connsiteX2" fmla="*/ 142875 w 166688"/>
                      <a:gd name="connsiteY2" fmla="*/ 250031 h 952499"/>
                      <a:gd name="connsiteX3" fmla="*/ 166688 w 166688"/>
                      <a:gd name="connsiteY3" fmla="*/ 952499 h 952499"/>
                      <a:gd name="connsiteX4" fmla="*/ 0 w 166688"/>
                      <a:gd name="connsiteY4" fmla="*/ 952499 h 952499"/>
                      <a:gd name="connsiteX5" fmla="*/ 0 w 166688"/>
                      <a:gd name="connsiteY5" fmla="*/ 154781 h 952499"/>
                      <a:gd name="connsiteX0" fmla="*/ 121444 w 288132"/>
                      <a:gd name="connsiteY0" fmla="*/ 154781 h 1078705"/>
                      <a:gd name="connsiteX1" fmla="*/ 223838 w 288132"/>
                      <a:gd name="connsiteY1" fmla="*/ 0 h 1078705"/>
                      <a:gd name="connsiteX2" fmla="*/ 264319 w 288132"/>
                      <a:gd name="connsiteY2" fmla="*/ 250031 h 1078705"/>
                      <a:gd name="connsiteX3" fmla="*/ 288132 w 288132"/>
                      <a:gd name="connsiteY3" fmla="*/ 952499 h 1078705"/>
                      <a:gd name="connsiteX4" fmla="*/ 0 w 288132"/>
                      <a:gd name="connsiteY4" fmla="*/ 1078705 h 1078705"/>
                      <a:gd name="connsiteX5" fmla="*/ 121444 w 288132"/>
                      <a:gd name="connsiteY5" fmla="*/ 154781 h 1078705"/>
                      <a:gd name="connsiteX0" fmla="*/ 121444 w 288132"/>
                      <a:gd name="connsiteY0" fmla="*/ 154781 h 1078705"/>
                      <a:gd name="connsiteX1" fmla="*/ 223838 w 288132"/>
                      <a:gd name="connsiteY1" fmla="*/ 0 h 1078705"/>
                      <a:gd name="connsiteX2" fmla="*/ 264319 w 288132"/>
                      <a:gd name="connsiteY2" fmla="*/ 250031 h 1078705"/>
                      <a:gd name="connsiteX3" fmla="*/ 288132 w 288132"/>
                      <a:gd name="connsiteY3" fmla="*/ 952499 h 1078705"/>
                      <a:gd name="connsiteX4" fmla="*/ 0 w 288132"/>
                      <a:gd name="connsiteY4" fmla="*/ 1078705 h 1078705"/>
                      <a:gd name="connsiteX5" fmla="*/ 121444 w 288132"/>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61938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61938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61938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614"/>
                      <a:gd name="connsiteY0" fmla="*/ 154781 h 1078705"/>
                      <a:gd name="connsiteX1" fmla="*/ 223838 w 264614"/>
                      <a:gd name="connsiteY1" fmla="*/ 0 h 1078705"/>
                      <a:gd name="connsiteX2" fmla="*/ 264319 w 264614"/>
                      <a:gd name="connsiteY2" fmla="*/ 261938 h 1078705"/>
                      <a:gd name="connsiteX3" fmla="*/ 40482 w 264614"/>
                      <a:gd name="connsiteY3" fmla="*/ 969168 h 1078705"/>
                      <a:gd name="connsiteX4" fmla="*/ 0 w 264614"/>
                      <a:gd name="connsiteY4" fmla="*/ 1078705 h 1078705"/>
                      <a:gd name="connsiteX5" fmla="*/ 121444 w 264614"/>
                      <a:gd name="connsiteY5" fmla="*/ 154781 h 1078705"/>
                      <a:gd name="connsiteX0" fmla="*/ 121444 w 264614"/>
                      <a:gd name="connsiteY0" fmla="*/ 154781 h 1078705"/>
                      <a:gd name="connsiteX1" fmla="*/ 223838 w 264614"/>
                      <a:gd name="connsiteY1" fmla="*/ 0 h 1078705"/>
                      <a:gd name="connsiteX2" fmla="*/ 264319 w 264614"/>
                      <a:gd name="connsiteY2" fmla="*/ 261938 h 1078705"/>
                      <a:gd name="connsiteX3" fmla="*/ 40482 w 264614"/>
                      <a:gd name="connsiteY3" fmla="*/ 969168 h 1078705"/>
                      <a:gd name="connsiteX4" fmla="*/ 0 w 264614"/>
                      <a:gd name="connsiteY4" fmla="*/ 1078705 h 1078705"/>
                      <a:gd name="connsiteX5" fmla="*/ 121444 w 264614"/>
                      <a:gd name="connsiteY5" fmla="*/ 154781 h 1078705"/>
                      <a:gd name="connsiteX0" fmla="*/ 121444 w 264614"/>
                      <a:gd name="connsiteY0" fmla="*/ 154781 h 1078705"/>
                      <a:gd name="connsiteX1" fmla="*/ 223838 w 264614"/>
                      <a:gd name="connsiteY1" fmla="*/ 0 h 1078705"/>
                      <a:gd name="connsiteX2" fmla="*/ 264319 w 264614"/>
                      <a:gd name="connsiteY2" fmla="*/ 261938 h 1078705"/>
                      <a:gd name="connsiteX3" fmla="*/ 40482 w 264614"/>
                      <a:gd name="connsiteY3" fmla="*/ 969168 h 1078705"/>
                      <a:gd name="connsiteX4" fmla="*/ 0 w 264614"/>
                      <a:gd name="connsiteY4" fmla="*/ 1078705 h 1078705"/>
                      <a:gd name="connsiteX5" fmla="*/ 121444 w 264614"/>
                      <a:gd name="connsiteY5" fmla="*/ 154781 h 1078705"/>
                      <a:gd name="connsiteX0" fmla="*/ 121444 w 267176"/>
                      <a:gd name="connsiteY0" fmla="*/ 154781 h 1078705"/>
                      <a:gd name="connsiteX1" fmla="*/ 223838 w 267176"/>
                      <a:gd name="connsiteY1" fmla="*/ 0 h 1078705"/>
                      <a:gd name="connsiteX2" fmla="*/ 264319 w 267176"/>
                      <a:gd name="connsiteY2" fmla="*/ 261938 h 1078705"/>
                      <a:gd name="connsiteX3" fmla="*/ 40482 w 267176"/>
                      <a:gd name="connsiteY3" fmla="*/ 969168 h 1078705"/>
                      <a:gd name="connsiteX4" fmla="*/ 0 w 267176"/>
                      <a:gd name="connsiteY4" fmla="*/ 1078705 h 1078705"/>
                      <a:gd name="connsiteX5" fmla="*/ 121444 w 267176"/>
                      <a:gd name="connsiteY5" fmla="*/ 154781 h 1078705"/>
                      <a:gd name="connsiteX0" fmla="*/ 121444 w 267176"/>
                      <a:gd name="connsiteY0" fmla="*/ 154781 h 1078705"/>
                      <a:gd name="connsiteX1" fmla="*/ 223838 w 267176"/>
                      <a:gd name="connsiteY1" fmla="*/ 0 h 1078705"/>
                      <a:gd name="connsiteX2" fmla="*/ 264319 w 267176"/>
                      <a:gd name="connsiteY2" fmla="*/ 261938 h 1078705"/>
                      <a:gd name="connsiteX3" fmla="*/ 40482 w 267176"/>
                      <a:gd name="connsiteY3" fmla="*/ 969168 h 1078705"/>
                      <a:gd name="connsiteX4" fmla="*/ 0 w 267176"/>
                      <a:gd name="connsiteY4" fmla="*/ 1078705 h 1078705"/>
                      <a:gd name="connsiteX5" fmla="*/ 121444 w 267176"/>
                      <a:gd name="connsiteY5" fmla="*/ 154781 h 1078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76" h="1078705">
                        <a:moveTo>
                          <a:pt x="121444" y="154781"/>
                        </a:moveTo>
                        <a:cubicBezTo>
                          <a:pt x="138906" y="110331"/>
                          <a:pt x="196850" y="11113"/>
                          <a:pt x="223838" y="0"/>
                        </a:cubicBezTo>
                        <a:cubicBezTo>
                          <a:pt x="244475" y="19050"/>
                          <a:pt x="277018" y="228600"/>
                          <a:pt x="264319" y="261938"/>
                        </a:cubicBezTo>
                        <a:cubicBezTo>
                          <a:pt x="254001" y="327819"/>
                          <a:pt x="119856" y="729456"/>
                          <a:pt x="40482" y="969168"/>
                        </a:cubicBezTo>
                        <a:lnTo>
                          <a:pt x="0" y="1078705"/>
                        </a:lnTo>
                        <a:cubicBezTo>
                          <a:pt x="9525" y="782636"/>
                          <a:pt x="80963" y="462756"/>
                          <a:pt x="121444" y="154781"/>
                        </a:cubicBezTo>
                        <a:close/>
                      </a:path>
                    </a:pathLst>
                  </a:custGeom>
                  <a:gradFill>
                    <a:gsLst>
                      <a:gs pos="0">
                        <a:srgbClr val="9F9F9F"/>
                      </a:gs>
                      <a:gs pos="84000">
                        <a:srgbClr val="7F7F7F"/>
                      </a:gs>
                    </a:gsLst>
                    <a:lin ang="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4" name="Rectangle 53"/>
                  <p:cNvSpPr/>
                  <p:nvPr/>
                </p:nvSpPr>
                <p:spPr>
                  <a:xfrm>
                    <a:off x="5931693" y="685477"/>
                    <a:ext cx="434610" cy="957582"/>
                  </a:xfrm>
                  <a:custGeom>
                    <a:avLst/>
                    <a:gdLst>
                      <a:gd name="connsiteX0" fmla="*/ 0 w 166688"/>
                      <a:gd name="connsiteY0" fmla="*/ 0 h 797718"/>
                      <a:gd name="connsiteX1" fmla="*/ 166688 w 166688"/>
                      <a:gd name="connsiteY1" fmla="*/ 0 h 797718"/>
                      <a:gd name="connsiteX2" fmla="*/ 166688 w 166688"/>
                      <a:gd name="connsiteY2" fmla="*/ 797718 h 797718"/>
                      <a:gd name="connsiteX3" fmla="*/ 0 w 166688"/>
                      <a:gd name="connsiteY3" fmla="*/ 797718 h 797718"/>
                      <a:gd name="connsiteX4" fmla="*/ 0 w 166688"/>
                      <a:gd name="connsiteY4" fmla="*/ 0 h 797718"/>
                      <a:gd name="connsiteX0" fmla="*/ 0 w 166688"/>
                      <a:gd name="connsiteY0" fmla="*/ 154781 h 952499"/>
                      <a:gd name="connsiteX1" fmla="*/ 102394 w 166688"/>
                      <a:gd name="connsiteY1" fmla="*/ 0 h 952499"/>
                      <a:gd name="connsiteX2" fmla="*/ 166688 w 166688"/>
                      <a:gd name="connsiteY2" fmla="*/ 952499 h 952499"/>
                      <a:gd name="connsiteX3" fmla="*/ 0 w 166688"/>
                      <a:gd name="connsiteY3" fmla="*/ 952499 h 952499"/>
                      <a:gd name="connsiteX4" fmla="*/ 0 w 166688"/>
                      <a:gd name="connsiteY4" fmla="*/ 154781 h 952499"/>
                      <a:gd name="connsiteX0" fmla="*/ 0 w 166688"/>
                      <a:gd name="connsiteY0" fmla="*/ 154781 h 952499"/>
                      <a:gd name="connsiteX1" fmla="*/ 102394 w 166688"/>
                      <a:gd name="connsiteY1" fmla="*/ 0 h 952499"/>
                      <a:gd name="connsiteX2" fmla="*/ 119063 w 166688"/>
                      <a:gd name="connsiteY2" fmla="*/ 252413 h 952499"/>
                      <a:gd name="connsiteX3" fmla="*/ 166688 w 166688"/>
                      <a:gd name="connsiteY3" fmla="*/ 952499 h 952499"/>
                      <a:gd name="connsiteX4" fmla="*/ 0 w 166688"/>
                      <a:gd name="connsiteY4" fmla="*/ 952499 h 952499"/>
                      <a:gd name="connsiteX5" fmla="*/ 0 w 166688"/>
                      <a:gd name="connsiteY5" fmla="*/ 154781 h 952499"/>
                      <a:gd name="connsiteX0" fmla="*/ 0 w 166688"/>
                      <a:gd name="connsiteY0" fmla="*/ 154781 h 952499"/>
                      <a:gd name="connsiteX1" fmla="*/ 102394 w 166688"/>
                      <a:gd name="connsiteY1" fmla="*/ 0 h 952499"/>
                      <a:gd name="connsiteX2" fmla="*/ 142875 w 166688"/>
                      <a:gd name="connsiteY2" fmla="*/ 250031 h 952499"/>
                      <a:gd name="connsiteX3" fmla="*/ 166688 w 166688"/>
                      <a:gd name="connsiteY3" fmla="*/ 952499 h 952499"/>
                      <a:gd name="connsiteX4" fmla="*/ 0 w 166688"/>
                      <a:gd name="connsiteY4" fmla="*/ 952499 h 952499"/>
                      <a:gd name="connsiteX5" fmla="*/ 0 w 166688"/>
                      <a:gd name="connsiteY5" fmla="*/ 154781 h 952499"/>
                      <a:gd name="connsiteX0" fmla="*/ 121444 w 288132"/>
                      <a:gd name="connsiteY0" fmla="*/ 154781 h 1078705"/>
                      <a:gd name="connsiteX1" fmla="*/ 223838 w 288132"/>
                      <a:gd name="connsiteY1" fmla="*/ 0 h 1078705"/>
                      <a:gd name="connsiteX2" fmla="*/ 264319 w 288132"/>
                      <a:gd name="connsiteY2" fmla="*/ 250031 h 1078705"/>
                      <a:gd name="connsiteX3" fmla="*/ 288132 w 288132"/>
                      <a:gd name="connsiteY3" fmla="*/ 952499 h 1078705"/>
                      <a:gd name="connsiteX4" fmla="*/ 0 w 288132"/>
                      <a:gd name="connsiteY4" fmla="*/ 1078705 h 1078705"/>
                      <a:gd name="connsiteX5" fmla="*/ 121444 w 288132"/>
                      <a:gd name="connsiteY5" fmla="*/ 154781 h 1078705"/>
                      <a:gd name="connsiteX0" fmla="*/ 121444 w 288132"/>
                      <a:gd name="connsiteY0" fmla="*/ 154781 h 1078705"/>
                      <a:gd name="connsiteX1" fmla="*/ 223838 w 288132"/>
                      <a:gd name="connsiteY1" fmla="*/ 0 h 1078705"/>
                      <a:gd name="connsiteX2" fmla="*/ 264319 w 288132"/>
                      <a:gd name="connsiteY2" fmla="*/ 250031 h 1078705"/>
                      <a:gd name="connsiteX3" fmla="*/ 288132 w 288132"/>
                      <a:gd name="connsiteY3" fmla="*/ 952499 h 1078705"/>
                      <a:gd name="connsiteX4" fmla="*/ 0 w 288132"/>
                      <a:gd name="connsiteY4" fmla="*/ 1078705 h 1078705"/>
                      <a:gd name="connsiteX5" fmla="*/ 121444 w 288132"/>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61938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61938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61938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614"/>
                      <a:gd name="connsiteY0" fmla="*/ 154781 h 1078705"/>
                      <a:gd name="connsiteX1" fmla="*/ 223838 w 264614"/>
                      <a:gd name="connsiteY1" fmla="*/ 0 h 1078705"/>
                      <a:gd name="connsiteX2" fmla="*/ 264319 w 264614"/>
                      <a:gd name="connsiteY2" fmla="*/ 261938 h 1078705"/>
                      <a:gd name="connsiteX3" fmla="*/ 40482 w 264614"/>
                      <a:gd name="connsiteY3" fmla="*/ 969168 h 1078705"/>
                      <a:gd name="connsiteX4" fmla="*/ 0 w 264614"/>
                      <a:gd name="connsiteY4" fmla="*/ 1078705 h 1078705"/>
                      <a:gd name="connsiteX5" fmla="*/ 121444 w 264614"/>
                      <a:gd name="connsiteY5" fmla="*/ 154781 h 1078705"/>
                      <a:gd name="connsiteX0" fmla="*/ 121444 w 264614"/>
                      <a:gd name="connsiteY0" fmla="*/ 154781 h 1078705"/>
                      <a:gd name="connsiteX1" fmla="*/ 223838 w 264614"/>
                      <a:gd name="connsiteY1" fmla="*/ 0 h 1078705"/>
                      <a:gd name="connsiteX2" fmla="*/ 264319 w 264614"/>
                      <a:gd name="connsiteY2" fmla="*/ 261938 h 1078705"/>
                      <a:gd name="connsiteX3" fmla="*/ 40482 w 264614"/>
                      <a:gd name="connsiteY3" fmla="*/ 969168 h 1078705"/>
                      <a:gd name="connsiteX4" fmla="*/ 0 w 264614"/>
                      <a:gd name="connsiteY4" fmla="*/ 1078705 h 1078705"/>
                      <a:gd name="connsiteX5" fmla="*/ 121444 w 264614"/>
                      <a:gd name="connsiteY5" fmla="*/ 154781 h 1078705"/>
                      <a:gd name="connsiteX0" fmla="*/ 121444 w 264614"/>
                      <a:gd name="connsiteY0" fmla="*/ 154781 h 1078705"/>
                      <a:gd name="connsiteX1" fmla="*/ 223838 w 264614"/>
                      <a:gd name="connsiteY1" fmla="*/ 0 h 1078705"/>
                      <a:gd name="connsiteX2" fmla="*/ 264319 w 264614"/>
                      <a:gd name="connsiteY2" fmla="*/ 261938 h 1078705"/>
                      <a:gd name="connsiteX3" fmla="*/ 40482 w 264614"/>
                      <a:gd name="connsiteY3" fmla="*/ 969168 h 1078705"/>
                      <a:gd name="connsiteX4" fmla="*/ 0 w 264614"/>
                      <a:gd name="connsiteY4" fmla="*/ 1078705 h 1078705"/>
                      <a:gd name="connsiteX5" fmla="*/ 121444 w 264614"/>
                      <a:gd name="connsiteY5" fmla="*/ 154781 h 1078705"/>
                      <a:gd name="connsiteX0" fmla="*/ 121444 w 267176"/>
                      <a:gd name="connsiteY0" fmla="*/ 154781 h 1078705"/>
                      <a:gd name="connsiteX1" fmla="*/ 223838 w 267176"/>
                      <a:gd name="connsiteY1" fmla="*/ 0 h 1078705"/>
                      <a:gd name="connsiteX2" fmla="*/ 264319 w 267176"/>
                      <a:gd name="connsiteY2" fmla="*/ 261938 h 1078705"/>
                      <a:gd name="connsiteX3" fmla="*/ 40482 w 267176"/>
                      <a:gd name="connsiteY3" fmla="*/ 969168 h 1078705"/>
                      <a:gd name="connsiteX4" fmla="*/ 0 w 267176"/>
                      <a:gd name="connsiteY4" fmla="*/ 1078705 h 1078705"/>
                      <a:gd name="connsiteX5" fmla="*/ 121444 w 267176"/>
                      <a:gd name="connsiteY5" fmla="*/ 154781 h 1078705"/>
                      <a:gd name="connsiteX0" fmla="*/ 121444 w 267176"/>
                      <a:gd name="connsiteY0" fmla="*/ 154781 h 1078705"/>
                      <a:gd name="connsiteX1" fmla="*/ 223838 w 267176"/>
                      <a:gd name="connsiteY1" fmla="*/ 0 h 1078705"/>
                      <a:gd name="connsiteX2" fmla="*/ 264319 w 267176"/>
                      <a:gd name="connsiteY2" fmla="*/ 261938 h 1078705"/>
                      <a:gd name="connsiteX3" fmla="*/ 40482 w 267176"/>
                      <a:gd name="connsiteY3" fmla="*/ 969168 h 1078705"/>
                      <a:gd name="connsiteX4" fmla="*/ 0 w 267176"/>
                      <a:gd name="connsiteY4" fmla="*/ 1078705 h 1078705"/>
                      <a:gd name="connsiteX5" fmla="*/ 121444 w 267176"/>
                      <a:gd name="connsiteY5" fmla="*/ 154781 h 1078705"/>
                      <a:gd name="connsiteX0" fmla="*/ 130969 w 267176"/>
                      <a:gd name="connsiteY0" fmla="*/ 135731 h 1078705"/>
                      <a:gd name="connsiteX1" fmla="*/ 223838 w 267176"/>
                      <a:gd name="connsiteY1" fmla="*/ 0 h 1078705"/>
                      <a:gd name="connsiteX2" fmla="*/ 264319 w 267176"/>
                      <a:gd name="connsiteY2" fmla="*/ 261938 h 1078705"/>
                      <a:gd name="connsiteX3" fmla="*/ 40482 w 267176"/>
                      <a:gd name="connsiteY3" fmla="*/ 969168 h 1078705"/>
                      <a:gd name="connsiteX4" fmla="*/ 0 w 267176"/>
                      <a:gd name="connsiteY4" fmla="*/ 1078705 h 1078705"/>
                      <a:gd name="connsiteX5" fmla="*/ 130969 w 267176"/>
                      <a:gd name="connsiteY5" fmla="*/ 135731 h 1078705"/>
                      <a:gd name="connsiteX0" fmla="*/ 130969 w 343908"/>
                      <a:gd name="connsiteY0" fmla="*/ 135731 h 1078705"/>
                      <a:gd name="connsiteX1" fmla="*/ 223838 w 343908"/>
                      <a:gd name="connsiteY1" fmla="*/ 0 h 1078705"/>
                      <a:gd name="connsiteX2" fmla="*/ 342901 w 343908"/>
                      <a:gd name="connsiteY2" fmla="*/ 502444 h 1078705"/>
                      <a:gd name="connsiteX3" fmla="*/ 40482 w 343908"/>
                      <a:gd name="connsiteY3" fmla="*/ 969168 h 1078705"/>
                      <a:gd name="connsiteX4" fmla="*/ 0 w 343908"/>
                      <a:gd name="connsiteY4" fmla="*/ 1078705 h 1078705"/>
                      <a:gd name="connsiteX5" fmla="*/ 130969 w 343908"/>
                      <a:gd name="connsiteY5" fmla="*/ 135731 h 1078705"/>
                      <a:gd name="connsiteX0" fmla="*/ 204788 w 417727"/>
                      <a:gd name="connsiteY0" fmla="*/ 135731 h 1047748"/>
                      <a:gd name="connsiteX1" fmla="*/ 297657 w 417727"/>
                      <a:gd name="connsiteY1" fmla="*/ 0 h 1047748"/>
                      <a:gd name="connsiteX2" fmla="*/ 416720 w 417727"/>
                      <a:gd name="connsiteY2" fmla="*/ 502444 h 1047748"/>
                      <a:gd name="connsiteX3" fmla="*/ 114301 w 417727"/>
                      <a:gd name="connsiteY3" fmla="*/ 969168 h 1047748"/>
                      <a:gd name="connsiteX4" fmla="*/ 0 w 417727"/>
                      <a:gd name="connsiteY4" fmla="*/ 1047748 h 1047748"/>
                      <a:gd name="connsiteX5" fmla="*/ 204788 w 417727"/>
                      <a:gd name="connsiteY5" fmla="*/ 135731 h 1047748"/>
                      <a:gd name="connsiteX0" fmla="*/ 204788 w 417727"/>
                      <a:gd name="connsiteY0" fmla="*/ 135731 h 1047748"/>
                      <a:gd name="connsiteX1" fmla="*/ 297657 w 417727"/>
                      <a:gd name="connsiteY1" fmla="*/ 0 h 1047748"/>
                      <a:gd name="connsiteX2" fmla="*/ 416720 w 417727"/>
                      <a:gd name="connsiteY2" fmla="*/ 502444 h 1047748"/>
                      <a:gd name="connsiteX3" fmla="*/ 76201 w 417727"/>
                      <a:gd name="connsiteY3" fmla="*/ 964405 h 1047748"/>
                      <a:gd name="connsiteX4" fmla="*/ 0 w 417727"/>
                      <a:gd name="connsiteY4" fmla="*/ 1047748 h 1047748"/>
                      <a:gd name="connsiteX5" fmla="*/ 204788 w 417727"/>
                      <a:gd name="connsiteY5" fmla="*/ 135731 h 1047748"/>
                      <a:gd name="connsiteX0" fmla="*/ 204788 w 417727"/>
                      <a:gd name="connsiteY0" fmla="*/ 135731 h 1047748"/>
                      <a:gd name="connsiteX1" fmla="*/ 297657 w 417727"/>
                      <a:gd name="connsiteY1" fmla="*/ 0 h 1047748"/>
                      <a:gd name="connsiteX2" fmla="*/ 416720 w 417727"/>
                      <a:gd name="connsiteY2" fmla="*/ 502444 h 1047748"/>
                      <a:gd name="connsiteX3" fmla="*/ 76201 w 417727"/>
                      <a:gd name="connsiteY3" fmla="*/ 964405 h 1047748"/>
                      <a:gd name="connsiteX4" fmla="*/ 0 w 417727"/>
                      <a:gd name="connsiteY4" fmla="*/ 1047748 h 1047748"/>
                      <a:gd name="connsiteX5" fmla="*/ 204788 w 417727"/>
                      <a:gd name="connsiteY5" fmla="*/ 135731 h 1047748"/>
                      <a:gd name="connsiteX0" fmla="*/ 204788 w 417791"/>
                      <a:gd name="connsiteY0" fmla="*/ 45244 h 957261"/>
                      <a:gd name="connsiteX1" fmla="*/ 304801 w 417791"/>
                      <a:gd name="connsiteY1" fmla="*/ 0 h 957261"/>
                      <a:gd name="connsiteX2" fmla="*/ 416720 w 417791"/>
                      <a:gd name="connsiteY2" fmla="*/ 411957 h 957261"/>
                      <a:gd name="connsiteX3" fmla="*/ 76201 w 417791"/>
                      <a:gd name="connsiteY3" fmla="*/ 873918 h 957261"/>
                      <a:gd name="connsiteX4" fmla="*/ 0 w 417791"/>
                      <a:gd name="connsiteY4" fmla="*/ 957261 h 957261"/>
                      <a:gd name="connsiteX5" fmla="*/ 204788 w 417791"/>
                      <a:gd name="connsiteY5" fmla="*/ 45244 h 957261"/>
                      <a:gd name="connsiteX0" fmla="*/ 204788 w 419897"/>
                      <a:gd name="connsiteY0" fmla="*/ 45244 h 957261"/>
                      <a:gd name="connsiteX1" fmla="*/ 304801 w 419897"/>
                      <a:gd name="connsiteY1" fmla="*/ 0 h 957261"/>
                      <a:gd name="connsiteX2" fmla="*/ 416720 w 419897"/>
                      <a:gd name="connsiteY2" fmla="*/ 411957 h 957261"/>
                      <a:gd name="connsiteX3" fmla="*/ 76201 w 419897"/>
                      <a:gd name="connsiteY3" fmla="*/ 873918 h 957261"/>
                      <a:gd name="connsiteX4" fmla="*/ 0 w 419897"/>
                      <a:gd name="connsiteY4" fmla="*/ 957261 h 957261"/>
                      <a:gd name="connsiteX5" fmla="*/ 204788 w 419897"/>
                      <a:gd name="connsiteY5" fmla="*/ 45244 h 957261"/>
                      <a:gd name="connsiteX0" fmla="*/ 204788 w 422467"/>
                      <a:gd name="connsiteY0" fmla="*/ 45244 h 957261"/>
                      <a:gd name="connsiteX1" fmla="*/ 304801 w 422467"/>
                      <a:gd name="connsiteY1" fmla="*/ 0 h 957261"/>
                      <a:gd name="connsiteX2" fmla="*/ 416720 w 422467"/>
                      <a:gd name="connsiteY2" fmla="*/ 411957 h 957261"/>
                      <a:gd name="connsiteX3" fmla="*/ 76201 w 422467"/>
                      <a:gd name="connsiteY3" fmla="*/ 873918 h 957261"/>
                      <a:gd name="connsiteX4" fmla="*/ 0 w 422467"/>
                      <a:gd name="connsiteY4" fmla="*/ 957261 h 957261"/>
                      <a:gd name="connsiteX5" fmla="*/ 204788 w 422467"/>
                      <a:gd name="connsiteY5" fmla="*/ 45244 h 957261"/>
                      <a:gd name="connsiteX0" fmla="*/ 204788 w 422467"/>
                      <a:gd name="connsiteY0" fmla="*/ 45244 h 957261"/>
                      <a:gd name="connsiteX1" fmla="*/ 304801 w 422467"/>
                      <a:gd name="connsiteY1" fmla="*/ 0 h 957261"/>
                      <a:gd name="connsiteX2" fmla="*/ 416720 w 422467"/>
                      <a:gd name="connsiteY2" fmla="*/ 411957 h 957261"/>
                      <a:gd name="connsiteX3" fmla="*/ 76201 w 422467"/>
                      <a:gd name="connsiteY3" fmla="*/ 873918 h 957261"/>
                      <a:gd name="connsiteX4" fmla="*/ 0 w 422467"/>
                      <a:gd name="connsiteY4" fmla="*/ 957261 h 957261"/>
                      <a:gd name="connsiteX5" fmla="*/ 204788 w 422467"/>
                      <a:gd name="connsiteY5" fmla="*/ 45244 h 957261"/>
                      <a:gd name="connsiteX0" fmla="*/ 204788 w 422467"/>
                      <a:gd name="connsiteY0" fmla="*/ 45693 h 957710"/>
                      <a:gd name="connsiteX1" fmla="*/ 304801 w 422467"/>
                      <a:gd name="connsiteY1" fmla="*/ 449 h 957710"/>
                      <a:gd name="connsiteX2" fmla="*/ 416720 w 422467"/>
                      <a:gd name="connsiteY2" fmla="*/ 412406 h 957710"/>
                      <a:gd name="connsiteX3" fmla="*/ 76201 w 422467"/>
                      <a:gd name="connsiteY3" fmla="*/ 874367 h 957710"/>
                      <a:gd name="connsiteX4" fmla="*/ 0 w 422467"/>
                      <a:gd name="connsiteY4" fmla="*/ 957710 h 957710"/>
                      <a:gd name="connsiteX5" fmla="*/ 204788 w 422467"/>
                      <a:gd name="connsiteY5" fmla="*/ 45693 h 957710"/>
                      <a:gd name="connsiteX0" fmla="*/ 217164 w 434843"/>
                      <a:gd name="connsiteY0" fmla="*/ 45693 h 964074"/>
                      <a:gd name="connsiteX1" fmla="*/ 317177 w 434843"/>
                      <a:gd name="connsiteY1" fmla="*/ 449 h 964074"/>
                      <a:gd name="connsiteX2" fmla="*/ 429096 w 434843"/>
                      <a:gd name="connsiteY2" fmla="*/ 412406 h 964074"/>
                      <a:gd name="connsiteX3" fmla="*/ 88577 w 434843"/>
                      <a:gd name="connsiteY3" fmla="*/ 874367 h 964074"/>
                      <a:gd name="connsiteX4" fmla="*/ 12376 w 434843"/>
                      <a:gd name="connsiteY4" fmla="*/ 957710 h 964074"/>
                      <a:gd name="connsiteX5" fmla="*/ 21665 w 434843"/>
                      <a:gd name="connsiteY5" fmla="*/ 855320 h 964074"/>
                      <a:gd name="connsiteX6" fmla="*/ 217164 w 434843"/>
                      <a:gd name="connsiteY6" fmla="*/ 45693 h 964074"/>
                      <a:gd name="connsiteX0" fmla="*/ 227906 w 445585"/>
                      <a:gd name="connsiteY0" fmla="*/ 45693 h 959858"/>
                      <a:gd name="connsiteX1" fmla="*/ 327919 w 445585"/>
                      <a:gd name="connsiteY1" fmla="*/ 449 h 959858"/>
                      <a:gd name="connsiteX2" fmla="*/ 439838 w 445585"/>
                      <a:gd name="connsiteY2" fmla="*/ 412406 h 959858"/>
                      <a:gd name="connsiteX3" fmla="*/ 99319 w 445585"/>
                      <a:gd name="connsiteY3" fmla="*/ 874367 h 959858"/>
                      <a:gd name="connsiteX4" fmla="*/ 23118 w 445585"/>
                      <a:gd name="connsiteY4" fmla="*/ 957710 h 959858"/>
                      <a:gd name="connsiteX5" fmla="*/ 15738 w 445585"/>
                      <a:gd name="connsiteY5" fmla="*/ 841032 h 959858"/>
                      <a:gd name="connsiteX6" fmla="*/ 227906 w 445585"/>
                      <a:gd name="connsiteY6" fmla="*/ 45693 h 959858"/>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12168 w 429847"/>
                      <a:gd name="connsiteY6"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12168 w 429847"/>
                      <a:gd name="connsiteY6"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166688 w 429847"/>
                      <a:gd name="connsiteY6" fmla="*/ 179045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09786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09786 w 429847"/>
                      <a:gd name="connsiteY7" fmla="*/ 45693 h 957710"/>
                      <a:gd name="connsiteX0" fmla="*/ 197880 w 429847"/>
                      <a:gd name="connsiteY0" fmla="*/ 48022 h 957658"/>
                      <a:gd name="connsiteX1" fmla="*/ 312181 w 429847"/>
                      <a:gd name="connsiteY1" fmla="*/ 397 h 957658"/>
                      <a:gd name="connsiteX2" fmla="*/ 424100 w 429847"/>
                      <a:gd name="connsiteY2" fmla="*/ 412354 h 957658"/>
                      <a:gd name="connsiteX3" fmla="*/ 83581 w 429847"/>
                      <a:gd name="connsiteY3" fmla="*/ 874315 h 957658"/>
                      <a:gd name="connsiteX4" fmla="*/ 7380 w 429847"/>
                      <a:gd name="connsiteY4" fmla="*/ 957658 h 957658"/>
                      <a:gd name="connsiteX5" fmla="*/ 0 w 429847"/>
                      <a:gd name="connsiteY5" fmla="*/ 840980 h 957658"/>
                      <a:gd name="connsiteX6" fmla="*/ 209550 w 429847"/>
                      <a:gd name="connsiteY6" fmla="*/ 176612 h 957658"/>
                      <a:gd name="connsiteX7" fmla="*/ 197880 w 429847"/>
                      <a:gd name="connsiteY7" fmla="*/ 48022 h 957658"/>
                      <a:gd name="connsiteX0" fmla="*/ 212167 w 429847"/>
                      <a:gd name="connsiteY0" fmla="*/ 48022 h 957658"/>
                      <a:gd name="connsiteX1" fmla="*/ 312181 w 429847"/>
                      <a:gd name="connsiteY1" fmla="*/ 397 h 957658"/>
                      <a:gd name="connsiteX2" fmla="*/ 424100 w 429847"/>
                      <a:gd name="connsiteY2" fmla="*/ 412354 h 957658"/>
                      <a:gd name="connsiteX3" fmla="*/ 83581 w 429847"/>
                      <a:gd name="connsiteY3" fmla="*/ 874315 h 957658"/>
                      <a:gd name="connsiteX4" fmla="*/ 7380 w 429847"/>
                      <a:gd name="connsiteY4" fmla="*/ 957658 h 957658"/>
                      <a:gd name="connsiteX5" fmla="*/ 0 w 429847"/>
                      <a:gd name="connsiteY5" fmla="*/ 840980 h 957658"/>
                      <a:gd name="connsiteX6" fmla="*/ 209550 w 429847"/>
                      <a:gd name="connsiteY6" fmla="*/ 176612 h 957658"/>
                      <a:gd name="connsiteX7" fmla="*/ 212167 w 429847"/>
                      <a:gd name="connsiteY7" fmla="*/ 48022 h 957658"/>
                      <a:gd name="connsiteX0" fmla="*/ 205023 w 429847"/>
                      <a:gd name="connsiteY0" fmla="*/ 50361 h 957616"/>
                      <a:gd name="connsiteX1" fmla="*/ 312181 w 429847"/>
                      <a:gd name="connsiteY1" fmla="*/ 355 h 957616"/>
                      <a:gd name="connsiteX2" fmla="*/ 424100 w 429847"/>
                      <a:gd name="connsiteY2" fmla="*/ 412312 h 957616"/>
                      <a:gd name="connsiteX3" fmla="*/ 83581 w 429847"/>
                      <a:gd name="connsiteY3" fmla="*/ 874273 h 957616"/>
                      <a:gd name="connsiteX4" fmla="*/ 7380 w 429847"/>
                      <a:gd name="connsiteY4" fmla="*/ 957616 h 957616"/>
                      <a:gd name="connsiteX5" fmla="*/ 0 w 429847"/>
                      <a:gd name="connsiteY5" fmla="*/ 840938 h 957616"/>
                      <a:gd name="connsiteX6" fmla="*/ 209550 w 429847"/>
                      <a:gd name="connsiteY6" fmla="*/ 176570 h 957616"/>
                      <a:gd name="connsiteX7" fmla="*/ 205023 w 429847"/>
                      <a:gd name="connsiteY7" fmla="*/ 50361 h 957616"/>
                      <a:gd name="connsiteX0" fmla="*/ 205023 w 429847"/>
                      <a:gd name="connsiteY0" fmla="*/ 50361 h 957616"/>
                      <a:gd name="connsiteX1" fmla="*/ 312181 w 429847"/>
                      <a:gd name="connsiteY1" fmla="*/ 355 h 957616"/>
                      <a:gd name="connsiteX2" fmla="*/ 424100 w 429847"/>
                      <a:gd name="connsiteY2" fmla="*/ 412312 h 957616"/>
                      <a:gd name="connsiteX3" fmla="*/ 83581 w 429847"/>
                      <a:gd name="connsiteY3" fmla="*/ 874273 h 957616"/>
                      <a:gd name="connsiteX4" fmla="*/ 7380 w 429847"/>
                      <a:gd name="connsiteY4" fmla="*/ 957616 h 957616"/>
                      <a:gd name="connsiteX5" fmla="*/ 0 w 429847"/>
                      <a:gd name="connsiteY5" fmla="*/ 840938 h 957616"/>
                      <a:gd name="connsiteX6" fmla="*/ 209550 w 429847"/>
                      <a:gd name="connsiteY6" fmla="*/ 176570 h 957616"/>
                      <a:gd name="connsiteX7" fmla="*/ 205023 w 429847"/>
                      <a:gd name="connsiteY7" fmla="*/ 50361 h 957616"/>
                      <a:gd name="connsiteX0" fmla="*/ 205023 w 429847"/>
                      <a:gd name="connsiteY0" fmla="*/ 50361 h 957616"/>
                      <a:gd name="connsiteX1" fmla="*/ 312181 w 429847"/>
                      <a:gd name="connsiteY1" fmla="*/ 355 h 957616"/>
                      <a:gd name="connsiteX2" fmla="*/ 424100 w 429847"/>
                      <a:gd name="connsiteY2" fmla="*/ 412312 h 957616"/>
                      <a:gd name="connsiteX3" fmla="*/ 83581 w 429847"/>
                      <a:gd name="connsiteY3" fmla="*/ 874273 h 957616"/>
                      <a:gd name="connsiteX4" fmla="*/ 7380 w 429847"/>
                      <a:gd name="connsiteY4" fmla="*/ 957616 h 957616"/>
                      <a:gd name="connsiteX5" fmla="*/ 0 w 429847"/>
                      <a:gd name="connsiteY5" fmla="*/ 840938 h 957616"/>
                      <a:gd name="connsiteX6" fmla="*/ 209550 w 429847"/>
                      <a:gd name="connsiteY6" fmla="*/ 176570 h 957616"/>
                      <a:gd name="connsiteX7" fmla="*/ 205023 w 429847"/>
                      <a:gd name="connsiteY7" fmla="*/ 50361 h 957616"/>
                      <a:gd name="connsiteX0" fmla="*/ 205023 w 429847"/>
                      <a:gd name="connsiteY0" fmla="*/ 50361 h 957616"/>
                      <a:gd name="connsiteX1" fmla="*/ 312181 w 429847"/>
                      <a:gd name="connsiteY1" fmla="*/ 355 h 957616"/>
                      <a:gd name="connsiteX2" fmla="*/ 424100 w 429847"/>
                      <a:gd name="connsiteY2" fmla="*/ 412312 h 957616"/>
                      <a:gd name="connsiteX3" fmla="*/ 83581 w 429847"/>
                      <a:gd name="connsiteY3" fmla="*/ 874273 h 957616"/>
                      <a:gd name="connsiteX4" fmla="*/ 7380 w 429847"/>
                      <a:gd name="connsiteY4" fmla="*/ 957616 h 957616"/>
                      <a:gd name="connsiteX5" fmla="*/ 0 w 429847"/>
                      <a:gd name="connsiteY5" fmla="*/ 840938 h 957616"/>
                      <a:gd name="connsiteX6" fmla="*/ 209550 w 429847"/>
                      <a:gd name="connsiteY6" fmla="*/ 176570 h 957616"/>
                      <a:gd name="connsiteX7" fmla="*/ 205023 w 429847"/>
                      <a:gd name="connsiteY7" fmla="*/ 50361 h 957616"/>
                      <a:gd name="connsiteX0" fmla="*/ 205023 w 429847"/>
                      <a:gd name="connsiteY0" fmla="*/ 50361 h 957616"/>
                      <a:gd name="connsiteX1" fmla="*/ 312181 w 429847"/>
                      <a:gd name="connsiteY1" fmla="*/ 355 h 957616"/>
                      <a:gd name="connsiteX2" fmla="*/ 424100 w 429847"/>
                      <a:gd name="connsiteY2" fmla="*/ 412312 h 957616"/>
                      <a:gd name="connsiteX3" fmla="*/ 83581 w 429847"/>
                      <a:gd name="connsiteY3" fmla="*/ 874273 h 957616"/>
                      <a:gd name="connsiteX4" fmla="*/ 7380 w 429847"/>
                      <a:gd name="connsiteY4" fmla="*/ 957616 h 957616"/>
                      <a:gd name="connsiteX5" fmla="*/ 0 w 429847"/>
                      <a:gd name="connsiteY5" fmla="*/ 840938 h 957616"/>
                      <a:gd name="connsiteX6" fmla="*/ 209550 w 429847"/>
                      <a:gd name="connsiteY6" fmla="*/ 176570 h 957616"/>
                      <a:gd name="connsiteX7" fmla="*/ 205023 w 429847"/>
                      <a:gd name="connsiteY7" fmla="*/ 50361 h 957616"/>
                      <a:gd name="connsiteX0" fmla="*/ 197879 w 429847"/>
                      <a:gd name="connsiteY0" fmla="*/ 50361 h 957616"/>
                      <a:gd name="connsiteX1" fmla="*/ 312181 w 429847"/>
                      <a:gd name="connsiteY1" fmla="*/ 355 h 957616"/>
                      <a:gd name="connsiteX2" fmla="*/ 424100 w 429847"/>
                      <a:gd name="connsiteY2" fmla="*/ 412312 h 957616"/>
                      <a:gd name="connsiteX3" fmla="*/ 83581 w 429847"/>
                      <a:gd name="connsiteY3" fmla="*/ 874273 h 957616"/>
                      <a:gd name="connsiteX4" fmla="*/ 7380 w 429847"/>
                      <a:gd name="connsiteY4" fmla="*/ 957616 h 957616"/>
                      <a:gd name="connsiteX5" fmla="*/ 0 w 429847"/>
                      <a:gd name="connsiteY5" fmla="*/ 840938 h 957616"/>
                      <a:gd name="connsiteX6" fmla="*/ 209550 w 429847"/>
                      <a:gd name="connsiteY6" fmla="*/ 176570 h 957616"/>
                      <a:gd name="connsiteX7" fmla="*/ 197879 w 429847"/>
                      <a:gd name="connsiteY7" fmla="*/ 50361 h 957616"/>
                      <a:gd name="connsiteX0" fmla="*/ 202642 w 429847"/>
                      <a:gd name="connsiteY0" fmla="*/ 52708 h 957582"/>
                      <a:gd name="connsiteX1" fmla="*/ 312181 w 429847"/>
                      <a:gd name="connsiteY1" fmla="*/ 321 h 957582"/>
                      <a:gd name="connsiteX2" fmla="*/ 424100 w 429847"/>
                      <a:gd name="connsiteY2" fmla="*/ 412278 h 957582"/>
                      <a:gd name="connsiteX3" fmla="*/ 83581 w 429847"/>
                      <a:gd name="connsiteY3" fmla="*/ 874239 h 957582"/>
                      <a:gd name="connsiteX4" fmla="*/ 7380 w 429847"/>
                      <a:gd name="connsiteY4" fmla="*/ 957582 h 957582"/>
                      <a:gd name="connsiteX5" fmla="*/ 0 w 429847"/>
                      <a:gd name="connsiteY5" fmla="*/ 840904 h 957582"/>
                      <a:gd name="connsiteX6" fmla="*/ 209550 w 429847"/>
                      <a:gd name="connsiteY6" fmla="*/ 176536 h 957582"/>
                      <a:gd name="connsiteX7" fmla="*/ 202642 w 429847"/>
                      <a:gd name="connsiteY7" fmla="*/ 52708 h 957582"/>
                      <a:gd name="connsiteX0" fmla="*/ 202642 w 429847"/>
                      <a:gd name="connsiteY0" fmla="*/ 52708 h 957582"/>
                      <a:gd name="connsiteX1" fmla="*/ 312181 w 429847"/>
                      <a:gd name="connsiteY1" fmla="*/ 321 h 957582"/>
                      <a:gd name="connsiteX2" fmla="*/ 424100 w 429847"/>
                      <a:gd name="connsiteY2" fmla="*/ 412278 h 957582"/>
                      <a:gd name="connsiteX3" fmla="*/ 83581 w 429847"/>
                      <a:gd name="connsiteY3" fmla="*/ 874239 h 957582"/>
                      <a:gd name="connsiteX4" fmla="*/ 7380 w 429847"/>
                      <a:gd name="connsiteY4" fmla="*/ 957582 h 957582"/>
                      <a:gd name="connsiteX5" fmla="*/ 0 w 429847"/>
                      <a:gd name="connsiteY5" fmla="*/ 840904 h 957582"/>
                      <a:gd name="connsiteX6" fmla="*/ 209550 w 429847"/>
                      <a:gd name="connsiteY6" fmla="*/ 176536 h 957582"/>
                      <a:gd name="connsiteX7" fmla="*/ 202642 w 429847"/>
                      <a:gd name="connsiteY7" fmla="*/ 52708 h 957582"/>
                      <a:gd name="connsiteX0" fmla="*/ 207405 w 434610"/>
                      <a:gd name="connsiteY0" fmla="*/ 52708 h 957582"/>
                      <a:gd name="connsiteX1" fmla="*/ 316944 w 434610"/>
                      <a:gd name="connsiteY1" fmla="*/ 321 h 957582"/>
                      <a:gd name="connsiteX2" fmla="*/ 428863 w 434610"/>
                      <a:gd name="connsiteY2" fmla="*/ 412278 h 957582"/>
                      <a:gd name="connsiteX3" fmla="*/ 88344 w 434610"/>
                      <a:gd name="connsiteY3" fmla="*/ 874239 h 957582"/>
                      <a:gd name="connsiteX4" fmla="*/ 12143 w 434610"/>
                      <a:gd name="connsiteY4" fmla="*/ 957582 h 957582"/>
                      <a:gd name="connsiteX5" fmla="*/ 0 w 434610"/>
                      <a:gd name="connsiteY5" fmla="*/ 840904 h 957582"/>
                      <a:gd name="connsiteX6" fmla="*/ 214313 w 434610"/>
                      <a:gd name="connsiteY6" fmla="*/ 176536 h 957582"/>
                      <a:gd name="connsiteX7" fmla="*/ 207405 w 434610"/>
                      <a:gd name="connsiteY7" fmla="*/ 52708 h 957582"/>
                      <a:gd name="connsiteX0" fmla="*/ 207405 w 434610"/>
                      <a:gd name="connsiteY0" fmla="*/ 52708 h 957582"/>
                      <a:gd name="connsiteX1" fmla="*/ 316944 w 434610"/>
                      <a:gd name="connsiteY1" fmla="*/ 321 h 957582"/>
                      <a:gd name="connsiteX2" fmla="*/ 428863 w 434610"/>
                      <a:gd name="connsiteY2" fmla="*/ 412278 h 957582"/>
                      <a:gd name="connsiteX3" fmla="*/ 88344 w 434610"/>
                      <a:gd name="connsiteY3" fmla="*/ 874239 h 957582"/>
                      <a:gd name="connsiteX4" fmla="*/ 12143 w 434610"/>
                      <a:gd name="connsiteY4" fmla="*/ 957582 h 957582"/>
                      <a:gd name="connsiteX5" fmla="*/ 0 w 434610"/>
                      <a:gd name="connsiteY5" fmla="*/ 840904 h 957582"/>
                      <a:gd name="connsiteX6" fmla="*/ 211932 w 434610"/>
                      <a:gd name="connsiteY6" fmla="*/ 176536 h 957582"/>
                      <a:gd name="connsiteX7" fmla="*/ 207405 w 434610"/>
                      <a:gd name="connsiteY7" fmla="*/ 52708 h 95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610" h="957582">
                        <a:moveTo>
                          <a:pt x="207405" y="52708"/>
                        </a:moveTo>
                        <a:cubicBezTo>
                          <a:pt x="239155" y="17783"/>
                          <a:pt x="297100" y="-2854"/>
                          <a:pt x="316944" y="321"/>
                        </a:cubicBezTo>
                        <a:cubicBezTo>
                          <a:pt x="418543" y="100334"/>
                          <a:pt x="448706" y="312265"/>
                          <a:pt x="428863" y="412278"/>
                        </a:cubicBezTo>
                        <a:cubicBezTo>
                          <a:pt x="418545" y="478159"/>
                          <a:pt x="198675" y="725015"/>
                          <a:pt x="88344" y="874239"/>
                        </a:cubicBezTo>
                        <a:lnTo>
                          <a:pt x="12143" y="957582"/>
                        </a:lnTo>
                        <a:cubicBezTo>
                          <a:pt x="991" y="954408"/>
                          <a:pt x="3968" y="871464"/>
                          <a:pt x="0" y="840904"/>
                        </a:cubicBezTo>
                        <a:cubicBezTo>
                          <a:pt x="38457" y="711127"/>
                          <a:pt x="176571" y="309092"/>
                          <a:pt x="211932" y="176536"/>
                        </a:cubicBezTo>
                        <a:cubicBezTo>
                          <a:pt x="211574" y="113036"/>
                          <a:pt x="214113" y="111050"/>
                          <a:pt x="207405" y="52708"/>
                        </a:cubicBezTo>
                        <a:close/>
                      </a:path>
                    </a:pathLst>
                  </a:custGeom>
                  <a:gradFill flip="none" rotWithShape="1">
                    <a:gsLst>
                      <a:gs pos="0">
                        <a:srgbClr val="9F9F9F"/>
                      </a:gs>
                      <a:gs pos="84000">
                        <a:srgbClr val="7F7F7F"/>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5" name="Rectangle 53"/>
                  <p:cNvSpPr/>
                  <p:nvPr/>
                </p:nvSpPr>
                <p:spPr>
                  <a:xfrm rot="1026440" flipH="1">
                    <a:off x="5569257" y="642150"/>
                    <a:ext cx="446137" cy="938485"/>
                  </a:xfrm>
                  <a:custGeom>
                    <a:avLst/>
                    <a:gdLst>
                      <a:gd name="connsiteX0" fmla="*/ 0 w 166688"/>
                      <a:gd name="connsiteY0" fmla="*/ 0 h 797718"/>
                      <a:gd name="connsiteX1" fmla="*/ 166688 w 166688"/>
                      <a:gd name="connsiteY1" fmla="*/ 0 h 797718"/>
                      <a:gd name="connsiteX2" fmla="*/ 166688 w 166688"/>
                      <a:gd name="connsiteY2" fmla="*/ 797718 h 797718"/>
                      <a:gd name="connsiteX3" fmla="*/ 0 w 166688"/>
                      <a:gd name="connsiteY3" fmla="*/ 797718 h 797718"/>
                      <a:gd name="connsiteX4" fmla="*/ 0 w 166688"/>
                      <a:gd name="connsiteY4" fmla="*/ 0 h 797718"/>
                      <a:gd name="connsiteX0" fmla="*/ 0 w 166688"/>
                      <a:gd name="connsiteY0" fmla="*/ 154781 h 952499"/>
                      <a:gd name="connsiteX1" fmla="*/ 102394 w 166688"/>
                      <a:gd name="connsiteY1" fmla="*/ 0 h 952499"/>
                      <a:gd name="connsiteX2" fmla="*/ 166688 w 166688"/>
                      <a:gd name="connsiteY2" fmla="*/ 952499 h 952499"/>
                      <a:gd name="connsiteX3" fmla="*/ 0 w 166688"/>
                      <a:gd name="connsiteY3" fmla="*/ 952499 h 952499"/>
                      <a:gd name="connsiteX4" fmla="*/ 0 w 166688"/>
                      <a:gd name="connsiteY4" fmla="*/ 154781 h 952499"/>
                      <a:gd name="connsiteX0" fmla="*/ 0 w 166688"/>
                      <a:gd name="connsiteY0" fmla="*/ 154781 h 952499"/>
                      <a:gd name="connsiteX1" fmla="*/ 102394 w 166688"/>
                      <a:gd name="connsiteY1" fmla="*/ 0 h 952499"/>
                      <a:gd name="connsiteX2" fmla="*/ 119063 w 166688"/>
                      <a:gd name="connsiteY2" fmla="*/ 252413 h 952499"/>
                      <a:gd name="connsiteX3" fmla="*/ 166688 w 166688"/>
                      <a:gd name="connsiteY3" fmla="*/ 952499 h 952499"/>
                      <a:gd name="connsiteX4" fmla="*/ 0 w 166688"/>
                      <a:gd name="connsiteY4" fmla="*/ 952499 h 952499"/>
                      <a:gd name="connsiteX5" fmla="*/ 0 w 166688"/>
                      <a:gd name="connsiteY5" fmla="*/ 154781 h 952499"/>
                      <a:gd name="connsiteX0" fmla="*/ 0 w 166688"/>
                      <a:gd name="connsiteY0" fmla="*/ 154781 h 952499"/>
                      <a:gd name="connsiteX1" fmla="*/ 102394 w 166688"/>
                      <a:gd name="connsiteY1" fmla="*/ 0 h 952499"/>
                      <a:gd name="connsiteX2" fmla="*/ 142875 w 166688"/>
                      <a:gd name="connsiteY2" fmla="*/ 250031 h 952499"/>
                      <a:gd name="connsiteX3" fmla="*/ 166688 w 166688"/>
                      <a:gd name="connsiteY3" fmla="*/ 952499 h 952499"/>
                      <a:gd name="connsiteX4" fmla="*/ 0 w 166688"/>
                      <a:gd name="connsiteY4" fmla="*/ 952499 h 952499"/>
                      <a:gd name="connsiteX5" fmla="*/ 0 w 166688"/>
                      <a:gd name="connsiteY5" fmla="*/ 154781 h 952499"/>
                      <a:gd name="connsiteX0" fmla="*/ 121444 w 288132"/>
                      <a:gd name="connsiteY0" fmla="*/ 154781 h 1078705"/>
                      <a:gd name="connsiteX1" fmla="*/ 223838 w 288132"/>
                      <a:gd name="connsiteY1" fmla="*/ 0 h 1078705"/>
                      <a:gd name="connsiteX2" fmla="*/ 264319 w 288132"/>
                      <a:gd name="connsiteY2" fmla="*/ 250031 h 1078705"/>
                      <a:gd name="connsiteX3" fmla="*/ 288132 w 288132"/>
                      <a:gd name="connsiteY3" fmla="*/ 952499 h 1078705"/>
                      <a:gd name="connsiteX4" fmla="*/ 0 w 288132"/>
                      <a:gd name="connsiteY4" fmla="*/ 1078705 h 1078705"/>
                      <a:gd name="connsiteX5" fmla="*/ 121444 w 288132"/>
                      <a:gd name="connsiteY5" fmla="*/ 154781 h 1078705"/>
                      <a:gd name="connsiteX0" fmla="*/ 121444 w 288132"/>
                      <a:gd name="connsiteY0" fmla="*/ 154781 h 1078705"/>
                      <a:gd name="connsiteX1" fmla="*/ 223838 w 288132"/>
                      <a:gd name="connsiteY1" fmla="*/ 0 h 1078705"/>
                      <a:gd name="connsiteX2" fmla="*/ 264319 w 288132"/>
                      <a:gd name="connsiteY2" fmla="*/ 250031 h 1078705"/>
                      <a:gd name="connsiteX3" fmla="*/ 288132 w 288132"/>
                      <a:gd name="connsiteY3" fmla="*/ 952499 h 1078705"/>
                      <a:gd name="connsiteX4" fmla="*/ 0 w 288132"/>
                      <a:gd name="connsiteY4" fmla="*/ 1078705 h 1078705"/>
                      <a:gd name="connsiteX5" fmla="*/ 121444 w 288132"/>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50031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61938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61938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319"/>
                      <a:gd name="connsiteY0" fmla="*/ 154781 h 1078705"/>
                      <a:gd name="connsiteX1" fmla="*/ 223838 w 264319"/>
                      <a:gd name="connsiteY1" fmla="*/ 0 h 1078705"/>
                      <a:gd name="connsiteX2" fmla="*/ 264319 w 264319"/>
                      <a:gd name="connsiteY2" fmla="*/ 261938 h 1078705"/>
                      <a:gd name="connsiteX3" fmla="*/ 40482 w 264319"/>
                      <a:gd name="connsiteY3" fmla="*/ 969168 h 1078705"/>
                      <a:gd name="connsiteX4" fmla="*/ 0 w 264319"/>
                      <a:gd name="connsiteY4" fmla="*/ 1078705 h 1078705"/>
                      <a:gd name="connsiteX5" fmla="*/ 121444 w 264319"/>
                      <a:gd name="connsiteY5" fmla="*/ 154781 h 1078705"/>
                      <a:gd name="connsiteX0" fmla="*/ 121444 w 264614"/>
                      <a:gd name="connsiteY0" fmla="*/ 154781 h 1078705"/>
                      <a:gd name="connsiteX1" fmla="*/ 223838 w 264614"/>
                      <a:gd name="connsiteY1" fmla="*/ 0 h 1078705"/>
                      <a:gd name="connsiteX2" fmla="*/ 264319 w 264614"/>
                      <a:gd name="connsiteY2" fmla="*/ 261938 h 1078705"/>
                      <a:gd name="connsiteX3" fmla="*/ 40482 w 264614"/>
                      <a:gd name="connsiteY3" fmla="*/ 969168 h 1078705"/>
                      <a:gd name="connsiteX4" fmla="*/ 0 w 264614"/>
                      <a:gd name="connsiteY4" fmla="*/ 1078705 h 1078705"/>
                      <a:gd name="connsiteX5" fmla="*/ 121444 w 264614"/>
                      <a:gd name="connsiteY5" fmla="*/ 154781 h 1078705"/>
                      <a:gd name="connsiteX0" fmla="*/ 121444 w 264614"/>
                      <a:gd name="connsiteY0" fmla="*/ 154781 h 1078705"/>
                      <a:gd name="connsiteX1" fmla="*/ 223838 w 264614"/>
                      <a:gd name="connsiteY1" fmla="*/ 0 h 1078705"/>
                      <a:gd name="connsiteX2" fmla="*/ 264319 w 264614"/>
                      <a:gd name="connsiteY2" fmla="*/ 261938 h 1078705"/>
                      <a:gd name="connsiteX3" fmla="*/ 40482 w 264614"/>
                      <a:gd name="connsiteY3" fmla="*/ 969168 h 1078705"/>
                      <a:gd name="connsiteX4" fmla="*/ 0 w 264614"/>
                      <a:gd name="connsiteY4" fmla="*/ 1078705 h 1078705"/>
                      <a:gd name="connsiteX5" fmla="*/ 121444 w 264614"/>
                      <a:gd name="connsiteY5" fmla="*/ 154781 h 1078705"/>
                      <a:gd name="connsiteX0" fmla="*/ 121444 w 264614"/>
                      <a:gd name="connsiteY0" fmla="*/ 154781 h 1078705"/>
                      <a:gd name="connsiteX1" fmla="*/ 223838 w 264614"/>
                      <a:gd name="connsiteY1" fmla="*/ 0 h 1078705"/>
                      <a:gd name="connsiteX2" fmla="*/ 264319 w 264614"/>
                      <a:gd name="connsiteY2" fmla="*/ 261938 h 1078705"/>
                      <a:gd name="connsiteX3" fmla="*/ 40482 w 264614"/>
                      <a:gd name="connsiteY3" fmla="*/ 969168 h 1078705"/>
                      <a:gd name="connsiteX4" fmla="*/ 0 w 264614"/>
                      <a:gd name="connsiteY4" fmla="*/ 1078705 h 1078705"/>
                      <a:gd name="connsiteX5" fmla="*/ 121444 w 264614"/>
                      <a:gd name="connsiteY5" fmla="*/ 154781 h 1078705"/>
                      <a:gd name="connsiteX0" fmla="*/ 121444 w 267176"/>
                      <a:gd name="connsiteY0" fmla="*/ 154781 h 1078705"/>
                      <a:gd name="connsiteX1" fmla="*/ 223838 w 267176"/>
                      <a:gd name="connsiteY1" fmla="*/ 0 h 1078705"/>
                      <a:gd name="connsiteX2" fmla="*/ 264319 w 267176"/>
                      <a:gd name="connsiteY2" fmla="*/ 261938 h 1078705"/>
                      <a:gd name="connsiteX3" fmla="*/ 40482 w 267176"/>
                      <a:gd name="connsiteY3" fmla="*/ 969168 h 1078705"/>
                      <a:gd name="connsiteX4" fmla="*/ 0 w 267176"/>
                      <a:gd name="connsiteY4" fmla="*/ 1078705 h 1078705"/>
                      <a:gd name="connsiteX5" fmla="*/ 121444 w 267176"/>
                      <a:gd name="connsiteY5" fmla="*/ 154781 h 1078705"/>
                      <a:gd name="connsiteX0" fmla="*/ 121444 w 267176"/>
                      <a:gd name="connsiteY0" fmla="*/ 154781 h 1078705"/>
                      <a:gd name="connsiteX1" fmla="*/ 223838 w 267176"/>
                      <a:gd name="connsiteY1" fmla="*/ 0 h 1078705"/>
                      <a:gd name="connsiteX2" fmla="*/ 264319 w 267176"/>
                      <a:gd name="connsiteY2" fmla="*/ 261938 h 1078705"/>
                      <a:gd name="connsiteX3" fmla="*/ 40482 w 267176"/>
                      <a:gd name="connsiteY3" fmla="*/ 969168 h 1078705"/>
                      <a:gd name="connsiteX4" fmla="*/ 0 w 267176"/>
                      <a:gd name="connsiteY4" fmla="*/ 1078705 h 1078705"/>
                      <a:gd name="connsiteX5" fmla="*/ 121444 w 267176"/>
                      <a:gd name="connsiteY5" fmla="*/ 154781 h 1078705"/>
                      <a:gd name="connsiteX0" fmla="*/ 130969 w 267176"/>
                      <a:gd name="connsiteY0" fmla="*/ 135731 h 1078705"/>
                      <a:gd name="connsiteX1" fmla="*/ 223838 w 267176"/>
                      <a:gd name="connsiteY1" fmla="*/ 0 h 1078705"/>
                      <a:gd name="connsiteX2" fmla="*/ 264319 w 267176"/>
                      <a:gd name="connsiteY2" fmla="*/ 261938 h 1078705"/>
                      <a:gd name="connsiteX3" fmla="*/ 40482 w 267176"/>
                      <a:gd name="connsiteY3" fmla="*/ 969168 h 1078705"/>
                      <a:gd name="connsiteX4" fmla="*/ 0 w 267176"/>
                      <a:gd name="connsiteY4" fmla="*/ 1078705 h 1078705"/>
                      <a:gd name="connsiteX5" fmla="*/ 130969 w 267176"/>
                      <a:gd name="connsiteY5" fmla="*/ 135731 h 1078705"/>
                      <a:gd name="connsiteX0" fmla="*/ 130969 w 343908"/>
                      <a:gd name="connsiteY0" fmla="*/ 135731 h 1078705"/>
                      <a:gd name="connsiteX1" fmla="*/ 223838 w 343908"/>
                      <a:gd name="connsiteY1" fmla="*/ 0 h 1078705"/>
                      <a:gd name="connsiteX2" fmla="*/ 342901 w 343908"/>
                      <a:gd name="connsiteY2" fmla="*/ 502444 h 1078705"/>
                      <a:gd name="connsiteX3" fmla="*/ 40482 w 343908"/>
                      <a:gd name="connsiteY3" fmla="*/ 969168 h 1078705"/>
                      <a:gd name="connsiteX4" fmla="*/ 0 w 343908"/>
                      <a:gd name="connsiteY4" fmla="*/ 1078705 h 1078705"/>
                      <a:gd name="connsiteX5" fmla="*/ 130969 w 343908"/>
                      <a:gd name="connsiteY5" fmla="*/ 135731 h 1078705"/>
                      <a:gd name="connsiteX0" fmla="*/ 204788 w 417727"/>
                      <a:gd name="connsiteY0" fmla="*/ 135731 h 1047748"/>
                      <a:gd name="connsiteX1" fmla="*/ 297657 w 417727"/>
                      <a:gd name="connsiteY1" fmla="*/ 0 h 1047748"/>
                      <a:gd name="connsiteX2" fmla="*/ 416720 w 417727"/>
                      <a:gd name="connsiteY2" fmla="*/ 502444 h 1047748"/>
                      <a:gd name="connsiteX3" fmla="*/ 114301 w 417727"/>
                      <a:gd name="connsiteY3" fmla="*/ 969168 h 1047748"/>
                      <a:gd name="connsiteX4" fmla="*/ 0 w 417727"/>
                      <a:gd name="connsiteY4" fmla="*/ 1047748 h 1047748"/>
                      <a:gd name="connsiteX5" fmla="*/ 204788 w 417727"/>
                      <a:gd name="connsiteY5" fmla="*/ 135731 h 1047748"/>
                      <a:gd name="connsiteX0" fmla="*/ 204788 w 417727"/>
                      <a:gd name="connsiteY0" fmla="*/ 135731 h 1047748"/>
                      <a:gd name="connsiteX1" fmla="*/ 297657 w 417727"/>
                      <a:gd name="connsiteY1" fmla="*/ 0 h 1047748"/>
                      <a:gd name="connsiteX2" fmla="*/ 416720 w 417727"/>
                      <a:gd name="connsiteY2" fmla="*/ 502444 h 1047748"/>
                      <a:gd name="connsiteX3" fmla="*/ 76201 w 417727"/>
                      <a:gd name="connsiteY3" fmla="*/ 964405 h 1047748"/>
                      <a:gd name="connsiteX4" fmla="*/ 0 w 417727"/>
                      <a:gd name="connsiteY4" fmla="*/ 1047748 h 1047748"/>
                      <a:gd name="connsiteX5" fmla="*/ 204788 w 417727"/>
                      <a:gd name="connsiteY5" fmla="*/ 135731 h 1047748"/>
                      <a:gd name="connsiteX0" fmla="*/ 204788 w 417727"/>
                      <a:gd name="connsiteY0" fmla="*/ 135731 h 1047748"/>
                      <a:gd name="connsiteX1" fmla="*/ 297657 w 417727"/>
                      <a:gd name="connsiteY1" fmla="*/ 0 h 1047748"/>
                      <a:gd name="connsiteX2" fmla="*/ 416720 w 417727"/>
                      <a:gd name="connsiteY2" fmla="*/ 502444 h 1047748"/>
                      <a:gd name="connsiteX3" fmla="*/ 76201 w 417727"/>
                      <a:gd name="connsiteY3" fmla="*/ 964405 h 1047748"/>
                      <a:gd name="connsiteX4" fmla="*/ 0 w 417727"/>
                      <a:gd name="connsiteY4" fmla="*/ 1047748 h 1047748"/>
                      <a:gd name="connsiteX5" fmla="*/ 204788 w 417727"/>
                      <a:gd name="connsiteY5" fmla="*/ 135731 h 1047748"/>
                      <a:gd name="connsiteX0" fmla="*/ 204788 w 417791"/>
                      <a:gd name="connsiteY0" fmla="*/ 45244 h 957261"/>
                      <a:gd name="connsiteX1" fmla="*/ 304801 w 417791"/>
                      <a:gd name="connsiteY1" fmla="*/ 0 h 957261"/>
                      <a:gd name="connsiteX2" fmla="*/ 416720 w 417791"/>
                      <a:gd name="connsiteY2" fmla="*/ 411957 h 957261"/>
                      <a:gd name="connsiteX3" fmla="*/ 76201 w 417791"/>
                      <a:gd name="connsiteY3" fmla="*/ 873918 h 957261"/>
                      <a:gd name="connsiteX4" fmla="*/ 0 w 417791"/>
                      <a:gd name="connsiteY4" fmla="*/ 957261 h 957261"/>
                      <a:gd name="connsiteX5" fmla="*/ 204788 w 417791"/>
                      <a:gd name="connsiteY5" fmla="*/ 45244 h 957261"/>
                      <a:gd name="connsiteX0" fmla="*/ 204788 w 419897"/>
                      <a:gd name="connsiteY0" fmla="*/ 45244 h 957261"/>
                      <a:gd name="connsiteX1" fmla="*/ 304801 w 419897"/>
                      <a:gd name="connsiteY1" fmla="*/ 0 h 957261"/>
                      <a:gd name="connsiteX2" fmla="*/ 416720 w 419897"/>
                      <a:gd name="connsiteY2" fmla="*/ 411957 h 957261"/>
                      <a:gd name="connsiteX3" fmla="*/ 76201 w 419897"/>
                      <a:gd name="connsiteY3" fmla="*/ 873918 h 957261"/>
                      <a:gd name="connsiteX4" fmla="*/ 0 w 419897"/>
                      <a:gd name="connsiteY4" fmla="*/ 957261 h 957261"/>
                      <a:gd name="connsiteX5" fmla="*/ 204788 w 419897"/>
                      <a:gd name="connsiteY5" fmla="*/ 45244 h 957261"/>
                      <a:gd name="connsiteX0" fmla="*/ 204788 w 422467"/>
                      <a:gd name="connsiteY0" fmla="*/ 45244 h 957261"/>
                      <a:gd name="connsiteX1" fmla="*/ 304801 w 422467"/>
                      <a:gd name="connsiteY1" fmla="*/ 0 h 957261"/>
                      <a:gd name="connsiteX2" fmla="*/ 416720 w 422467"/>
                      <a:gd name="connsiteY2" fmla="*/ 411957 h 957261"/>
                      <a:gd name="connsiteX3" fmla="*/ 76201 w 422467"/>
                      <a:gd name="connsiteY3" fmla="*/ 873918 h 957261"/>
                      <a:gd name="connsiteX4" fmla="*/ 0 w 422467"/>
                      <a:gd name="connsiteY4" fmla="*/ 957261 h 957261"/>
                      <a:gd name="connsiteX5" fmla="*/ 204788 w 422467"/>
                      <a:gd name="connsiteY5" fmla="*/ 45244 h 957261"/>
                      <a:gd name="connsiteX0" fmla="*/ 204788 w 422467"/>
                      <a:gd name="connsiteY0" fmla="*/ 45244 h 957261"/>
                      <a:gd name="connsiteX1" fmla="*/ 304801 w 422467"/>
                      <a:gd name="connsiteY1" fmla="*/ 0 h 957261"/>
                      <a:gd name="connsiteX2" fmla="*/ 416720 w 422467"/>
                      <a:gd name="connsiteY2" fmla="*/ 411957 h 957261"/>
                      <a:gd name="connsiteX3" fmla="*/ 76201 w 422467"/>
                      <a:gd name="connsiteY3" fmla="*/ 873918 h 957261"/>
                      <a:gd name="connsiteX4" fmla="*/ 0 w 422467"/>
                      <a:gd name="connsiteY4" fmla="*/ 957261 h 957261"/>
                      <a:gd name="connsiteX5" fmla="*/ 204788 w 422467"/>
                      <a:gd name="connsiteY5" fmla="*/ 45244 h 957261"/>
                      <a:gd name="connsiteX0" fmla="*/ 204788 w 422467"/>
                      <a:gd name="connsiteY0" fmla="*/ 45693 h 957710"/>
                      <a:gd name="connsiteX1" fmla="*/ 304801 w 422467"/>
                      <a:gd name="connsiteY1" fmla="*/ 449 h 957710"/>
                      <a:gd name="connsiteX2" fmla="*/ 416720 w 422467"/>
                      <a:gd name="connsiteY2" fmla="*/ 412406 h 957710"/>
                      <a:gd name="connsiteX3" fmla="*/ 76201 w 422467"/>
                      <a:gd name="connsiteY3" fmla="*/ 874367 h 957710"/>
                      <a:gd name="connsiteX4" fmla="*/ 0 w 422467"/>
                      <a:gd name="connsiteY4" fmla="*/ 957710 h 957710"/>
                      <a:gd name="connsiteX5" fmla="*/ 204788 w 422467"/>
                      <a:gd name="connsiteY5" fmla="*/ 45693 h 957710"/>
                      <a:gd name="connsiteX0" fmla="*/ 217164 w 434843"/>
                      <a:gd name="connsiteY0" fmla="*/ 45693 h 964074"/>
                      <a:gd name="connsiteX1" fmla="*/ 317177 w 434843"/>
                      <a:gd name="connsiteY1" fmla="*/ 449 h 964074"/>
                      <a:gd name="connsiteX2" fmla="*/ 429096 w 434843"/>
                      <a:gd name="connsiteY2" fmla="*/ 412406 h 964074"/>
                      <a:gd name="connsiteX3" fmla="*/ 88577 w 434843"/>
                      <a:gd name="connsiteY3" fmla="*/ 874367 h 964074"/>
                      <a:gd name="connsiteX4" fmla="*/ 12376 w 434843"/>
                      <a:gd name="connsiteY4" fmla="*/ 957710 h 964074"/>
                      <a:gd name="connsiteX5" fmla="*/ 21665 w 434843"/>
                      <a:gd name="connsiteY5" fmla="*/ 855320 h 964074"/>
                      <a:gd name="connsiteX6" fmla="*/ 217164 w 434843"/>
                      <a:gd name="connsiteY6" fmla="*/ 45693 h 964074"/>
                      <a:gd name="connsiteX0" fmla="*/ 227906 w 445585"/>
                      <a:gd name="connsiteY0" fmla="*/ 45693 h 959858"/>
                      <a:gd name="connsiteX1" fmla="*/ 327919 w 445585"/>
                      <a:gd name="connsiteY1" fmla="*/ 449 h 959858"/>
                      <a:gd name="connsiteX2" fmla="*/ 439838 w 445585"/>
                      <a:gd name="connsiteY2" fmla="*/ 412406 h 959858"/>
                      <a:gd name="connsiteX3" fmla="*/ 99319 w 445585"/>
                      <a:gd name="connsiteY3" fmla="*/ 874367 h 959858"/>
                      <a:gd name="connsiteX4" fmla="*/ 23118 w 445585"/>
                      <a:gd name="connsiteY4" fmla="*/ 957710 h 959858"/>
                      <a:gd name="connsiteX5" fmla="*/ 15738 w 445585"/>
                      <a:gd name="connsiteY5" fmla="*/ 841032 h 959858"/>
                      <a:gd name="connsiteX6" fmla="*/ 227906 w 445585"/>
                      <a:gd name="connsiteY6" fmla="*/ 45693 h 959858"/>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12168 w 429847"/>
                      <a:gd name="connsiteY6"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12168 w 429847"/>
                      <a:gd name="connsiteY6"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166688 w 429847"/>
                      <a:gd name="connsiteY6" fmla="*/ 179045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12168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12168 w 429847"/>
                      <a:gd name="connsiteY7" fmla="*/ 45693 h 957710"/>
                      <a:gd name="connsiteX0" fmla="*/ 209786 w 429847"/>
                      <a:gd name="connsiteY0" fmla="*/ 45693 h 957710"/>
                      <a:gd name="connsiteX1" fmla="*/ 312181 w 429847"/>
                      <a:gd name="connsiteY1" fmla="*/ 449 h 957710"/>
                      <a:gd name="connsiteX2" fmla="*/ 424100 w 429847"/>
                      <a:gd name="connsiteY2" fmla="*/ 412406 h 957710"/>
                      <a:gd name="connsiteX3" fmla="*/ 83581 w 429847"/>
                      <a:gd name="connsiteY3" fmla="*/ 874367 h 957710"/>
                      <a:gd name="connsiteX4" fmla="*/ 7380 w 429847"/>
                      <a:gd name="connsiteY4" fmla="*/ 957710 h 957710"/>
                      <a:gd name="connsiteX5" fmla="*/ 0 w 429847"/>
                      <a:gd name="connsiteY5" fmla="*/ 841032 h 957710"/>
                      <a:gd name="connsiteX6" fmla="*/ 209550 w 429847"/>
                      <a:gd name="connsiteY6" fmla="*/ 176664 h 957710"/>
                      <a:gd name="connsiteX7" fmla="*/ 209786 w 429847"/>
                      <a:gd name="connsiteY7" fmla="*/ 45693 h 957710"/>
                      <a:gd name="connsiteX0" fmla="*/ 94759 w 429847"/>
                      <a:gd name="connsiteY0" fmla="*/ 87208 h 957392"/>
                      <a:gd name="connsiteX1" fmla="*/ 312181 w 429847"/>
                      <a:gd name="connsiteY1" fmla="*/ 131 h 957392"/>
                      <a:gd name="connsiteX2" fmla="*/ 424100 w 429847"/>
                      <a:gd name="connsiteY2" fmla="*/ 412088 h 957392"/>
                      <a:gd name="connsiteX3" fmla="*/ 83581 w 429847"/>
                      <a:gd name="connsiteY3" fmla="*/ 874049 h 957392"/>
                      <a:gd name="connsiteX4" fmla="*/ 7380 w 429847"/>
                      <a:gd name="connsiteY4" fmla="*/ 957392 h 957392"/>
                      <a:gd name="connsiteX5" fmla="*/ 0 w 429847"/>
                      <a:gd name="connsiteY5" fmla="*/ 840714 h 957392"/>
                      <a:gd name="connsiteX6" fmla="*/ 209550 w 429847"/>
                      <a:gd name="connsiteY6" fmla="*/ 176346 h 957392"/>
                      <a:gd name="connsiteX7" fmla="*/ 94759 w 429847"/>
                      <a:gd name="connsiteY7" fmla="*/ 87208 h 957392"/>
                      <a:gd name="connsiteX0" fmla="*/ 94759 w 429847"/>
                      <a:gd name="connsiteY0" fmla="*/ 87208 h 957392"/>
                      <a:gd name="connsiteX1" fmla="*/ 312181 w 429847"/>
                      <a:gd name="connsiteY1" fmla="*/ 131 h 957392"/>
                      <a:gd name="connsiteX2" fmla="*/ 424100 w 429847"/>
                      <a:gd name="connsiteY2" fmla="*/ 412088 h 957392"/>
                      <a:gd name="connsiteX3" fmla="*/ 83581 w 429847"/>
                      <a:gd name="connsiteY3" fmla="*/ 874049 h 957392"/>
                      <a:gd name="connsiteX4" fmla="*/ 7380 w 429847"/>
                      <a:gd name="connsiteY4" fmla="*/ 957392 h 957392"/>
                      <a:gd name="connsiteX5" fmla="*/ 0 w 429847"/>
                      <a:gd name="connsiteY5" fmla="*/ 840714 h 957392"/>
                      <a:gd name="connsiteX6" fmla="*/ 85252 w 429847"/>
                      <a:gd name="connsiteY6" fmla="*/ 143073 h 957392"/>
                      <a:gd name="connsiteX7" fmla="*/ 94759 w 429847"/>
                      <a:gd name="connsiteY7" fmla="*/ 87208 h 957392"/>
                      <a:gd name="connsiteX0" fmla="*/ 90557 w 425645"/>
                      <a:gd name="connsiteY0" fmla="*/ 87208 h 957392"/>
                      <a:gd name="connsiteX1" fmla="*/ 307979 w 425645"/>
                      <a:gd name="connsiteY1" fmla="*/ 131 h 957392"/>
                      <a:gd name="connsiteX2" fmla="*/ 419898 w 425645"/>
                      <a:gd name="connsiteY2" fmla="*/ 412088 h 957392"/>
                      <a:gd name="connsiteX3" fmla="*/ 79379 w 425645"/>
                      <a:gd name="connsiteY3" fmla="*/ 874049 h 957392"/>
                      <a:gd name="connsiteX4" fmla="*/ 3178 w 425645"/>
                      <a:gd name="connsiteY4" fmla="*/ 957392 h 957392"/>
                      <a:gd name="connsiteX5" fmla="*/ 10152 w 425645"/>
                      <a:gd name="connsiteY5" fmla="*/ 875027 h 957392"/>
                      <a:gd name="connsiteX6" fmla="*/ 81050 w 425645"/>
                      <a:gd name="connsiteY6" fmla="*/ 143073 h 957392"/>
                      <a:gd name="connsiteX7" fmla="*/ 90557 w 425645"/>
                      <a:gd name="connsiteY7" fmla="*/ 87208 h 957392"/>
                      <a:gd name="connsiteX0" fmla="*/ 90557 w 425645"/>
                      <a:gd name="connsiteY0" fmla="*/ 87208 h 957392"/>
                      <a:gd name="connsiteX1" fmla="*/ 307979 w 425645"/>
                      <a:gd name="connsiteY1" fmla="*/ 131 h 957392"/>
                      <a:gd name="connsiteX2" fmla="*/ 419898 w 425645"/>
                      <a:gd name="connsiteY2" fmla="*/ 412088 h 957392"/>
                      <a:gd name="connsiteX3" fmla="*/ 79379 w 425645"/>
                      <a:gd name="connsiteY3" fmla="*/ 874049 h 957392"/>
                      <a:gd name="connsiteX4" fmla="*/ 3178 w 425645"/>
                      <a:gd name="connsiteY4" fmla="*/ 957392 h 957392"/>
                      <a:gd name="connsiteX5" fmla="*/ 10152 w 425645"/>
                      <a:gd name="connsiteY5" fmla="*/ 875027 h 957392"/>
                      <a:gd name="connsiteX6" fmla="*/ 39361 w 425645"/>
                      <a:gd name="connsiteY6" fmla="*/ 691646 h 957392"/>
                      <a:gd name="connsiteX7" fmla="*/ 81050 w 425645"/>
                      <a:gd name="connsiteY7" fmla="*/ 143073 h 957392"/>
                      <a:gd name="connsiteX8" fmla="*/ 90557 w 425645"/>
                      <a:gd name="connsiteY8" fmla="*/ 87208 h 957392"/>
                      <a:gd name="connsiteX0" fmla="*/ 119059 w 454147"/>
                      <a:gd name="connsiteY0" fmla="*/ 87208 h 957392"/>
                      <a:gd name="connsiteX1" fmla="*/ 336481 w 454147"/>
                      <a:gd name="connsiteY1" fmla="*/ 131 h 957392"/>
                      <a:gd name="connsiteX2" fmla="*/ 448400 w 454147"/>
                      <a:gd name="connsiteY2" fmla="*/ 412088 h 957392"/>
                      <a:gd name="connsiteX3" fmla="*/ 107881 w 454147"/>
                      <a:gd name="connsiteY3" fmla="*/ 874049 h 957392"/>
                      <a:gd name="connsiteX4" fmla="*/ 31680 w 454147"/>
                      <a:gd name="connsiteY4" fmla="*/ 957392 h 957392"/>
                      <a:gd name="connsiteX5" fmla="*/ 38654 w 454147"/>
                      <a:gd name="connsiteY5" fmla="*/ 875027 h 957392"/>
                      <a:gd name="connsiteX6" fmla="*/ 1673 w 454147"/>
                      <a:gd name="connsiteY6" fmla="*/ 858136 h 957392"/>
                      <a:gd name="connsiteX7" fmla="*/ 109552 w 454147"/>
                      <a:gd name="connsiteY7" fmla="*/ 143073 h 957392"/>
                      <a:gd name="connsiteX8" fmla="*/ 119059 w 454147"/>
                      <a:gd name="connsiteY8" fmla="*/ 87208 h 957392"/>
                      <a:gd name="connsiteX0" fmla="*/ 117386 w 452474"/>
                      <a:gd name="connsiteY0" fmla="*/ 87208 h 957392"/>
                      <a:gd name="connsiteX1" fmla="*/ 334808 w 452474"/>
                      <a:gd name="connsiteY1" fmla="*/ 131 h 957392"/>
                      <a:gd name="connsiteX2" fmla="*/ 446727 w 452474"/>
                      <a:gd name="connsiteY2" fmla="*/ 412088 h 957392"/>
                      <a:gd name="connsiteX3" fmla="*/ 106208 w 452474"/>
                      <a:gd name="connsiteY3" fmla="*/ 874049 h 957392"/>
                      <a:gd name="connsiteX4" fmla="*/ 30007 w 452474"/>
                      <a:gd name="connsiteY4" fmla="*/ 957392 h 957392"/>
                      <a:gd name="connsiteX5" fmla="*/ 36981 w 452474"/>
                      <a:gd name="connsiteY5" fmla="*/ 875027 h 957392"/>
                      <a:gd name="connsiteX6" fmla="*/ 0 w 452474"/>
                      <a:gd name="connsiteY6" fmla="*/ 858136 h 957392"/>
                      <a:gd name="connsiteX7" fmla="*/ 107879 w 452474"/>
                      <a:gd name="connsiteY7" fmla="*/ 143073 h 957392"/>
                      <a:gd name="connsiteX8" fmla="*/ 117386 w 452474"/>
                      <a:gd name="connsiteY8" fmla="*/ 87208 h 957392"/>
                      <a:gd name="connsiteX0" fmla="*/ 117386 w 452474"/>
                      <a:gd name="connsiteY0" fmla="*/ 87208 h 957392"/>
                      <a:gd name="connsiteX1" fmla="*/ 334808 w 452474"/>
                      <a:gd name="connsiteY1" fmla="*/ 131 h 957392"/>
                      <a:gd name="connsiteX2" fmla="*/ 446727 w 452474"/>
                      <a:gd name="connsiteY2" fmla="*/ 412088 h 957392"/>
                      <a:gd name="connsiteX3" fmla="*/ 106208 w 452474"/>
                      <a:gd name="connsiteY3" fmla="*/ 874049 h 957392"/>
                      <a:gd name="connsiteX4" fmla="*/ 30007 w 452474"/>
                      <a:gd name="connsiteY4" fmla="*/ 957392 h 957392"/>
                      <a:gd name="connsiteX5" fmla="*/ 36981 w 452474"/>
                      <a:gd name="connsiteY5" fmla="*/ 875027 h 957392"/>
                      <a:gd name="connsiteX6" fmla="*/ 0 w 452474"/>
                      <a:gd name="connsiteY6" fmla="*/ 858136 h 957392"/>
                      <a:gd name="connsiteX7" fmla="*/ 107879 w 452474"/>
                      <a:gd name="connsiteY7" fmla="*/ 143073 h 957392"/>
                      <a:gd name="connsiteX8" fmla="*/ 117386 w 452474"/>
                      <a:gd name="connsiteY8" fmla="*/ 87208 h 957392"/>
                      <a:gd name="connsiteX0" fmla="*/ 117386 w 452474"/>
                      <a:gd name="connsiteY0" fmla="*/ 87208 h 957392"/>
                      <a:gd name="connsiteX1" fmla="*/ 334808 w 452474"/>
                      <a:gd name="connsiteY1" fmla="*/ 131 h 957392"/>
                      <a:gd name="connsiteX2" fmla="*/ 446727 w 452474"/>
                      <a:gd name="connsiteY2" fmla="*/ 412088 h 957392"/>
                      <a:gd name="connsiteX3" fmla="*/ 106208 w 452474"/>
                      <a:gd name="connsiteY3" fmla="*/ 874049 h 957392"/>
                      <a:gd name="connsiteX4" fmla="*/ 30007 w 452474"/>
                      <a:gd name="connsiteY4" fmla="*/ 957392 h 957392"/>
                      <a:gd name="connsiteX5" fmla="*/ 36981 w 452474"/>
                      <a:gd name="connsiteY5" fmla="*/ 875027 h 957392"/>
                      <a:gd name="connsiteX6" fmla="*/ 0 w 452474"/>
                      <a:gd name="connsiteY6" fmla="*/ 858136 h 957392"/>
                      <a:gd name="connsiteX7" fmla="*/ 107879 w 452474"/>
                      <a:gd name="connsiteY7" fmla="*/ 143073 h 957392"/>
                      <a:gd name="connsiteX8" fmla="*/ 117386 w 452474"/>
                      <a:gd name="connsiteY8" fmla="*/ 87208 h 957392"/>
                      <a:gd name="connsiteX0" fmla="*/ 117386 w 452474"/>
                      <a:gd name="connsiteY0" fmla="*/ 87208 h 957392"/>
                      <a:gd name="connsiteX1" fmla="*/ 334808 w 452474"/>
                      <a:gd name="connsiteY1" fmla="*/ 131 h 957392"/>
                      <a:gd name="connsiteX2" fmla="*/ 446727 w 452474"/>
                      <a:gd name="connsiteY2" fmla="*/ 412088 h 957392"/>
                      <a:gd name="connsiteX3" fmla="*/ 106208 w 452474"/>
                      <a:gd name="connsiteY3" fmla="*/ 874049 h 957392"/>
                      <a:gd name="connsiteX4" fmla="*/ 30007 w 452474"/>
                      <a:gd name="connsiteY4" fmla="*/ 957392 h 957392"/>
                      <a:gd name="connsiteX5" fmla="*/ 36981 w 452474"/>
                      <a:gd name="connsiteY5" fmla="*/ 875027 h 957392"/>
                      <a:gd name="connsiteX6" fmla="*/ 0 w 452474"/>
                      <a:gd name="connsiteY6" fmla="*/ 858136 h 957392"/>
                      <a:gd name="connsiteX7" fmla="*/ 107879 w 452474"/>
                      <a:gd name="connsiteY7" fmla="*/ 143073 h 957392"/>
                      <a:gd name="connsiteX8" fmla="*/ 117386 w 452474"/>
                      <a:gd name="connsiteY8" fmla="*/ 87208 h 957392"/>
                      <a:gd name="connsiteX0" fmla="*/ 119489 w 454577"/>
                      <a:gd name="connsiteY0" fmla="*/ 87208 h 957392"/>
                      <a:gd name="connsiteX1" fmla="*/ 336911 w 454577"/>
                      <a:gd name="connsiteY1" fmla="*/ 131 h 957392"/>
                      <a:gd name="connsiteX2" fmla="*/ 448830 w 454577"/>
                      <a:gd name="connsiteY2" fmla="*/ 412088 h 957392"/>
                      <a:gd name="connsiteX3" fmla="*/ 108311 w 454577"/>
                      <a:gd name="connsiteY3" fmla="*/ 874049 h 957392"/>
                      <a:gd name="connsiteX4" fmla="*/ 32110 w 454577"/>
                      <a:gd name="connsiteY4" fmla="*/ 957392 h 957392"/>
                      <a:gd name="connsiteX5" fmla="*/ 39084 w 454577"/>
                      <a:gd name="connsiteY5" fmla="*/ 875027 h 957392"/>
                      <a:gd name="connsiteX6" fmla="*/ 0 w 454577"/>
                      <a:gd name="connsiteY6" fmla="*/ 864964 h 957392"/>
                      <a:gd name="connsiteX7" fmla="*/ 109982 w 454577"/>
                      <a:gd name="connsiteY7" fmla="*/ 143073 h 957392"/>
                      <a:gd name="connsiteX8" fmla="*/ 119489 w 454577"/>
                      <a:gd name="connsiteY8" fmla="*/ 87208 h 957392"/>
                      <a:gd name="connsiteX0" fmla="*/ 119489 w 454577"/>
                      <a:gd name="connsiteY0" fmla="*/ 87208 h 957392"/>
                      <a:gd name="connsiteX1" fmla="*/ 336911 w 454577"/>
                      <a:gd name="connsiteY1" fmla="*/ 131 h 957392"/>
                      <a:gd name="connsiteX2" fmla="*/ 448830 w 454577"/>
                      <a:gd name="connsiteY2" fmla="*/ 412088 h 957392"/>
                      <a:gd name="connsiteX3" fmla="*/ 108311 w 454577"/>
                      <a:gd name="connsiteY3" fmla="*/ 874049 h 957392"/>
                      <a:gd name="connsiteX4" fmla="*/ 32110 w 454577"/>
                      <a:gd name="connsiteY4" fmla="*/ 957392 h 957392"/>
                      <a:gd name="connsiteX5" fmla="*/ 39084 w 454577"/>
                      <a:gd name="connsiteY5" fmla="*/ 875027 h 957392"/>
                      <a:gd name="connsiteX6" fmla="*/ 0 w 454577"/>
                      <a:gd name="connsiteY6" fmla="*/ 864964 h 957392"/>
                      <a:gd name="connsiteX7" fmla="*/ 109982 w 454577"/>
                      <a:gd name="connsiteY7" fmla="*/ 143073 h 957392"/>
                      <a:gd name="connsiteX8" fmla="*/ 119489 w 454577"/>
                      <a:gd name="connsiteY8" fmla="*/ 87208 h 957392"/>
                      <a:gd name="connsiteX0" fmla="*/ 119489 w 454577"/>
                      <a:gd name="connsiteY0" fmla="*/ 87208 h 957392"/>
                      <a:gd name="connsiteX1" fmla="*/ 336911 w 454577"/>
                      <a:gd name="connsiteY1" fmla="*/ 131 h 957392"/>
                      <a:gd name="connsiteX2" fmla="*/ 448830 w 454577"/>
                      <a:gd name="connsiteY2" fmla="*/ 412088 h 957392"/>
                      <a:gd name="connsiteX3" fmla="*/ 108311 w 454577"/>
                      <a:gd name="connsiteY3" fmla="*/ 874049 h 957392"/>
                      <a:gd name="connsiteX4" fmla="*/ 32110 w 454577"/>
                      <a:gd name="connsiteY4" fmla="*/ 957392 h 957392"/>
                      <a:gd name="connsiteX5" fmla="*/ 39084 w 454577"/>
                      <a:gd name="connsiteY5" fmla="*/ 875027 h 957392"/>
                      <a:gd name="connsiteX6" fmla="*/ 0 w 454577"/>
                      <a:gd name="connsiteY6" fmla="*/ 864964 h 957392"/>
                      <a:gd name="connsiteX7" fmla="*/ 104730 w 454577"/>
                      <a:gd name="connsiteY7" fmla="*/ 143948 h 957392"/>
                      <a:gd name="connsiteX8" fmla="*/ 119489 w 454577"/>
                      <a:gd name="connsiteY8" fmla="*/ 87208 h 957392"/>
                      <a:gd name="connsiteX0" fmla="*/ 120366 w 455454"/>
                      <a:gd name="connsiteY0" fmla="*/ 87208 h 957392"/>
                      <a:gd name="connsiteX1" fmla="*/ 337788 w 455454"/>
                      <a:gd name="connsiteY1" fmla="*/ 131 h 957392"/>
                      <a:gd name="connsiteX2" fmla="*/ 449707 w 455454"/>
                      <a:gd name="connsiteY2" fmla="*/ 412088 h 957392"/>
                      <a:gd name="connsiteX3" fmla="*/ 109188 w 455454"/>
                      <a:gd name="connsiteY3" fmla="*/ 874049 h 957392"/>
                      <a:gd name="connsiteX4" fmla="*/ 32987 w 455454"/>
                      <a:gd name="connsiteY4" fmla="*/ 957392 h 957392"/>
                      <a:gd name="connsiteX5" fmla="*/ 39961 w 455454"/>
                      <a:gd name="connsiteY5" fmla="*/ 875027 h 957392"/>
                      <a:gd name="connsiteX6" fmla="*/ 0 w 455454"/>
                      <a:gd name="connsiteY6" fmla="*/ 859711 h 957392"/>
                      <a:gd name="connsiteX7" fmla="*/ 105607 w 455454"/>
                      <a:gd name="connsiteY7" fmla="*/ 143948 h 957392"/>
                      <a:gd name="connsiteX8" fmla="*/ 120366 w 455454"/>
                      <a:gd name="connsiteY8" fmla="*/ 87208 h 957392"/>
                      <a:gd name="connsiteX0" fmla="*/ 120366 w 455454"/>
                      <a:gd name="connsiteY0" fmla="*/ 87208 h 957392"/>
                      <a:gd name="connsiteX1" fmla="*/ 337788 w 455454"/>
                      <a:gd name="connsiteY1" fmla="*/ 131 h 957392"/>
                      <a:gd name="connsiteX2" fmla="*/ 449707 w 455454"/>
                      <a:gd name="connsiteY2" fmla="*/ 412088 h 957392"/>
                      <a:gd name="connsiteX3" fmla="*/ 109188 w 455454"/>
                      <a:gd name="connsiteY3" fmla="*/ 874049 h 957392"/>
                      <a:gd name="connsiteX4" fmla="*/ 32987 w 455454"/>
                      <a:gd name="connsiteY4" fmla="*/ 957392 h 957392"/>
                      <a:gd name="connsiteX5" fmla="*/ 39961 w 455454"/>
                      <a:gd name="connsiteY5" fmla="*/ 875027 h 957392"/>
                      <a:gd name="connsiteX6" fmla="*/ 0 w 455454"/>
                      <a:gd name="connsiteY6" fmla="*/ 859711 h 957392"/>
                      <a:gd name="connsiteX7" fmla="*/ 105607 w 455454"/>
                      <a:gd name="connsiteY7" fmla="*/ 143948 h 957392"/>
                      <a:gd name="connsiteX8" fmla="*/ 120366 w 455454"/>
                      <a:gd name="connsiteY8" fmla="*/ 87208 h 957392"/>
                      <a:gd name="connsiteX0" fmla="*/ 120366 w 454848"/>
                      <a:gd name="connsiteY0" fmla="*/ 64533 h 934717"/>
                      <a:gd name="connsiteX1" fmla="*/ 330783 w 454848"/>
                      <a:gd name="connsiteY1" fmla="*/ 215 h 934717"/>
                      <a:gd name="connsiteX2" fmla="*/ 449707 w 454848"/>
                      <a:gd name="connsiteY2" fmla="*/ 389413 h 934717"/>
                      <a:gd name="connsiteX3" fmla="*/ 109188 w 454848"/>
                      <a:gd name="connsiteY3" fmla="*/ 851374 h 934717"/>
                      <a:gd name="connsiteX4" fmla="*/ 32987 w 454848"/>
                      <a:gd name="connsiteY4" fmla="*/ 934717 h 934717"/>
                      <a:gd name="connsiteX5" fmla="*/ 39961 w 454848"/>
                      <a:gd name="connsiteY5" fmla="*/ 852352 h 934717"/>
                      <a:gd name="connsiteX6" fmla="*/ 0 w 454848"/>
                      <a:gd name="connsiteY6" fmla="*/ 837036 h 934717"/>
                      <a:gd name="connsiteX7" fmla="*/ 105607 w 454848"/>
                      <a:gd name="connsiteY7" fmla="*/ 121273 h 934717"/>
                      <a:gd name="connsiteX8" fmla="*/ 120366 w 454848"/>
                      <a:gd name="connsiteY8" fmla="*/ 64533 h 934717"/>
                      <a:gd name="connsiteX0" fmla="*/ 120366 w 440489"/>
                      <a:gd name="connsiteY0" fmla="*/ 64533 h 934717"/>
                      <a:gd name="connsiteX1" fmla="*/ 330783 w 440489"/>
                      <a:gd name="connsiteY1" fmla="*/ 215 h 934717"/>
                      <a:gd name="connsiteX2" fmla="*/ 433776 w 440489"/>
                      <a:gd name="connsiteY2" fmla="*/ 384510 h 934717"/>
                      <a:gd name="connsiteX3" fmla="*/ 109188 w 440489"/>
                      <a:gd name="connsiteY3" fmla="*/ 851374 h 934717"/>
                      <a:gd name="connsiteX4" fmla="*/ 32987 w 440489"/>
                      <a:gd name="connsiteY4" fmla="*/ 934717 h 934717"/>
                      <a:gd name="connsiteX5" fmla="*/ 39961 w 440489"/>
                      <a:gd name="connsiteY5" fmla="*/ 852352 h 934717"/>
                      <a:gd name="connsiteX6" fmla="*/ 0 w 440489"/>
                      <a:gd name="connsiteY6" fmla="*/ 837036 h 934717"/>
                      <a:gd name="connsiteX7" fmla="*/ 105607 w 440489"/>
                      <a:gd name="connsiteY7" fmla="*/ 121273 h 934717"/>
                      <a:gd name="connsiteX8" fmla="*/ 120366 w 440489"/>
                      <a:gd name="connsiteY8" fmla="*/ 64533 h 934717"/>
                      <a:gd name="connsiteX0" fmla="*/ 120366 w 440489"/>
                      <a:gd name="connsiteY0" fmla="*/ 64533 h 934717"/>
                      <a:gd name="connsiteX1" fmla="*/ 330783 w 440489"/>
                      <a:gd name="connsiteY1" fmla="*/ 215 h 934717"/>
                      <a:gd name="connsiteX2" fmla="*/ 433776 w 440489"/>
                      <a:gd name="connsiteY2" fmla="*/ 384510 h 934717"/>
                      <a:gd name="connsiteX3" fmla="*/ 96058 w 440489"/>
                      <a:gd name="connsiteY3" fmla="*/ 837367 h 934717"/>
                      <a:gd name="connsiteX4" fmla="*/ 32987 w 440489"/>
                      <a:gd name="connsiteY4" fmla="*/ 934717 h 934717"/>
                      <a:gd name="connsiteX5" fmla="*/ 39961 w 440489"/>
                      <a:gd name="connsiteY5" fmla="*/ 852352 h 934717"/>
                      <a:gd name="connsiteX6" fmla="*/ 0 w 440489"/>
                      <a:gd name="connsiteY6" fmla="*/ 837036 h 934717"/>
                      <a:gd name="connsiteX7" fmla="*/ 105607 w 440489"/>
                      <a:gd name="connsiteY7" fmla="*/ 121273 h 934717"/>
                      <a:gd name="connsiteX8" fmla="*/ 120366 w 440489"/>
                      <a:gd name="connsiteY8" fmla="*/ 64533 h 934717"/>
                      <a:gd name="connsiteX0" fmla="*/ 120366 w 440489"/>
                      <a:gd name="connsiteY0" fmla="*/ 64533 h 934717"/>
                      <a:gd name="connsiteX1" fmla="*/ 330783 w 440489"/>
                      <a:gd name="connsiteY1" fmla="*/ 215 h 934717"/>
                      <a:gd name="connsiteX2" fmla="*/ 433776 w 440489"/>
                      <a:gd name="connsiteY2" fmla="*/ 384510 h 934717"/>
                      <a:gd name="connsiteX3" fmla="*/ 109714 w 440489"/>
                      <a:gd name="connsiteY3" fmla="*/ 841570 h 934717"/>
                      <a:gd name="connsiteX4" fmla="*/ 32987 w 440489"/>
                      <a:gd name="connsiteY4" fmla="*/ 934717 h 934717"/>
                      <a:gd name="connsiteX5" fmla="*/ 39961 w 440489"/>
                      <a:gd name="connsiteY5" fmla="*/ 852352 h 934717"/>
                      <a:gd name="connsiteX6" fmla="*/ 0 w 440489"/>
                      <a:gd name="connsiteY6" fmla="*/ 837036 h 934717"/>
                      <a:gd name="connsiteX7" fmla="*/ 105607 w 440489"/>
                      <a:gd name="connsiteY7" fmla="*/ 121273 h 934717"/>
                      <a:gd name="connsiteX8" fmla="*/ 120366 w 440489"/>
                      <a:gd name="connsiteY8" fmla="*/ 64533 h 934717"/>
                      <a:gd name="connsiteX0" fmla="*/ 120366 w 441012"/>
                      <a:gd name="connsiteY0" fmla="*/ 53425 h 923609"/>
                      <a:gd name="connsiteX1" fmla="*/ 334809 w 441012"/>
                      <a:gd name="connsiteY1" fmla="*/ 312 h 923609"/>
                      <a:gd name="connsiteX2" fmla="*/ 433776 w 441012"/>
                      <a:gd name="connsiteY2" fmla="*/ 373402 h 923609"/>
                      <a:gd name="connsiteX3" fmla="*/ 109714 w 441012"/>
                      <a:gd name="connsiteY3" fmla="*/ 830462 h 923609"/>
                      <a:gd name="connsiteX4" fmla="*/ 32987 w 441012"/>
                      <a:gd name="connsiteY4" fmla="*/ 923609 h 923609"/>
                      <a:gd name="connsiteX5" fmla="*/ 39961 w 441012"/>
                      <a:gd name="connsiteY5" fmla="*/ 841244 h 923609"/>
                      <a:gd name="connsiteX6" fmla="*/ 0 w 441012"/>
                      <a:gd name="connsiteY6" fmla="*/ 825928 h 923609"/>
                      <a:gd name="connsiteX7" fmla="*/ 105607 w 441012"/>
                      <a:gd name="connsiteY7" fmla="*/ 110165 h 923609"/>
                      <a:gd name="connsiteX8" fmla="*/ 120366 w 441012"/>
                      <a:gd name="connsiteY8" fmla="*/ 53425 h 923609"/>
                      <a:gd name="connsiteX0" fmla="*/ 119841 w 441012"/>
                      <a:gd name="connsiteY0" fmla="*/ 63142 h 923521"/>
                      <a:gd name="connsiteX1" fmla="*/ 334809 w 441012"/>
                      <a:gd name="connsiteY1" fmla="*/ 224 h 923521"/>
                      <a:gd name="connsiteX2" fmla="*/ 433776 w 441012"/>
                      <a:gd name="connsiteY2" fmla="*/ 373314 h 923521"/>
                      <a:gd name="connsiteX3" fmla="*/ 109714 w 441012"/>
                      <a:gd name="connsiteY3" fmla="*/ 830374 h 923521"/>
                      <a:gd name="connsiteX4" fmla="*/ 32987 w 441012"/>
                      <a:gd name="connsiteY4" fmla="*/ 923521 h 923521"/>
                      <a:gd name="connsiteX5" fmla="*/ 39961 w 441012"/>
                      <a:gd name="connsiteY5" fmla="*/ 841156 h 923521"/>
                      <a:gd name="connsiteX6" fmla="*/ 0 w 441012"/>
                      <a:gd name="connsiteY6" fmla="*/ 825840 h 923521"/>
                      <a:gd name="connsiteX7" fmla="*/ 105607 w 441012"/>
                      <a:gd name="connsiteY7" fmla="*/ 110077 h 923521"/>
                      <a:gd name="connsiteX8" fmla="*/ 119841 w 441012"/>
                      <a:gd name="connsiteY8" fmla="*/ 63142 h 923521"/>
                      <a:gd name="connsiteX0" fmla="*/ 119841 w 441012"/>
                      <a:gd name="connsiteY0" fmla="*/ 63078 h 923457"/>
                      <a:gd name="connsiteX1" fmla="*/ 334809 w 441012"/>
                      <a:gd name="connsiteY1" fmla="*/ 160 h 923457"/>
                      <a:gd name="connsiteX2" fmla="*/ 433776 w 441012"/>
                      <a:gd name="connsiteY2" fmla="*/ 373250 h 923457"/>
                      <a:gd name="connsiteX3" fmla="*/ 109714 w 441012"/>
                      <a:gd name="connsiteY3" fmla="*/ 830310 h 923457"/>
                      <a:gd name="connsiteX4" fmla="*/ 32987 w 441012"/>
                      <a:gd name="connsiteY4" fmla="*/ 923457 h 923457"/>
                      <a:gd name="connsiteX5" fmla="*/ 39961 w 441012"/>
                      <a:gd name="connsiteY5" fmla="*/ 841092 h 923457"/>
                      <a:gd name="connsiteX6" fmla="*/ 0 w 441012"/>
                      <a:gd name="connsiteY6" fmla="*/ 825776 h 923457"/>
                      <a:gd name="connsiteX7" fmla="*/ 105607 w 441012"/>
                      <a:gd name="connsiteY7" fmla="*/ 110013 h 923457"/>
                      <a:gd name="connsiteX8" fmla="*/ 119841 w 441012"/>
                      <a:gd name="connsiteY8" fmla="*/ 63078 h 923457"/>
                      <a:gd name="connsiteX0" fmla="*/ 119841 w 439659"/>
                      <a:gd name="connsiteY0" fmla="*/ 74078 h 934457"/>
                      <a:gd name="connsiteX1" fmla="*/ 323255 w 439659"/>
                      <a:gd name="connsiteY1" fmla="*/ 129 h 934457"/>
                      <a:gd name="connsiteX2" fmla="*/ 433776 w 439659"/>
                      <a:gd name="connsiteY2" fmla="*/ 384250 h 934457"/>
                      <a:gd name="connsiteX3" fmla="*/ 109714 w 439659"/>
                      <a:gd name="connsiteY3" fmla="*/ 841310 h 934457"/>
                      <a:gd name="connsiteX4" fmla="*/ 32987 w 439659"/>
                      <a:gd name="connsiteY4" fmla="*/ 934457 h 934457"/>
                      <a:gd name="connsiteX5" fmla="*/ 39961 w 439659"/>
                      <a:gd name="connsiteY5" fmla="*/ 852092 h 934457"/>
                      <a:gd name="connsiteX6" fmla="*/ 0 w 439659"/>
                      <a:gd name="connsiteY6" fmla="*/ 836776 h 934457"/>
                      <a:gd name="connsiteX7" fmla="*/ 105607 w 439659"/>
                      <a:gd name="connsiteY7" fmla="*/ 121013 h 934457"/>
                      <a:gd name="connsiteX8" fmla="*/ 119841 w 439659"/>
                      <a:gd name="connsiteY8" fmla="*/ 74078 h 934457"/>
                      <a:gd name="connsiteX0" fmla="*/ 119841 w 439659"/>
                      <a:gd name="connsiteY0" fmla="*/ 74078 h 934457"/>
                      <a:gd name="connsiteX1" fmla="*/ 323255 w 439659"/>
                      <a:gd name="connsiteY1" fmla="*/ 129 h 934457"/>
                      <a:gd name="connsiteX2" fmla="*/ 433776 w 439659"/>
                      <a:gd name="connsiteY2" fmla="*/ 384250 h 934457"/>
                      <a:gd name="connsiteX3" fmla="*/ 109714 w 439659"/>
                      <a:gd name="connsiteY3" fmla="*/ 841310 h 934457"/>
                      <a:gd name="connsiteX4" fmla="*/ 32987 w 439659"/>
                      <a:gd name="connsiteY4" fmla="*/ 934457 h 934457"/>
                      <a:gd name="connsiteX5" fmla="*/ 41011 w 439659"/>
                      <a:gd name="connsiteY5" fmla="*/ 864872 h 934457"/>
                      <a:gd name="connsiteX6" fmla="*/ 0 w 439659"/>
                      <a:gd name="connsiteY6" fmla="*/ 836776 h 934457"/>
                      <a:gd name="connsiteX7" fmla="*/ 105607 w 439659"/>
                      <a:gd name="connsiteY7" fmla="*/ 121013 h 934457"/>
                      <a:gd name="connsiteX8" fmla="*/ 119841 w 439659"/>
                      <a:gd name="connsiteY8" fmla="*/ 74078 h 934457"/>
                      <a:gd name="connsiteX0" fmla="*/ 126319 w 446137"/>
                      <a:gd name="connsiteY0" fmla="*/ 74078 h 934457"/>
                      <a:gd name="connsiteX1" fmla="*/ 329733 w 446137"/>
                      <a:gd name="connsiteY1" fmla="*/ 129 h 934457"/>
                      <a:gd name="connsiteX2" fmla="*/ 440254 w 446137"/>
                      <a:gd name="connsiteY2" fmla="*/ 384250 h 934457"/>
                      <a:gd name="connsiteX3" fmla="*/ 116192 w 446137"/>
                      <a:gd name="connsiteY3" fmla="*/ 841310 h 934457"/>
                      <a:gd name="connsiteX4" fmla="*/ 39465 w 446137"/>
                      <a:gd name="connsiteY4" fmla="*/ 934457 h 934457"/>
                      <a:gd name="connsiteX5" fmla="*/ 47489 w 446137"/>
                      <a:gd name="connsiteY5" fmla="*/ 864872 h 934457"/>
                      <a:gd name="connsiteX6" fmla="*/ 0 w 446137"/>
                      <a:gd name="connsiteY6" fmla="*/ 849731 h 934457"/>
                      <a:gd name="connsiteX7" fmla="*/ 112085 w 446137"/>
                      <a:gd name="connsiteY7" fmla="*/ 121013 h 934457"/>
                      <a:gd name="connsiteX8" fmla="*/ 126319 w 446137"/>
                      <a:gd name="connsiteY8" fmla="*/ 74078 h 934457"/>
                      <a:gd name="connsiteX0" fmla="*/ 126319 w 446137"/>
                      <a:gd name="connsiteY0" fmla="*/ 74078 h 934457"/>
                      <a:gd name="connsiteX1" fmla="*/ 329733 w 446137"/>
                      <a:gd name="connsiteY1" fmla="*/ 129 h 934457"/>
                      <a:gd name="connsiteX2" fmla="*/ 440254 w 446137"/>
                      <a:gd name="connsiteY2" fmla="*/ 384250 h 934457"/>
                      <a:gd name="connsiteX3" fmla="*/ 116192 w 446137"/>
                      <a:gd name="connsiteY3" fmla="*/ 841310 h 934457"/>
                      <a:gd name="connsiteX4" fmla="*/ 39465 w 446137"/>
                      <a:gd name="connsiteY4" fmla="*/ 934457 h 934457"/>
                      <a:gd name="connsiteX5" fmla="*/ 33833 w 446137"/>
                      <a:gd name="connsiteY5" fmla="*/ 860669 h 934457"/>
                      <a:gd name="connsiteX6" fmla="*/ 0 w 446137"/>
                      <a:gd name="connsiteY6" fmla="*/ 849731 h 934457"/>
                      <a:gd name="connsiteX7" fmla="*/ 112085 w 446137"/>
                      <a:gd name="connsiteY7" fmla="*/ 121013 h 934457"/>
                      <a:gd name="connsiteX8" fmla="*/ 126319 w 446137"/>
                      <a:gd name="connsiteY8" fmla="*/ 74078 h 934457"/>
                      <a:gd name="connsiteX0" fmla="*/ 126319 w 446137"/>
                      <a:gd name="connsiteY0" fmla="*/ 74078 h 934457"/>
                      <a:gd name="connsiteX1" fmla="*/ 329733 w 446137"/>
                      <a:gd name="connsiteY1" fmla="*/ 129 h 934457"/>
                      <a:gd name="connsiteX2" fmla="*/ 440254 w 446137"/>
                      <a:gd name="connsiteY2" fmla="*/ 384250 h 934457"/>
                      <a:gd name="connsiteX3" fmla="*/ 116192 w 446137"/>
                      <a:gd name="connsiteY3" fmla="*/ 841310 h 934457"/>
                      <a:gd name="connsiteX4" fmla="*/ 39465 w 446137"/>
                      <a:gd name="connsiteY4" fmla="*/ 934457 h 934457"/>
                      <a:gd name="connsiteX5" fmla="*/ 33833 w 446137"/>
                      <a:gd name="connsiteY5" fmla="*/ 860669 h 934457"/>
                      <a:gd name="connsiteX6" fmla="*/ 0 w 446137"/>
                      <a:gd name="connsiteY6" fmla="*/ 849731 h 934457"/>
                      <a:gd name="connsiteX7" fmla="*/ 112085 w 446137"/>
                      <a:gd name="connsiteY7" fmla="*/ 121013 h 934457"/>
                      <a:gd name="connsiteX8" fmla="*/ 126319 w 446137"/>
                      <a:gd name="connsiteY8" fmla="*/ 74078 h 934457"/>
                      <a:gd name="connsiteX0" fmla="*/ 126319 w 446137"/>
                      <a:gd name="connsiteY0" fmla="*/ 74078 h 939884"/>
                      <a:gd name="connsiteX1" fmla="*/ 329733 w 446137"/>
                      <a:gd name="connsiteY1" fmla="*/ 129 h 939884"/>
                      <a:gd name="connsiteX2" fmla="*/ 440254 w 446137"/>
                      <a:gd name="connsiteY2" fmla="*/ 384250 h 939884"/>
                      <a:gd name="connsiteX3" fmla="*/ 116192 w 446137"/>
                      <a:gd name="connsiteY3" fmla="*/ 841310 h 939884"/>
                      <a:gd name="connsiteX4" fmla="*/ 32812 w 446137"/>
                      <a:gd name="connsiteY4" fmla="*/ 939884 h 939884"/>
                      <a:gd name="connsiteX5" fmla="*/ 33833 w 446137"/>
                      <a:gd name="connsiteY5" fmla="*/ 860669 h 939884"/>
                      <a:gd name="connsiteX6" fmla="*/ 0 w 446137"/>
                      <a:gd name="connsiteY6" fmla="*/ 849731 h 939884"/>
                      <a:gd name="connsiteX7" fmla="*/ 112085 w 446137"/>
                      <a:gd name="connsiteY7" fmla="*/ 121013 h 939884"/>
                      <a:gd name="connsiteX8" fmla="*/ 126319 w 446137"/>
                      <a:gd name="connsiteY8" fmla="*/ 74078 h 939884"/>
                      <a:gd name="connsiteX0" fmla="*/ 126319 w 446137"/>
                      <a:gd name="connsiteY0" fmla="*/ 74078 h 939884"/>
                      <a:gd name="connsiteX1" fmla="*/ 329733 w 446137"/>
                      <a:gd name="connsiteY1" fmla="*/ 129 h 939884"/>
                      <a:gd name="connsiteX2" fmla="*/ 440254 w 446137"/>
                      <a:gd name="connsiteY2" fmla="*/ 384250 h 939884"/>
                      <a:gd name="connsiteX3" fmla="*/ 116192 w 446137"/>
                      <a:gd name="connsiteY3" fmla="*/ 841310 h 939884"/>
                      <a:gd name="connsiteX4" fmla="*/ 32812 w 446137"/>
                      <a:gd name="connsiteY4" fmla="*/ 939884 h 939884"/>
                      <a:gd name="connsiteX5" fmla="*/ 33833 w 446137"/>
                      <a:gd name="connsiteY5" fmla="*/ 860669 h 939884"/>
                      <a:gd name="connsiteX6" fmla="*/ 0 w 446137"/>
                      <a:gd name="connsiteY6" fmla="*/ 849731 h 939884"/>
                      <a:gd name="connsiteX7" fmla="*/ 112085 w 446137"/>
                      <a:gd name="connsiteY7" fmla="*/ 121013 h 939884"/>
                      <a:gd name="connsiteX8" fmla="*/ 126319 w 446137"/>
                      <a:gd name="connsiteY8" fmla="*/ 74078 h 939884"/>
                      <a:gd name="connsiteX0" fmla="*/ 124043 w 446137"/>
                      <a:gd name="connsiteY0" fmla="*/ 73380 h 939886"/>
                      <a:gd name="connsiteX1" fmla="*/ 329733 w 446137"/>
                      <a:gd name="connsiteY1" fmla="*/ 131 h 939886"/>
                      <a:gd name="connsiteX2" fmla="*/ 440254 w 446137"/>
                      <a:gd name="connsiteY2" fmla="*/ 384252 h 939886"/>
                      <a:gd name="connsiteX3" fmla="*/ 116192 w 446137"/>
                      <a:gd name="connsiteY3" fmla="*/ 841312 h 939886"/>
                      <a:gd name="connsiteX4" fmla="*/ 32812 w 446137"/>
                      <a:gd name="connsiteY4" fmla="*/ 939886 h 939886"/>
                      <a:gd name="connsiteX5" fmla="*/ 33833 w 446137"/>
                      <a:gd name="connsiteY5" fmla="*/ 860671 h 939886"/>
                      <a:gd name="connsiteX6" fmla="*/ 0 w 446137"/>
                      <a:gd name="connsiteY6" fmla="*/ 849733 h 939886"/>
                      <a:gd name="connsiteX7" fmla="*/ 112085 w 446137"/>
                      <a:gd name="connsiteY7" fmla="*/ 121015 h 939886"/>
                      <a:gd name="connsiteX8" fmla="*/ 124043 w 446137"/>
                      <a:gd name="connsiteY8" fmla="*/ 73380 h 939886"/>
                      <a:gd name="connsiteX0" fmla="*/ 124043 w 446137"/>
                      <a:gd name="connsiteY0" fmla="*/ 73380 h 939886"/>
                      <a:gd name="connsiteX1" fmla="*/ 329733 w 446137"/>
                      <a:gd name="connsiteY1" fmla="*/ 131 h 939886"/>
                      <a:gd name="connsiteX2" fmla="*/ 440254 w 446137"/>
                      <a:gd name="connsiteY2" fmla="*/ 384252 h 939886"/>
                      <a:gd name="connsiteX3" fmla="*/ 116192 w 446137"/>
                      <a:gd name="connsiteY3" fmla="*/ 841312 h 939886"/>
                      <a:gd name="connsiteX4" fmla="*/ 32812 w 446137"/>
                      <a:gd name="connsiteY4" fmla="*/ 939886 h 939886"/>
                      <a:gd name="connsiteX5" fmla="*/ 33833 w 446137"/>
                      <a:gd name="connsiteY5" fmla="*/ 860671 h 939886"/>
                      <a:gd name="connsiteX6" fmla="*/ 0 w 446137"/>
                      <a:gd name="connsiteY6" fmla="*/ 849733 h 939886"/>
                      <a:gd name="connsiteX7" fmla="*/ 109810 w 446137"/>
                      <a:gd name="connsiteY7" fmla="*/ 120314 h 939886"/>
                      <a:gd name="connsiteX8" fmla="*/ 124043 w 446137"/>
                      <a:gd name="connsiteY8" fmla="*/ 73380 h 939886"/>
                      <a:gd name="connsiteX0" fmla="*/ 124043 w 446137"/>
                      <a:gd name="connsiteY0" fmla="*/ 73380 h 939886"/>
                      <a:gd name="connsiteX1" fmla="*/ 329733 w 446137"/>
                      <a:gd name="connsiteY1" fmla="*/ 131 h 939886"/>
                      <a:gd name="connsiteX2" fmla="*/ 440254 w 446137"/>
                      <a:gd name="connsiteY2" fmla="*/ 384252 h 939886"/>
                      <a:gd name="connsiteX3" fmla="*/ 116192 w 446137"/>
                      <a:gd name="connsiteY3" fmla="*/ 841312 h 939886"/>
                      <a:gd name="connsiteX4" fmla="*/ 32812 w 446137"/>
                      <a:gd name="connsiteY4" fmla="*/ 939886 h 939886"/>
                      <a:gd name="connsiteX5" fmla="*/ 33833 w 446137"/>
                      <a:gd name="connsiteY5" fmla="*/ 860671 h 939886"/>
                      <a:gd name="connsiteX6" fmla="*/ 0 w 446137"/>
                      <a:gd name="connsiteY6" fmla="*/ 849733 h 939886"/>
                      <a:gd name="connsiteX7" fmla="*/ 107534 w 446137"/>
                      <a:gd name="connsiteY7" fmla="*/ 119614 h 939886"/>
                      <a:gd name="connsiteX8" fmla="*/ 124043 w 446137"/>
                      <a:gd name="connsiteY8" fmla="*/ 73380 h 939886"/>
                      <a:gd name="connsiteX0" fmla="*/ 124043 w 446137"/>
                      <a:gd name="connsiteY0" fmla="*/ 73380 h 938485"/>
                      <a:gd name="connsiteX1" fmla="*/ 329733 w 446137"/>
                      <a:gd name="connsiteY1" fmla="*/ 131 h 938485"/>
                      <a:gd name="connsiteX2" fmla="*/ 440254 w 446137"/>
                      <a:gd name="connsiteY2" fmla="*/ 384252 h 938485"/>
                      <a:gd name="connsiteX3" fmla="*/ 116192 w 446137"/>
                      <a:gd name="connsiteY3" fmla="*/ 841312 h 938485"/>
                      <a:gd name="connsiteX4" fmla="*/ 28260 w 446137"/>
                      <a:gd name="connsiteY4" fmla="*/ 938485 h 938485"/>
                      <a:gd name="connsiteX5" fmla="*/ 33833 w 446137"/>
                      <a:gd name="connsiteY5" fmla="*/ 860671 h 938485"/>
                      <a:gd name="connsiteX6" fmla="*/ 0 w 446137"/>
                      <a:gd name="connsiteY6" fmla="*/ 849733 h 938485"/>
                      <a:gd name="connsiteX7" fmla="*/ 107534 w 446137"/>
                      <a:gd name="connsiteY7" fmla="*/ 119614 h 938485"/>
                      <a:gd name="connsiteX8" fmla="*/ 124043 w 446137"/>
                      <a:gd name="connsiteY8" fmla="*/ 73380 h 938485"/>
                      <a:gd name="connsiteX0" fmla="*/ 124043 w 446137"/>
                      <a:gd name="connsiteY0" fmla="*/ 73380 h 938485"/>
                      <a:gd name="connsiteX1" fmla="*/ 329733 w 446137"/>
                      <a:gd name="connsiteY1" fmla="*/ 131 h 938485"/>
                      <a:gd name="connsiteX2" fmla="*/ 440254 w 446137"/>
                      <a:gd name="connsiteY2" fmla="*/ 384252 h 938485"/>
                      <a:gd name="connsiteX3" fmla="*/ 116192 w 446137"/>
                      <a:gd name="connsiteY3" fmla="*/ 841312 h 938485"/>
                      <a:gd name="connsiteX4" fmla="*/ 28260 w 446137"/>
                      <a:gd name="connsiteY4" fmla="*/ 938485 h 938485"/>
                      <a:gd name="connsiteX5" fmla="*/ 31557 w 446137"/>
                      <a:gd name="connsiteY5" fmla="*/ 859970 h 938485"/>
                      <a:gd name="connsiteX6" fmla="*/ 0 w 446137"/>
                      <a:gd name="connsiteY6" fmla="*/ 849733 h 938485"/>
                      <a:gd name="connsiteX7" fmla="*/ 107534 w 446137"/>
                      <a:gd name="connsiteY7" fmla="*/ 119614 h 938485"/>
                      <a:gd name="connsiteX8" fmla="*/ 124043 w 446137"/>
                      <a:gd name="connsiteY8" fmla="*/ 73380 h 9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37" h="938485">
                        <a:moveTo>
                          <a:pt x="124043" y="73380"/>
                        </a:moveTo>
                        <a:cubicBezTo>
                          <a:pt x="176450" y="52287"/>
                          <a:pt x="309889" y="-3044"/>
                          <a:pt x="329733" y="131"/>
                        </a:cubicBezTo>
                        <a:cubicBezTo>
                          <a:pt x="431332" y="100144"/>
                          <a:pt x="460097" y="284239"/>
                          <a:pt x="440254" y="384252"/>
                        </a:cubicBezTo>
                        <a:cubicBezTo>
                          <a:pt x="429936" y="450133"/>
                          <a:pt x="226523" y="692088"/>
                          <a:pt x="116192" y="841312"/>
                        </a:cubicBezTo>
                        <a:cubicBezTo>
                          <a:pt x="88399" y="874170"/>
                          <a:pt x="56053" y="905627"/>
                          <a:pt x="28260" y="938485"/>
                        </a:cubicBezTo>
                        <a:cubicBezTo>
                          <a:pt x="34443" y="903273"/>
                          <a:pt x="28070" y="901152"/>
                          <a:pt x="31557" y="859970"/>
                        </a:cubicBezTo>
                        <a:cubicBezTo>
                          <a:pt x="1519" y="851917"/>
                          <a:pt x="25483" y="858631"/>
                          <a:pt x="0" y="849733"/>
                        </a:cubicBezTo>
                        <a:cubicBezTo>
                          <a:pt x="14091" y="728442"/>
                          <a:pt x="99001" y="220354"/>
                          <a:pt x="107534" y="119614"/>
                        </a:cubicBezTo>
                        <a:cubicBezTo>
                          <a:pt x="121464" y="44208"/>
                          <a:pt x="123607" y="107909"/>
                          <a:pt x="124043" y="73380"/>
                        </a:cubicBezTo>
                        <a:close/>
                      </a:path>
                    </a:pathLst>
                  </a:custGeom>
                  <a:gradFill>
                    <a:gsLst>
                      <a:gs pos="0">
                        <a:srgbClr val="9F9F9F"/>
                      </a:gs>
                      <a:gs pos="84000">
                        <a:srgbClr val="7F7F7F"/>
                      </a:gs>
                    </a:gsLst>
                    <a:lin ang="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grpSp>
          <p:grpSp>
            <p:nvGrpSpPr>
              <p:cNvPr id="10" name="Group 9"/>
              <p:cNvGrpSpPr/>
              <p:nvPr/>
            </p:nvGrpSpPr>
            <p:grpSpPr>
              <a:xfrm>
                <a:off x="1267427" y="1637045"/>
                <a:ext cx="2954451" cy="4279880"/>
                <a:chOff x="1267427" y="1637045"/>
                <a:chExt cx="2954451" cy="4279880"/>
              </a:xfrm>
            </p:grpSpPr>
            <p:sp>
              <p:nvSpPr>
                <p:cNvPr id="11" name="Freeform 10"/>
                <p:cNvSpPr/>
                <p:nvPr/>
              </p:nvSpPr>
              <p:spPr>
                <a:xfrm>
                  <a:off x="1267427" y="1901272"/>
                  <a:ext cx="2699519" cy="3748574"/>
                </a:xfrm>
                <a:custGeom>
                  <a:avLst/>
                  <a:gdLst>
                    <a:gd name="connsiteX0" fmla="*/ 905547 w 2962250"/>
                    <a:gd name="connsiteY0" fmla="*/ 0 h 4113406"/>
                    <a:gd name="connsiteX1" fmla="*/ 2962250 w 2962250"/>
                    <a:gd name="connsiteY1" fmla="*/ 2056703 h 4113406"/>
                    <a:gd name="connsiteX2" fmla="*/ 905547 w 2962250"/>
                    <a:gd name="connsiteY2" fmla="*/ 4113406 h 4113406"/>
                    <a:gd name="connsiteX3" fmla="*/ 104985 w 2962250"/>
                    <a:gd name="connsiteY3" fmla="*/ 3951780 h 4113406"/>
                    <a:gd name="connsiteX4" fmla="*/ 0 w 2962250"/>
                    <a:gd name="connsiteY4" fmla="*/ 3901206 h 4113406"/>
                    <a:gd name="connsiteX5" fmla="*/ 30581 w 2962250"/>
                    <a:gd name="connsiteY5" fmla="*/ 3787076 h 4113406"/>
                    <a:gd name="connsiteX6" fmla="*/ 150217 w 2962250"/>
                    <a:gd name="connsiteY6" fmla="*/ 3844708 h 4113406"/>
                    <a:gd name="connsiteX7" fmla="*/ 905547 w 2962250"/>
                    <a:gd name="connsiteY7" fmla="*/ 3997202 h 4113406"/>
                    <a:gd name="connsiteX8" fmla="*/ 2846046 w 2962250"/>
                    <a:gd name="connsiteY8" fmla="*/ 2056703 h 4113406"/>
                    <a:gd name="connsiteX9" fmla="*/ 905547 w 2962250"/>
                    <a:gd name="connsiteY9" fmla="*/ 116204 h 4113406"/>
                    <a:gd name="connsiteX10" fmla="*/ 150217 w 2962250"/>
                    <a:gd name="connsiteY10" fmla="*/ 268698 h 4113406"/>
                    <a:gd name="connsiteX11" fmla="*/ 36798 w 2962250"/>
                    <a:gd name="connsiteY11" fmla="*/ 323335 h 4113406"/>
                    <a:gd name="connsiteX12" fmla="*/ 6217 w 2962250"/>
                    <a:gd name="connsiteY12" fmla="*/ 209205 h 4113406"/>
                    <a:gd name="connsiteX13" fmla="*/ 104985 w 2962250"/>
                    <a:gd name="connsiteY13" fmla="*/ 161626 h 4113406"/>
                    <a:gd name="connsiteX14" fmla="*/ 905547 w 2962250"/>
                    <a:gd name="connsiteY14" fmla="*/ 0 h 411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62250" h="4113406">
                      <a:moveTo>
                        <a:pt x="905547" y="0"/>
                      </a:moveTo>
                      <a:cubicBezTo>
                        <a:pt x="2041433" y="0"/>
                        <a:pt x="2962250" y="920817"/>
                        <a:pt x="2962250" y="2056703"/>
                      </a:cubicBezTo>
                      <a:cubicBezTo>
                        <a:pt x="2962250" y="3192589"/>
                        <a:pt x="2041433" y="4113406"/>
                        <a:pt x="905547" y="4113406"/>
                      </a:cubicBezTo>
                      <a:cubicBezTo>
                        <a:pt x="621576" y="4113406"/>
                        <a:pt x="351046" y="4055855"/>
                        <a:pt x="104985" y="3951780"/>
                      </a:cubicBezTo>
                      <a:lnTo>
                        <a:pt x="0" y="3901206"/>
                      </a:lnTo>
                      <a:lnTo>
                        <a:pt x="30581" y="3787076"/>
                      </a:lnTo>
                      <a:lnTo>
                        <a:pt x="150217" y="3844708"/>
                      </a:lnTo>
                      <a:cubicBezTo>
                        <a:pt x="382375" y="3942903"/>
                        <a:pt x="637620" y="3997202"/>
                        <a:pt x="905547" y="3997202"/>
                      </a:cubicBezTo>
                      <a:cubicBezTo>
                        <a:pt x="1977255" y="3997202"/>
                        <a:pt x="2846046" y="3128411"/>
                        <a:pt x="2846046" y="2056703"/>
                      </a:cubicBezTo>
                      <a:cubicBezTo>
                        <a:pt x="2846046" y="984995"/>
                        <a:pt x="1977255" y="116204"/>
                        <a:pt x="905547" y="116204"/>
                      </a:cubicBezTo>
                      <a:cubicBezTo>
                        <a:pt x="637620" y="116204"/>
                        <a:pt x="382375" y="170504"/>
                        <a:pt x="150217" y="268698"/>
                      </a:cubicBezTo>
                      <a:lnTo>
                        <a:pt x="36798" y="323335"/>
                      </a:lnTo>
                      <a:lnTo>
                        <a:pt x="6217" y="209205"/>
                      </a:lnTo>
                      <a:lnTo>
                        <a:pt x="104985" y="161626"/>
                      </a:lnTo>
                      <a:cubicBezTo>
                        <a:pt x="351046" y="57551"/>
                        <a:pt x="621576" y="0"/>
                        <a:pt x="905547" y="0"/>
                      </a:cubicBezTo>
                      <a:close/>
                    </a:path>
                  </a:pathLst>
                </a:cu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endParaRPr>
                </a:p>
              </p:txBody>
            </p:sp>
            <p:grpSp>
              <p:nvGrpSpPr>
                <p:cNvPr id="12" name="Group 11"/>
                <p:cNvGrpSpPr/>
                <p:nvPr/>
              </p:nvGrpSpPr>
              <p:grpSpPr>
                <a:xfrm>
                  <a:off x="1738169" y="1637045"/>
                  <a:ext cx="2483709" cy="4279880"/>
                  <a:chOff x="1738168" y="1637045"/>
                  <a:chExt cx="2483707" cy="4279876"/>
                </a:xfrm>
              </p:grpSpPr>
              <p:grpSp>
                <p:nvGrpSpPr>
                  <p:cNvPr id="13" name="Group 12"/>
                  <p:cNvGrpSpPr/>
                  <p:nvPr/>
                </p:nvGrpSpPr>
                <p:grpSpPr>
                  <a:xfrm>
                    <a:off x="3515668" y="3426678"/>
                    <a:ext cx="706207" cy="713266"/>
                    <a:chOff x="3581827" y="3493503"/>
                    <a:chExt cx="573883" cy="579620"/>
                  </a:xfrm>
                </p:grpSpPr>
                <p:grpSp>
                  <p:nvGrpSpPr>
                    <p:cNvPr id="58" name="Group 57"/>
                    <p:cNvGrpSpPr/>
                    <p:nvPr/>
                  </p:nvGrpSpPr>
                  <p:grpSpPr>
                    <a:xfrm>
                      <a:off x="3581827" y="3493503"/>
                      <a:ext cx="573883" cy="579620"/>
                      <a:chOff x="184644" y="2284066"/>
                      <a:chExt cx="1452815" cy="1452812"/>
                    </a:xfrm>
                  </p:grpSpPr>
                  <p:grpSp>
                    <p:nvGrpSpPr>
                      <p:cNvPr id="62" name="Group 61"/>
                      <p:cNvGrpSpPr/>
                      <p:nvPr/>
                    </p:nvGrpSpPr>
                    <p:grpSpPr>
                      <a:xfrm>
                        <a:off x="184644" y="2284066"/>
                        <a:ext cx="1452815" cy="1452812"/>
                        <a:chOff x="924992" y="2114551"/>
                        <a:chExt cx="1232848" cy="1232846"/>
                      </a:xfrm>
                    </p:grpSpPr>
                    <p:sp>
                      <p:nvSpPr>
                        <p:cNvPr id="64" name="Oval 63"/>
                        <p:cNvSpPr/>
                        <p:nvPr/>
                      </p:nvSpPr>
                      <p:spPr>
                        <a:xfrm>
                          <a:off x="924992" y="2114551"/>
                          <a:ext cx="1232848" cy="1232846"/>
                        </a:xfrm>
                        <a:prstGeom prst="ellipse">
                          <a:avLst/>
                        </a:prstGeom>
                        <a:solidFill>
                          <a:sysClr val="window" lastClr="FFFFFF">
                            <a:lumMod val="95000"/>
                          </a:sysClr>
                        </a:solidFill>
                        <a:ln w="12700" cap="flat" cmpd="sng" algn="ctr">
                          <a:noFill/>
                          <a:prstDash val="solid"/>
                          <a:miter lim="800000"/>
                        </a:ln>
                        <a:effectLst>
                          <a:outerShdw blurRad="76200" dist="25400" dir="2700000" sx="101000" sy="101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65" name="Oval 64"/>
                        <p:cNvSpPr/>
                        <p:nvPr/>
                      </p:nvSpPr>
                      <p:spPr>
                        <a:xfrm>
                          <a:off x="1034527" y="2224087"/>
                          <a:ext cx="1013776" cy="1013774"/>
                        </a:xfrm>
                        <a:prstGeom prst="ellipse">
                          <a:avLst/>
                        </a:prstGeom>
                        <a:gradFill>
                          <a:gsLst>
                            <a:gs pos="1000">
                              <a:srgbClr val="E9D487"/>
                            </a:gs>
                            <a:gs pos="100000">
                              <a:srgbClr val="DBB832"/>
                            </a:gs>
                          </a:gsLst>
                          <a:path path="circle">
                            <a:fillToRect l="50000" t="50000" r="50000" b="50000"/>
                          </a:path>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63" name="Tåre 106"/>
                      <p:cNvSpPr/>
                      <p:nvPr/>
                    </p:nvSpPr>
                    <p:spPr bwMode="auto">
                      <a:xfrm>
                        <a:off x="384732" y="2428903"/>
                        <a:ext cx="1052639" cy="1039481"/>
                      </a:xfrm>
                      <a:prstGeom prst="ellipse">
                        <a:avLst/>
                      </a:prstGeom>
                      <a:gradFill flip="none" rotWithShape="1">
                        <a:gsLst>
                          <a:gs pos="45000">
                            <a:srgbClr val="FFFFFF">
                              <a:lumMod val="40000"/>
                              <a:lumOff val="60000"/>
                              <a:alpha val="0"/>
                            </a:srgbClr>
                          </a:gs>
                          <a:gs pos="100000">
                            <a:srgbClr val="FFFCF9">
                              <a:alpha val="75000"/>
                            </a:srgbClr>
                          </a:gs>
                        </a:gsLst>
                        <a:lin ang="16200000" scaled="1"/>
                        <a:tileRect/>
                      </a:gradFill>
                      <a:ln w="9525" cap="flat" cmpd="sng" algn="ctr">
                        <a:noFill/>
                        <a:prstDash val="soli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ctr" defTabSz="914400" rtl="0" eaLnBrk="1" fontAlgn="auto" latinLnBrk="0" hangingPunct="1">
                          <a:lnSpc>
                            <a:spcPct val="100000"/>
                          </a:lnSpc>
                          <a:spcBef>
                            <a:spcPts val="0"/>
                          </a:spcBef>
                          <a:spcAft>
                            <a:spcPts val="0"/>
                          </a:spcAft>
                          <a:buClrTx/>
                          <a:buSzTx/>
                          <a:buFont typeface="+mj-lt"/>
                          <a:buAutoNum type="arabicPeriod"/>
                          <a:tabLst/>
                          <a:defRPr/>
                        </a:pPr>
                        <a:endParaRPr kumimoji="0" lang="da-DK" sz="1800" b="0"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endParaRPr>
                      </a:p>
                    </p:txBody>
                  </p:sp>
                </p:grpSp>
                <p:grpSp>
                  <p:nvGrpSpPr>
                    <p:cNvPr id="59" name="Group 58"/>
                    <p:cNvGrpSpPr/>
                    <p:nvPr/>
                  </p:nvGrpSpPr>
                  <p:grpSpPr>
                    <a:xfrm>
                      <a:off x="3739429" y="3662206"/>
                      <a:ext cx="258690" cy="242216"/>
                      <a:chOff x="1219200" y="1559210"/>
                      <a:chExt cx="4281806" cy="4009149"/>
                    </a:xfrm>
                    <a:solidFill>
                      <a:sysClr val="window" lastClr="FFFFFF"/>
                    </a:solidFill>
                  </p:grpSpPr>
                  <p:sp>
                    <p:nvSpPr>
                      <p:cNvPr id="60" name="Freeform 59"/>
                      <p:cNvSpPr/>
                      <p:nvPr/>
                    </p:nvSpPr>
                    <p:spPr>
                      <a:xfrm>
                        <a:off x="1219200" y="2164777"/>
                        <a:ext cx="4281806" cy="3403582"/>
                      </a:xfrm>
                      <a:custGeom>
                        <a:avLst/>
                        <a:gdLst>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2298559 w 4735194"/>
                          <a:gd name="connsiteY7" fmla="*/ 2593220 h 4438963"/>
                          <a:gd name="connsiteX8" fmla="*/ 1317093 w 4735194"/>
                          <a:gd name="connsiteY8" fmla="*/ 3095784 h 4438963"/>
                          <a:gd name="connsiteX9" fmla="*/ 1317093 w 4735194"/>
                          <a:gd name="connsiteY9" fmla="*/ 4337778 h 4438963"/>
                          <a:gd name="connsiteX10" fmla="*/ 1318817 w 4735194"/>
                          <a:gd name="connsiteY10" fmla="*/ 4337601 h 4438963"/>
                          <a:gd name="connsiteX11" fmla="*/ 1380008 w 4735194"/>
                          <a:gd name="connsiteY11" fmla="*/ 4319075 h 4438963"/>
                          <a:gd name="connsiteX12" fmla="*/ 2302614 w 4735194"/>
                          <a:gd name="connsiteY12" fmla="*/ 3810635 h 4438963"/>
                          <a:gd name="connsiteX13" fmla="*/ 2302614 w 4735194"/>
                          <a:gd name="connsiteY13" fmla="*/ 2595546 h 4438963"/>
                          <a:gd name="connsiteX14" fmla="*/ 2440853 w 4735194"/>
                          <a:gd name="connsiteY14" fmla="*/ 2582993 h 4438963"/>
                          <a:gd name="connsiteX15" fmla="*/ 2428033 w 4735194"/>
                          <a:gd name="connsiteY15" fmla="*/ 2589694 h 4438963"/>
                          <a:gd name="connsiteX16" fmla="*/ 2428033 w 4735194"/>
                          <a:gd name="connsiteY16" fmla="*/ 3802017 h 4438963"/>
                          <a:gd name="connsiteX17" fmla="*/ 3426272 w 4735194"/>
                          <a:gd name="connsiteY17" fmla="*/ 4301841 h 4438963"/>
                          <a:gd name="connsiteX18" fmla="*/ 3450692 w 4735194"/>
                          <a:gd name="connsiteY18" fmla="*/ 4311296 h 4438963"/>
                          <a:gd name="connsiteX19" fmla="*/ 3450692 w 4735194"/>
                          <a:gd name="connsiteY19" fmla="*/ 3100084 h 4438963"/>
                          <a:gd name="connsiteX20" fmla="*/ 116753 w 4735194"/>
                          <a:gd name="connsiteY20" fmla="*/ 2582993 h 4438963"/>
                          <a:gd name="connsiteX21" fmla="*/ 103933 w 4735194"/>
                          <a:gd name="connsiteY21" fmla="*/ 2589694 h 4438963"/>
                          <a:gd name="connsiteX22" fmla="*/ 103933 w 4735194"/>
                          <a:gd name="connsiteY22" fmla="*/ 3802017 h 4438963"/>
                          <a:gd name="connsiteX23" fmla="*/ 1102172 w 4735194"/>
                          <a:gd name="connsiteY23" fmla="*/ 4301841 h 4438963"/>
                          <a:gd name="connsiteX24" fmla="*/ 1126592 w 4735194"/>
                          <a:gd name="connsiteY24" fmla="*/ 4311296 h 4438963"/>
                          <a:gd name="connsiteX25" fmla="*/ 1126592 w 4735194"/>
                          <a:gd name="connsiteY25" fmla="*/ 3100084 h 4438963"/>
                          <a:gd name="connsiteX26" fmla="*/ 3565533 w 4735194"/>
                          <a:gd name="connsiteY26" fmla="*/ 1995076 h 4438963"/>
                          <a:gd name="connsiteX27" fmla="*/ 2546139 w 4735194"/>
                          <a:gd name="connsiteY27" fmla="*/ 2527956 h 4438963"/>
                          <a:gd name="connsiteX28" fmla="*/ 3480777 w 4735194"/>
                          <a:gd name="connsiteY28" fmla="*/ 3006541 h 4438963"/>
                          <a:gd name="connsiteX29" fmla="*/ 3602710 w 4735194"/>
                          <a:gd name="connsiteY29" fmla="*/ 3006541 h 4438963"/>
                          <a:gd name="connsiteX30" fmla="*/ 4522310 w 4735194"/>
                          <a:gd name="connsiteY30" fmla="*/ 2535656 h 4438963"/>
                          <a:gd name="connsiteX31" fmla="*/ 4508078 w 4735194"/>
                          <a:gd name="connsiteY31" fmla="*/ 2527492 h 4438963"/>
                          <a:gd name="connsiteX32" fmla="*/ 3565533 w 4735194"/>
                          <a:gd name="connsiteY32" fmla="*/ 1995076 h 4438963"/>
                          <a:gd name="connsiteX33" fmla="*/ 1241433 w 4735194"/>
                          <a:gd name="connsiteY33" fmla="*/ 1995076 h 4438963"/>
                          <a:gd name="connsiteX34" fmla="*/ 222039 w 4735194"/>
                          <a:gd name="connsiteY34" fmla="*/ 2527956 h 4438963"/>
                          <a:gd name="connsiteX35" fmla="*/ 1156677 w 4735194"/>
                          <a:gd name="connsiteY35" fmla="*/ 3006541 h 4438963"/>
                          <a:gd name="connsiteX36" fmla="*/ 1278610 w 4735194"/>
                          <a:gd name="connsiteY36" fmla="*/ 3006541 h 4438963"/>
                          <a:gd name="connsiteX37" fmla="*/ 2198210 w 4735194"/>
                          <a:gd name="connsiteY37" fmla="*/ 2535656 h 4438963"/>
                          <a:gd name="connsiteX38" fmla="*/ 2183978 w 4735194"/>
                          <a:gd name="connsiteY38" fmla="*/ 2527492 h 4438963"/>
                          <a:gd name="connsiteX39" fmla="*/ 1241433 w 4735194"/>
                          <a:gd name="connsiteY39" fmla="*/ 1995076 h 4438963"/>
                          <a:gd name="connsiteX40" fmla="*/ 1229420 w 4735194"/>
                          <a:gd name="connsiteY40" fmla="*/ 674979 h 4438963"/>
                          <a:gd name="connsiteX41" fmla="*/ 2270028 w 4735194"/>
                          <a:gd name="connsiteY41" fmla="*/ 1204837 h 4438963"/>
                          <a:gd name="connsiteX42" fmla="*/ 2267399 w 4735194"/>
                          <a:gd name="connsiteY42" fmla="*/ 1830389 h 4438963"/>
                          <a:gd name="connsiteX43" fmla="*/ 2264858 w 4735194"/>
                          <a:gd name="connsiteY43" fmla="*/ 2434947 h 4438963"/>
                          <a:gd name="connsiteX44" fmla="*/ 2276289 w 4735194"/>
                          <a:gd name="connsiteY44" fmla="*/ 2441582 h 4438963"/>
                          <a:gd name="connsiteX45" fmla="*/ 2325851 w 4735194"/>
                          <a:gd name="connsiteY45" fmla="*/ 2470297 h 4438963"/>
                          <a:gd name="connsiteX46" fmla="*/ 2326997 w 4735194"/>
                          <a:gd name="connsiteY46" fmla="*/ 2469710 h 4438963"/>
                          <a:gd name="connsiteX47" fmla="*/ 2327908 w 4735194"/>
                          <a:gd name="connsiteY47" fmla="*/ 2471489 h 4438963"/>
                          <a:gd name="connsiteX48" fmla="*/ 2361172 w 4735194"/>
                          <a:gd name="connsiteY48" fmla="*/ 2490761 h 4438963"/>
                          <a:gd name="connsiteX49" fmla="*/ 2501548 w 4735194"/>
                          <a:gd name="connsiteY49" fmla="*/ 2416647 h 4438963"/>
                          <a:gd name="connsiteX50" fmla="*/ 2502224 w 4735194"/>
                          <a:gd name="connsiteY50" fmla="*/ 1862810 h 4438963"/>
                          <a:gd name="connsiteX51" fmla="*/ 2502994 w 4735194"/>
                          <a:gd name="connsiteY51" fmla="*/ 1232031 h 4438963"/>
                          <a:gd name="connsiteX52" fmla="*/ 3563998 w 4735194"/>
                          <a:gd name="connsiteY52" fmla="*/ 674979 h 4438963"/>
                          <a:gd name="connsiteX53" fmla="*/ 3564178 w 4735194"/>
                          <a:gd name="connsiteY53" fmla="*/ 1292184 h 4438963"/>
                          <a:gd name="connsiteX54" fmla="*/ 3564343 w 4735194"/>
                          <a:gd name="connsiteY54" fmla="*/ 1855526 h 4438963"/>
                          <a:gd name="connsiteX55" fmla="*/ 3568919 w 4735194"/>
                          <a:gd name="connsiteY55" fmla="*/ 1853109 h 4438963"/>
                          <a:gd name="connsiteX56" fmla="*/ 4600389 w 4735194"/>
                          <a:gd name="connsiteY56" fmla="*/ 2441582 h 4438963"/>
                          <a:gd name="connsiteX57" fmla="*/ 4649951 w 4735194"/>
                          <a:gd name="connsiteY57" fmla="*/ 2470297 h 4438963"/>
                          <a:gd name="connsiteX58" fmla="*/ 4651097 w 4735194"/>
                          <a:gd name="connsiteY58" fmla="*/ 2469710 h 4438963"/>
                          <a:gd name="connsiteX59" fmla="*/ 4652008 w 4735194"/>
                          <a:gd name="connsiteY59" fmla="*/ 2471489 h 4438963"/>
                          <a:gd name="connsiteX60" fmla="*/ 4730218 w 4735194"/>
                          <a:gd name="connsiteY60" fmla="*/ 2516802 h 4438963"/>
                          <a:gd name="connsiteX61" fmla="*/ 4730218 w 4735194"/>
                          <a:gd name="connsiteY61" fmla="*/ 3859827 h 4438963"/>
                          <a:gd name="connsiteX62" fmla="*/ 3720568 w 4735194"/>
                          <a:gd name="connsiteY62" fmla="*/ 4421801 h 4438963"/>
                          <a:gd name="connsiteX63" fmla="*/ 3416519 w 4735194"/>
                          <a:gd name="connsiteY63" fmla="*/ 4402752 h 4438963"/>
                          <a:gd name="connsiteX64" fmla="*/ 2376040 w 4735194"/>
                          <a:gd name="connsiteY64" fmla="*/ 3876569 h 4438963"/>
                          <a:gd name="connsiteX65" fmla="*/ 1396468 w 4735194"/>
                          <a:gd name="connsiteY65" fmla="*/ 4421801 h 4438963"/>
                          <a:gd name="connsiteX66" fmla="*/ 1092419 w 4735194"/>
                          <a:gd name="connsiteY66" fmla="*/ 4402752 h 4438963"/>
                          <a:gd name="connsiteX67" fmla="*/ 0 w 4735194"/>
                          <a:gd name="connsiteY67" fmla="*/ 3850302 h 4438963"/>
                          <a:gd name="connsiteX68" fmla="*/ 0 w 4735194"/>
                          <a:gd name="connsiteY68" fmla="*/ 2510334 h 4438963"/>
                          <a:gd name="connsiteX69" fmla="*/ 1235557 w 4735194"/>
                          <a:gd name="connsiteY69" fmla="*/ 1857999 h 4438963"/>
                          <a:gd name="connsiteX70" fmla="*/ 2449492 w 4735194"/>
                          <a:gd name="connsiteY70" fmla="*/ 0 h 4438963"/>
                          <a:gd name="connsiteX71" fmla="*/ 3460395 w 4735194"/>
                          <a:gd name="connsiteY71" fmla="*/ 590737 h 4438963"/>
                          <a:gd name="connsiteX72" fmla="*/ 2475482 w 4735194"/>
                          <a:gd name="connsiteY72" fmla="*/ 1094603 h 4438963"/>
                          <a:gd name="connsiteX73" fmla="*/ 2354300 w 4735194"/>
                          <a:gd name="connsiteY73" fmla="*/ 1098113 h 4438963"/>
                          <a:gd name="connsiteX74" fmla="*/ 1333964 w 4735194"/>
                          <a:gd name="connsiteY74" fmla="*/ 558599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7399 w 4735194"/>
                          <a:gd name="connsiteY46" fmla="*/ 1830389 h 4438963"/>
                          <a:gd name="connsiteX47" fmla="*/ 2264858 w 4735194"/>
                          <a:gd name="connsiteY47" fmla="*/ 2434947 h 4438963"/>
                          <a:gd name="connsiteX48" fmla="*/ 2325851 w 4735194"/>
                          <a:gd name="connsiteY48" fmla="*/ 2470297 h 4438963"/>
                          <a:gd name="connsiteX49" fmla="*/ 2326997 w 4735194"/>
                          <a:gd name="connsiteY49" fmla="*/ 2469710 h 4438963"/>
                          <a:gd name="connsiteX50" fmla="*/ 2327908 w 4735194"/>
                          <a:gd name="connsiteY50" fmla="*/ 2471489 h 4438963"/>
                          <a:gd name="connsiteX51" fmla="*/ 2361172 w 4735194"/>
                          <a:gd name="connsiteY51" fmla="*/ 2490761 h 4438963"/>
                          <a:gd name="connsiteX52" fmla="*/ 2501548 w 4735194"/>
                          <a:gd name="connsiteY52" fmla="*/ 2416647 h 4438963"/>
                          <a:gd name="connsiteX53" fmla="*/ 2502224 w 4735194"/>
                          <a:gd name="connsiteY53" fmla="*/ 1862810 h 4438963"/>
                          <a:gd name="connsiteX54" fmla="*/ 2502994 w 4735194"/>
                          <a:gd name="connsiteY54" fmla="*/ 1232031 h 4438963"/>
                          <a:gd name="connsiteX55" fmla="*/ 3563998 w 4735194"/>
                          <a:gd name="connsiteY55" fmla="*/ 674979 h 4438963"/>
                          <a:gd name="connsiteX56" fmla="*/ 3564178 w 4735194"/>
                          <a:gd name="connsiteY56" fmla="*/ 1292184 h 4438963"/>
                          <a:gd name="connsiteX57" fmla="*/ 3564343 w 4735194"/>
                          <a:gd name="connsiteY57" fmla="*/ 1855526 h 4438963"/>
                          <a:gd name="connsiteX58" fmla="*/ 3568919 w 4735194"/>
                          <a:gd name="connsiteY58" fmla="*/ 1853109 h 4438963"/>
                          <a:gd name="connsiteX59" fmla="*/ 4600389 w 4735194"/>
                          <a:gd name="connsiteY59" fmla="*/ 2441582 h 4438963"/>
                          <a:gd name="connsiteX60" fmla="*/ 4649951 w 4735194"/>
                          <a:gd name="connsiteY60" fmla="*/ 2470297 h 4438963"/>
                          <a:gd name="connsiteX61" fmla="*/ 4651097 w 4735194"/>
                          <a:gd name="connsiteY61" fmla="*/ 2469710 h 4438963"/>
                          <a:gd name="connsiteX62" fmla="*/ 4652008 w 4735194"/>
                          <a:gd name="connsiteY62" fmla="*/ 2471489 h 4438963"/>
                          <a:gd name="connsiteX63" fmla="*/ 4730218 w 4735194"/>
                          <a:gd name="connsiteY63" fmla="*/ 2516802 h 4438963"/>
                          <a:gd name="connsiteX64" fmla="*/ 4730218 w 4735194"/>
                          <a:gd name="connsiteY64" fmla="*/ 3859827 h 4438963"/>
                          <a:gd name="connsiteX65" fmla="*/ 3720568 w 4735194"/>
                          <a:gd name="connsiteY65" fmla="*/ 4421801 h 4438963"/>
                          <a:gd name="connsiteX66" fmla="*/ 3416519 w 4735194"/>
                          <a:gd name="connsiteY66" fmla="*/ 4402752 h 4438963"/>
                          <a:gd name="connsiteX67" fmla="*/ 2376040 w 4735194"/>
                          <a:gd name="connsiteY67" fmla="*/ 3876569 h 4438963"/>
                          <a:gd name="connsiteX68" fmla="*/ 1396468 w 4735194"/>
                          <a:gd name="connsiteY68" fmla="*/ 4421801 h 4438963"/>
                          <a:gd name="connsiteX69" fmla="*/ 1092419 w 4735194"/>
                          <a:gd name="connsiteY69" fmla="*/ 4402752 h 4438963"/>
                          <a:gd name="connsiteX70" fmla="*/ 0 w 4735194"/>
                          <a:gd name="connsiteY70" fmla="*/ 3850302 h 4438963"/>
                          <a:gd name="connsiteX71" fmla="*/ 0 w 4735194"/>
                          <a:gd name="connsiteY71" fmla="*/ 2510334 h 4438963"/>
                          <a:gd name="connsiteX72" fmla="*/ 1235557 w 4735194"/>
                          <a:gd name="connsiteY72" fmla="*/ 1857999 h 4438963"/>
                          <a:gd name="connsiteX73" fmla="*/ 1229420 w 4735194"/>
                          <a:gd name="connsiteY73" fmla="*/ 674979 h 4438963"/>
                          <a:gd name="connsiteX74" fmla="*/ 2449492 w 4735194"/>
                          <a:gd name="connsiteY74" fmla="*/ 0 h 4438963"/>
                          <a:gd name="connsiteX75" fmla="*/ 3460395 w 4735194"/>
                          <a:gd name="connsiteY75" fmla="*/ 590737 h 4438963"/>
                          <a:gd name="connsiteX76" fmla="*/ 2475482 w 4735194"/>
                          <a:gd name="connsiteY76" fmla="*/ 1094603 h 4438963"/>
                          <a:gd name="connsiteX77" fmla="*/ 2354300 w 4735194"/>
                          <a:gd name="connsiteY77" fmla="*/ 1098113 h 4438963"/>
                          <a:gd name="connsiteX78" fmla="*/ 1333964 w 4735194"/>
                          <a:gd name="connsiteY78" fmla="*/ 558599 h 4438963"/>
                          <a:gd name="connsiteX79" fmla="*/ 2449492 w 4735194"/>
                          <a:gd name="connsiteY79"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7399 w 4735194"/>
                          <a:gd name="connsiteY46" fmla="*/ 1830389 h 4438963"/>
                          <a:gd name="connsiteX47" fmla="*/ 2264858 w 4735194"/>
                          <a:gd name="connsiteY47" fmla="*/ 2434947 h 4438963"/>
                          <a:gd name="connsiteX48" fmla="*/ 2325851 w 4735194"/>
                          <a:gd name="connsiteY48" fmla="*/ 2470297 h 4438963"/>
                          <a:gd name="connsiteX49" fmla="*/ 2326997 w 4735194"/>
                          <a:gd name="connsiteY49" fmla="*/ 2469710 h 4438963"/>
                          <a:gd name="connsiteX50" fmla="*/ 2361172 w 4735194"/>
                          <a:gd name="connsiteY50" fmla="*/ 2490761 h 4438963"/>
                          <a:gd name="connsiteX51" fmla="*/ 2501548 w 4735194"/>
                          <a:gd name="connsiteY51" fmla="*/ 2416647 h 4438963"/>
                          <a:gd name="connsiteX52" fmla="*/ 2502224 w 4735194"/>
                          <a:gd name="connsiteY52" fmla="*/ 1862810 h 4438963"/>
                          <a:gd name="connsiteX53" fmla="*/ 2502994 w 4735194"/>
                          <a:gd name="connsiteY53" fmla="*/ 1232031 h 4438963"/>
                          <a:gd name="connsiteX54" fmla="*/ 3563998 w 4735194"/>
                          <a:gd name="connsiteY54" fmla="*/ 674979 h 4438963"/>
                          <a:gd name="connsiteX55" fmla="*/ 3564178 w 4735194"/>
                          <a:gd name="connsiteY55" fmla="*/ 1292184 h 4438963"/>
                          <a:gd name="connsiteX56" fmla="*/ 3564343 w 4735194"/>
                          <a:gd name="connsiteY56" fmla="*/ 1855526 h 4438963"/>
                          <a:gd name="connsiteX57" fmla="*/ 3568919 w 4735194"/>
                          <a:gd name="connsiteY57" fmla="*/ 1853109 h 4438963"/>
                          <a:gd name="connsiteX58" fmla="*/ 4600389 w 4735194"/>
                          <a:gd name="connsiteY58" fmla="*/ 2441582 h 4438963"/>
                          <a:gd name="connsiteX59" fmla="*/ 4649951 w 4735194"/>
                          <a:gd name="connsiteY59" fmla="*/ 2470297 h 4438963"/>
                          <a:gd name="connsiteX60" fmla="*/ 4651097 w 4735194"/>
                          <a:gd name="connsiteY60" fmla="*/ 2469710 h 4438963"/>
                          <a:gd name="connsiteX61" fmla="*/ 4652008 w 4735194"/>
                          <a:gd name="connsiteY61" fmla="*/ 2471489 h 4438963"/>
                          <a:gd name="connsiteX62" fmla="*/ 4730218 w 4735194"/>
                          <a:gd name="connsiteY62" fmla="*/ 2516802 h 4438963"/>
                          <a:gd name="connsiteX63" fmla="*/ 4730218 w 4735194"/>
                          <a:gd name="connsiteY63" fmla="*/ 3859827 h 4438963"/>
                          <a:gd name="connsiteX64" fmla="*/ 3720568 w 4735194"/>
                          <a:gd name="connsiteY64" fmla="*/ 4421801 h 4438963"/>
                          <a:gd name="connsiteX65" fmla="*/ 3416519 w 4735194"/>
                          <a:gd name="connsiteY65" fmla="*/ 4402752 h 4438963"/>
                          <a:gd name="connsiteX66" fmla="*/ 2376040 w 4735194"/>
                          <a:gd name="connsiteY66" fmla="*/ 3876569 h 4438963"/>
                          <a:gd name="connsiteX67" fmla="*/ 1396468 w 4735194"/>
                          <a:gd name="connsiteY67" fmla="*/ 4421801 h 4438963"/>
                          <a:gd name="connsiteX68" fmla="*/ 1092419 w 4735194"/>
                          <a:gd name="connsiteY68" fmla="*/ 4402752 h 4438963"/>
                          <a:gd name="connsiteX69" fmla="*/ 0 w 4735194"/>
                          <a:gd name="connsiteY69" fmla="*/ 3850302 h 4438963"/>
                          <a:gd name="connsiteX70" fmla="*/ 0 w 4735194"/>
                          <a:gd name="connsiteY70" fmla="*/ 2510334 h 4438963"/>
                          <a:gd name="connsiteX71" fmla="*/ 1235557 w 4735194"/>
                          <a:gd name="connsiteY71" fmla="*/ 1857999 h 4438963"/>
                          <a:gd name="connsiteX72" fmla="*/ 1229420 w 4735194"/>
                          <a:gd name="connsiteY72" fmla="*/ 674979 h 4438963"/>
                          <a:gd name="connsiteX73" fmla="*/ 2449492 w 4735194"/>
                          <a:gd name="connsiteY73" fmla="*/ 0 h 4438963"/>
                          <a:gd name="connsiteX74" fmla="*/ 3460395 w 4735194"/>
                          <a:gd name="connsiteY74" fmla="*/ 590737 h 4438963"/>
                          <a:gd name="connsiteX75" fmla="*/ 2475482 w 4735194"/>
                          <a:gd name="connsiteY75" fmla="*/ 1094603 h 4438963"/>
                          <a:gd name="connsiteX76" fmla="*/ 2354300 w 4735194"/>
                          <a:gd name="connsiteY76" fmla="*/ 1098113 h 4438963"/>
                          <a:gd name="connsiteX77" fmla="*/ 1333964 w 4735194"/>
                          <a:gd name="connsiteY77" fmla="*/ 558599 h 4438963"/>
                          <a:gd name="connsiteX78" fmla="*/ 2449492 w 4735194"/>
                          <a:gd name="connsiteY78"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7399 w 4735194"/>
                          <a:gd name="connsiteY46" fmla="*/ 1830389 h 4438963"/>
                          <a:gd name="connsiteX47" fmla="*/ 2264858 w 4735194"/>
                          <a:gd name="connsiteY47" fmla="*/ 2434947 h 4438963"/>
                          <a:gd name="connsiteX48" fmla="*/ 2325851 w 4735194"/>
                          <a:gd name="connsiteY48" fmla="*/ 2470297 h 4438963"/>
                          <a:gd name="connsiteX49" fmla="*/ 2361172 w 4735194"/>
                          <a:gd name="connsiteY49" fmla="*/ 2490761 h 4438963"/>
                          <a:gd name="connsiteX50" fmla="*/ 2501548 w 4735194"/>
                          <a:gd name="connsiteY50" fmla="*/ 2416647 h 4438963"/>
                          <a:gd name="connsiteX51" fmla="*/ 2502224 w 4735194"/>
                          <a:gd name="connsiteY51" fmla="*/ 1862810 h 4438963"/>
                          <a:gd name="connsiteX52" fmla="*/ 2502994 w 4735194"/>
                          <a:gd name="connsiteY52" fmla="*/ 1232031 h 4438963"/>
                          <a:gd name="connsiteX53" fmla="*/ 3563998 w 4735194"/>
                          <a:gd name="connsiteY53" fmla="*/ 674979 h 4438963"/>
                          <a:gd name="connsiteX54" fmla="*/ 3564178 w 4735194"/>
                          <a:gd name="connsiteY54" fmla="*/ 1292184 h 4438963"/>
                          <a:gd name="connsiteX55" fmla="*/ 3564343 w 4735194"/>
                          <a:gd name="connsiteY55" fmla="*/ 1855526 h 4438963"/>
                          <a:gd name="connsiteX56" fmla="*/ 3568919 w 4735194"/>
                          <a:gd name="connsiteY56" fmla="*/ 1853109 h 4438963"/>
                          <a:gd name="connsiteX57" fmla="*/ 4600389 w 4735194"/>
                          <a:gd name="connsiteY57" fmla="*/ 2441582 h 4438963"/>
                          <a:gd name="connsiteX58" fmla="*/ 4649951 w 4735194"/>
                          <a:gd name="connsiteY58" fmla="*/ 2470297 h 4438963"/>
                          <a:gd name="connsiteX59" fmla="*/ 4651097 w 4735194"/>
                          <a:gd name="connsiteY59" fmla="*/ 2469710 h 4438963"/>
                          <a:gd name="connsiteX60" fmla="*/ 4652008 w 4735194"/>
                          <a:gd name="connsiteY60" fmla="*/ 2471489 h 4438963"/>
                          <a:gd name="connsiteX61" fmla="*/ 4730218 w 4735194"/>
                          <a:gd name="connsiteY61" fmla="*/ 2516802 h 4438963"/>
                          <a:gd name="connsiteX62" fmla="*/ 4730218 w 4735194"/>
                          <a:gd name="connsiteY62" fmla="*/ 3859827 h 4438963"/>
                          <a:gd name="connsiteX63" fmla="*/ 3720568 w 4735194"/>
                          <a:gd name="connsiteY63" fmla="*/ 4421801 h 4438963"/>
                          <a:gd name="connsiteX64" fmla="*/ 3416519 w 4735194"/>
                          <a:gd name="connsiteY64" fmla="*/ 4402752 h 4438963"/>
                          <a:gd name="connsiteX65" fmla="*/ 2376040 w 4735194"/>
                          <a:gd name="connsiteY65" fmla="*/ 3876569 h 4438963"/>
                          <a:gd name="connsiteX66" fmla="*/ 1396468 w 4735194"/>
                          <a:gd name="connsiteY66" fmla="*/ 4421801 h 4438963"/>
                          <a:gd name="connsiteX67" fmla="*/ 1092419 w 4735194"/>
                          <a:gd name="connsiteY67" fmla="*/ 4402752 h 4438963"/>
                          <a:gd name="connsiteX68" fmla="*/ 0 w 4735194"/>
                          <a:gd name="connsiteY68" fmla="*/ 3850302 h 4438963"/>
                          <a:gd name="connsiteX69" fmla="*/ 0 w 4735194"/>
                          <a:gd name="connsiteY69" fmla="*/ 2510334 h 4438963"/>
                          <a:gd name="connsiteX70" fmla="*/ 1235557 w 4735194"/>
                          <a:gd name="connsiteY70" fmla="*/ 1857999 h 4438963"/>
                          <a:gd name="connsiteX71" fmla="*/ 1229420 w 4735194"/>
                          <a:gd name="connsiteY71" fmla="*/ 674979 h 4438963"/>
                          <a:gd name="connsiteX72" fmla="*/ 2449492 w 4735194"/>
                          <a:gd name="connsiteY72" fmla="*/ 0 h 4438963"/>
                          <a:gd name="connsiteX73" fmla="*/ 3460395 w 4735194"/>
                          <a:gd name="connsiteY73" fmla="*/ 590737 h 4438963"/>
                          <a:gd name="connsiteX74" fmla="*/ 2475482 w 4735194"/>
                          <a:gd name="connsiteY74" fmla="*/ 1094603 h 4438963"/>
                          <a:gd name="connsiteX75" fmla="*/ 2354300 w 4735194"/>
                          <a:gd name="connsiteY75" fmla="*/ 1098113 h 4438963"/>
                          <a:gd name="connsiteX76" fmla="*/ 1333964 w 4735194"/>
                          <a:gd name="connsiteY76" fmla="*/ 558599 h 4438963"/>
                          <a:gd name="connsiteX77" fmla="*/ 2449492 w 4735194"/>
                          <a:gd name="connsiteY77"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7399 w 4735194"/>
                          <a:gd name="connsiteY46" fmla="*/ 1830389 h 4438963"/>
                          <a:gd name="connsiteX47" fmla="*/ 2264858 w 4735194"/>
                          <a:gd name="connsiteY47" fmla="*/ 2434947 h 4438963"/>
                          <a:gd name="connsiteX48" fmla="*/ 2361172 w 4735194"/>
                          <a:gd name="connsiteY48" fmla="*/ 2490761 h 4438963"/>
                          <a:gd name="connsiteX49" fmla="*/ 2501548 w 4735194"/>
                          <a:gd name="connsiteY49" fmla="*/ 2416647 h 4438963"/>
                          <a:gd name="connsiteX50" fmla="*/ 2502224 w 4735194"/>
                          <a:gd name="connsiteY50" fmla="*/ 1862810 h 4438963"/>
                          <a:gd name="connsiteX51" fmla="*/ 2502994 w 4735194"/>
                          <a:gd name="connsiteY51" fmla="*/ 1232031 h 4438963"/>
                          <a:gd name="connsiteX52" fmla="*/ 3563998 w 4735194"/>
                          <a:gd name="connsiteY52" fmla="*/ 674979 h 4438963"/>
                          <a:gd name="connsiteX53" fmla="*/ 3564178 w 4735194"/>
                          <a:gd name="connsiteY53" fmla="*/ 1292184 h 4438963"/>
                          <a:gd name="connsiteX54" fmla="*/ 3564343 w 4735194"/>
                          <a:gd name="connsiteY54" fmla="*/ 1855526 h 4438963"/>
                          <a:gd name="connsiteX55" fmla="*/ 3568919 w 4735194"/>
                          <a:gd name="connsiteY55" fmla="*/ 1853109 h 4438963"/>
                          <a:gd name="connsiteX56" fmla="*/ 4600389 w 4735194"/>
                          <a:gd name="connsiteY56" fmla="*/ 2441582 h 4438963"/>
                          <a:gd name="connsiteX57" fmla="*/ 4649951 w 4735194"/>
                          <a:gd name="connsiteY57" fmla="*/ 2470297 h 4438963"/>
                          <a:gd name="connsiteX58" fmla="*/ 4651097 w 4735194"/>
                          <a:gd name="connsiteY58" fmla="*/ 2469710 h 4438963"/>
                          <a:gd name="connsiteX59" fmla="*/ 4652008 w 4735194"/>
                          <a:gd name="connsiteY59" fmla="*/ 2471489 h 4438963"/>
                          <a:gd name="connsiteX60" fmla="*/ 4730218 w 4735194"/>
                          <a:gd name="connsiteY60" fmla="*/ 2516802 h 4438963"/>
                          <a:gd name="connsiteX61" fmla="*/ 4730218 w 4735194"/>
                          <a:gd name="connsiteY61" fmla="*/ 3859827 h 4438963"/>
                          <a:gd name="connsiteX62" fmla="*/ 3720568 w 4735194"/>
                          <a:gd name="connsiteY62" fmla="*/ 4421801 h 4438963"/>
                          <a:gd name="connsiteX63" fmla="*/ 3416519 w 4735194"/>
                          <a:gd name="connsiteY63" fmla="*/ 4402752 h 4438963"/>
                          <a:gd name="connsiteX64" fmla="*/ 2376040 w 4735194"/>
                          <a:gd name="connsiteY64" fmla="*/ 3876569 h 4438963"/>
                          <a:gd name="connsiteX65" fmla="*/ 1396468 w 4735194"/>
                          <a:gd name="connsiteY65" fmla="*/ 4421801 h 4438963"/>
                          <a:gd name="connsiteX66" fmla="*/ 1092419 w 4735194"/>
                          <a:gd name="connsiteY66" fmla="*/ 4402752 h 4438963"/>
                          <a:gd name="connsiteX67" fmla="*/ 0 w 4735194"/>
                          <a:gd name="connsiteY67" fmla="*/ 3850302 h 4438963"/>
                          <a:gd name="connsiteX68" fmla="*/ 0 w 4735194"/>
                          <a:gd name="connsiteY68" fmla="*/ 2510334 h 4438963"/>
                          <a:gd name="connsiteX69" fmla="*/ 1235557 w 4735194"/>
                          <a:gd name="connsiteY69" fmla="*/ 1857999 h 4438963"/>
                          <a:gd name="connsiteX70" fmla="*/ 1229420 w 4735194"/>
                          <a:gd name="connsiteY70" fmla="*/ 674979 h 4438963"/>
                          <a:gd name="connsiteX71" fmla="*/ 2449492 w 4735194"/>
                          <a:gd name="connsiteY71" fmla="*/ 0 h 4438963"/>
                          <a:gd name="connsiteX72" fmla="*/ 3460395 w 4735194"/>
                          <a:gd name="connsiteY72" fmla="*/ 590737 h 4438963"/>
                          <a:gd name="connsiteX73" fmla="*/ 2475482 w 4735194"/>
                          <a:gd name="connsiteY73" fmla="*/ 1094603 h 4438963"/>
                          <a:gd name="connsiteX74" fmla="*/ 2354300 w 4735194"/>
                          <a:gd name="connsiteY74" fmla="*/ 1098113 h 4438963"/>
                          <a:gd name="connsiteX75" fmla="*/ 1333964 w 4735194"/>
                          <a:gd name="connsiteY75" fmla="*/ 558599 h 4438963"/>
                          <a:gd name="connsiteX76" fmla="*/ 2449492 w 4735194"/>
                          <a:gd name="connsiteY76"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7399 w 4735194"/>
                          <a:gd name="connsiteY46" fmla="*/ 1830389 h 4438963"/>
                          <a:gd name="connsiteX47" fmla="*/ 2264858 w 4735194"/>
                          <a:gd name="connsiteY47" fmla="*/ 2403347 h 4438963"/>
                          <a:gd name="connsiteX48" fmla="*/ 2361172 w 4735194"/>
                          <a:gd name="connsiteY48" fmla="*/ 2490761 h 4438963"/>
                          <a:gd name="connsiteX49" fmla="*/ 2501548 w 4735194"/>
                          <a:gd name="connsiteY49" fmla="*/ 2416647 h 4438963"/>
                          <a:gd name="connsiteX50" fmla="*/ 2502224 w 4735194"/>
                          <a:gd name="connsiteY50" fmla="*/ 1862810 h 4438963"/>
                          <a:gd name="connsiteX51" fmla="*/ 2502994 w 4735194"/>
                          <a:gd name="connsiteY51" fmla="*/ 1232031 h 4438963"/>
                          <a:gd name="connsiteX52" fmla="*/ 3563998 w 4735194"/>
                          <a:gd name="connsiteY52" fmla="*/ 674979 h 4438963"/>
                          <a:gd name="connsiteX53" fmla="*/ 3564178 w 4735194"/>
                          <a:gd name="connsiteY53" fmla="*/ 1292184 h 4438963"/>
                          <a:gd name="connsiteX54" fmla="*/ 3564343 w 4735194"/>
                          <a:gd name="connsiteY54" fmla="*/ 1855526 h 4438963"/>
                          <a:gd name="connsiteX55" fmla="*/ 3568919 w 4735194"/>
                          <a:gd name="connsiteY55" fmla="*/ 1853109 h 4438963"/>
                          <a:gd name="connsiteX56" fmla="*/ 4600389 w 4735194"/>
                          <a:gd name="connsiteY56" fmla="*/ 2441582 h 4438963"/>
                          <a:gd name="connsiteX57" fmla="*/ 4649951 w 4735194"/>
                          <a:gd name="connsiteY57" fmla="*/ 2470297 h 4438963"/>
                          <a:gd name="connsiteX58" fmla="*/ 4651097 w 4735194"/>
                          <a:gd name="connsiteY58" fmla="*/ 2469710 h 4438963"/>
                          <a:gd name="connsiteX59" fmla="*/ 4652008 w 4735194"/>
                          <a:gd name="connsiteY59" fmla="*/ 2471489 h 4438963"/>
                          <a:gd name="connsiteX60" fmla="*/ 4730218 w 4735194"/>
                          <a:gd name="connsiteY60" fmla="*/ 2516802 h 4438963"/>
                          <a:gd name="connsiteX61" fmla="*/ 4730218 w 4735194"/>
                          <a:gd name="connsiteY61" fmla="*/ 3859827 h 4438963"/>
                          <a:gd name="connsiteX62" fmla="*/ 3720568 w 4735194"/>
                          <a:gd name="connsiteY62" fmla="*/ 4421801 h 4438963"/>
                          <a:gd name="connsiteX63" fmla="*/ 3416519 w 4735194"/>
                          <a:gd name="connsiteY63" fmla="*/ 4402752 h 4438963"/>
                          <a:gd name="connsiteX64" fmla="*/ 2376040 w 4735194"/>
                          <a:gd name="connsiteY64" fmla="*/ 3876569 h 4438963"/>
                          <a:gd name="connsiteX65" fmla="*/ 1396468 w 4735194"/>
                          <a:gd name="connsiteY65" fmla="*/ 4421801 h 4438963"/>
                          <a:gd name="connsiteX66" fmla="*/ 1092419 w 4735194"/>
                          <a:gd name="connsiteY66" fmla="*/ 4402752 h 4438963"/>
                          <a:gd name="connsiteX67" fmla="*/ 0 w 4735194"/>
                          <a:gd name="connsiteY67" fmla="*/ 3850302 h 4438963"/>
                          <a:gd name="connsiteX68" fmla="*/ 0 w 4735194"/>
                          <a:gd name="connsiteY68" fmla="*/ 2510334 h 4438963"/>
                          <a:gd name="connsiteX69" fmla="*/ 1235557 w 4735194"/>
                          <a:gd name="connsiteY69" fmla="*/ 1857999 h 4438963"/>
                          <a:gd name="connsiteX70" fmla="*/ 1229420 w 4735194"/>
                          <a:gd name="connsiteY70" fmla="*/ 674979 h 4438963"/>
                          <a:gd name="connsiteX71" fmla="*/ 2449492 w 4735194"/>
                          <a:gd name="connsiteY71" fmla="*/ 0 h 4438963"/>
                          <a:gd name="connsiteX72" fmla="*/ 3460395 w 4735194"/>
                          <a:gd name="connsiteY72" fmla="*/ 590737 h 4438963"/>
                          <a:gd name="connsiteX73" fmla="*/ 2475482 w 4735194"/>
                          <a:gd name="connsiteY73" fmla="*/ 1094603 h 4438963"/>
                          <a:gd name="connsiteX74" fmla="*/ 2354300 w 4735194"/>
                          <a:gd name="connsiteY74" fmla="*/ 1098113 h 4438963"/>
                          <a:gd name="connsiteX75" fmla="*/ 1333964 w 4735194"/>
                          <a:gd name="connsiteY75" fmla="*/ 558599 h 4438963"/>
                          <a:gd name="connsiteX76" fmla="*/ 2449492 w 4735194"/>
                          <a:gd name="connsiteY76"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7399 w 4735194"/>
                          <a:gd name="connsiteY46" fmla="*/ 1830389 h 4438963"/>
                          <a:gd name="connsiteX47" fmla="*/ 2264858 w 4735194"/>
                          <a:gd name="connsiteY47" fmla="*/ 2403347 h 4438963"/>
                          <a:gd name="connsiteX48" fmla="*/ 2369072 w 4735194"/>
                          <a:gd name="connsiteY48" fmla="*/ 2485495 h 4438963"/>
                          <a:gd name="connsiteX49" fmla="*/ 2501548 w 4735194"/>
                          <a:gd name="connsiteY49" fmla="*/ 2416647 h 4438963"/>
                          <a:gd name="connsiteX50" fmla="*/ 2502224 w 4735194"/>
                          <a:gd name="connsiteY50" fmla="*/ 1862810 h 4438963"/>
                          <a:gd name="connsiteX51" fmla="*/ 2502994 w 4735194"/>
                          <a:gd name="connsiteY51" fmla="*/ 1232031 h 4438963"/>
                          <a:gd name="connsiteX52" fmla="*/ 3563998 w 4735194"/>
                          <a:gd name="connsiteY52" fmla="*/ 674979 h 4438963"/>
                          <a:gd name="connsiteX53" fmla="*/ 3564178 w 4735194"/>
                          <a:gd name="connsiteY53" fmla="*/ 1292184 h 4438963"/>
                          <a:gd name="connsiteX54" fmla="*/ 3564343 w 4735194"/>
                          <a:gd name="connsiteY54" fmla="*/ 1855526 h 4438963"/>
                          <a:gd name="connsiteX55" fmla="*/ 3568919 w 4735194"/>
                          <a:gd name="connsiteY55" fmla="*/ 1853109 h 4438963"/>
                          <a:gd name="connsiteX56" fmla="*/ 4600389 w 4735194"/>
                          <a:gd name="connsiteY56" fmla="*/ 2441582 h 4438963"/>
                          <a:gd name="connsiteX57" fmla="*/ 4649951 w 4735194"/>
                          <a:gd name="connsiteY57" fmla="*/ 2470297 h 4438963"/>
                          <a:gd name="connsiteX58" fmla="*/ 4651097 w 4735194"/>
                          <a:gd name="connsiteY58" fmla="*/ 2469710 h 4438963"/>
                          <a:gd name="connsiteX59" fmla="*/ 4652008 w 4735194"/>
                          <a:gd name="connsiteY59" fmla="*/ 2471489 h 4438963"/>
                          <a:gd name="connsiteX60" fmla="*/ 4730218 w 4735194"/>
                          <a:gd name="connsiteY60" fmla="*/ 2516802 h 4438963"/>
                          <a:gd name="connsiteX61" fmla="*/ 4730218 w 4735194"/>
                          <a:gd name="connsiteY61" fmla="*/ 3859827 h 4438963"/>
                          <a:gd name="connsiteX62" fmla="*/ 3720568 w 4735194"/>
                          <a:gd name="connsiteY62" fmla="*/ 4421801 h 4438963"/>
                          <a:gd name="connsiteX63" fmla="*/ 3416519 w 4735194"/>
                          <a:gd name="connsiteY63" fmla="*/ 4402752 h 4438963"/>
                          <a:gd name="connsiteX64" fmla="*/ 2376040 w 4735194"/>
                          <a:gd name="connsiteY64" fmla="*/ 3876569 h 4438963"/>
                          <a:gd name="connsiteX65" fmla="*/ 1396468 w 4735194"/>
                          <a:gd name="connsiteY65" fmla="*/ 4421801 h 4438963"/>
                          <a:gd name="connsiteX66" fmla="*/ 1092419 w 4735194"/>
                          <a:gd name="connsiteY66" fmla="*/ 4402752 h 4438963"/>
                          <a:gd name="connsiteX67" fmla="*/ 0 w 4735194"/>
                          <a:gd name="connsiteY67" fmla="*/ 3850302 h 4438963"/>
                          <a:gd name="connsiteX68" fmla="*/ 0 w 4735194"/>
                          <a:gd name="connsiteY68" fmla="*/ 2510334 h 4438963"/>
                          <a:gd name="connsiteX69" fmla="*/ 1235557 w 4735194"/>
                          <a:gd name="connsiteY69" fmla="*/ 1857999 h 4438963"/>
                          <a:gd name="connsiteX70" fmla="*/ 1229420 w 4735194"/>
                          <a:gd name="connsiteY70" fmla="*/ 674979 h 4438963"/>
                          <a:gd name="connsiteX71" fmla="*/ 2449492 w 4735194"/>
                          <a:gd name="connsiteY71" fmla="*/ 0 h 4438963"/>
                          <a:gd name="connsiteX72" fmla="*/ 3460395 w 4735194"/>
                          <a:gd name="connsiteY72" fmla="*/ 590737 h 4438963"/>
                          <a:gd name="connsiteX73" fmla="*/ 2475482 w 4735194"/>
                          <a:gd name="connsiteY73" fmla="*/ 1094603 h 4438963"/>
                          <a:gd name="connsiteX74" fmla="*/ 2354300 w 4735194"/>
                          <a:gd name="connsiteY74" fmla="*/ 1098113 h 4438963"/>
                          <a:gd name="connsiteX75" fmla="*/ 1333964 w 4735194"/>
                          <a:gd name="connsiteY75" fmla="*/ 558599 h 4438963"/>
                          <a:gd name="connsiteX76" fmla="*/ 2449492 w 4735194"/>
                          <a:gd name="connsiteY76"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7399 w 4735194"/>
                          <a:gd name="connsiteY46" fmla="*/ 1830389 h 4438963"/>
                          <a:gd name="connsiteX47" fmla="*/ 2264858 w 4735194"/>
                          <a:gd name="connsiteY47" fmla="*/ 2403347 h 4438963"/>
                          <a:gd name="connsiteX48" fmla="*/ 2369072 w 4735194"/>
                          <a:gd name="connsiteY48" fmla="*/ 2485495 h 4438963"/>
                          <a:gd name="connsiteX49" fmla="*/ 2501548 w 4735194"/>
                          <a:gd name="connsiteY49" fmla="*/ 2416647 h 4438963"/>
                          <a:gd name="connsiteX50" fmla="*/ 2502224 w 4735194"/>
                          <a:gd name="connsiteY50" fmla="*/ 1862810 h 4438963"/>
                          <a:gd name="connsiteX51" fmla="*/ 2502994 w 4735194"/>
                          <a:gd name="connsiteY51" fmla="*/ 1232031 h 4438963"/>
                          <a:gd name="connsiteX52" fmla="*/ 3563998 w 4735194"/>
                          <a:gd name="connsiteY52" fmla="*/ 674979 h 4438963"/>
                          <a:gd name="connsiteX53" fmla="*/ 3564178 w 4735194"/>
                          <a:gd name="connsiteY53" fmla="*/ 1292184 h 4438963"/>
                          <a:gd name="connsiteX54" fmla="*/ 3564343 w 4735194"/>
                          <a:gd name="connsiteY54" fmla="*/ 1855526 h 4438963"/>
                          <a:gd name="connsiteX55" fmla="*/ 3568919 w 4735194"/>
                          <a:gd name="connsiteY55" fmla="*/ 1853109 h 4438963"/>
                          <a:gd name="connsiteX56" fmla="*/ 4600389 w 4735194"/>
                          <a:gd name="connsiteY56" fmla="*/ 2441582 h 4438963"/>
                          <a:gd name="connsiteX57" fmla="*/ 4649951 w 4735194"/>
                          <a:gd name="connsiteY57" fmla="*/ 2470297 h 4438963"/>
                          <a:gd name="connsiteX58" fmla="*/ 4651097 w 4735194"/>
                          <a:gd name="connsiteY58" fmla="*/ 2469710 h 4438963"/>
                          <a:gd name="connsiteX59" fmla="*/ 4652008 w 4735194"/>
                          <a:gd name="connsiteY59" fmla="*/ 2471489 h 4438963"/>
                          <a:gd name="connsiteX60" fmla="*/ 4730218 w 4735194"/>
                          <a:gd name="connsiteY60" fmla="*/ 2516802 h 4438963"/>
                          <a:gd name="connsiteX61" fmla="*/ 4730218 w 4735194"/>
                          <a:gd name="connsiteY61" fmla="*/ 3859827 h 4438963"/>
                          <a:gd name="connsiteX62" fmla="*/ 3720568 w 4735194"/>
                          <a:gd name="connsiteY62" fmla="*/ 4421801 h 4438963"/>
                          <a:gd name="connsiteX63" fmla="*/ 3416519 w 4735194"/>
                          <a:gd name="connsiteY63" fmla="*/ 4402752 h 4438963"/>
                          <a:gd name="connsiteX64" fmla="*/ 2376040 w 4735194"/>
                          <a:gd name="connsiteY64" fmla="*/ 3876569 h 4438963"/>
                          <a:gd name="connsiteX65" fmla="*/ 1396468 w 4735194"/>
                          <a:gd name="connsiteY65" fmla="*/ 4421801 h 4438963"/>
                          <a:gd name="connsiteX66" fmla="*/ 1092419 w 4735194"/>
                          <a:gd name="connsiteY66" fmla="*/ 4402752 h 4438963"/>
                          <a:gd name="connsiteX67" fmla="*/ 0 w 4735194"/>
                          <a:gd name="connsiteY67" fmla="*/ 3850302 h 4438963"/>
                          <a:gd name="connsiteX68" fmla="*/ 0 w 4735194"/>
                          <a:gd name="connsiteY68" fmla="*/ 2510334 h 4438963"/>
                          <a:gd name="connsiteX69" fmla="*/ 1235557 w 4735194"/>
                          <a:gd name="connsiteY69" fmla="*/ 1857999 h 4438963"/>
                          <a:gd name="connsiteX70" fmla="*/ 1229420 w 4735194"/>
                          <a:gd name="connsiteY70" fmla="*/ 674979 h 4438963"/>
                          <a:gd name="connsiteX71" fmla="*/ 2449492 w 4735194"/>
                          <a:gd name="connsiteY71" fmla="*/ 0 h 4438963"/>
                          <a:gd name="connsiteX72" fmla="*/ 3460395 w 4735194"/>
                          <a:gd name="connsiteY72" fmla="*/ 590737 h 4438963"/>
                          <a:gd name="connsiteX73" fmla="*/ 2475482 w 4735194"/>
                          <a:gd name="connsiteY73" fmla="*/ 1094603 h 4438963"/>
                          <a:gd name="connsiteX74" fmla="*/ 2354300 w 4735194"/>
                          <a:gd name="connsiteY74" fmla="*/ 1098113 h 4438963"/>
                          <a:gd name="connsiteX75" fmla="*/ 1333964 w 4735194"/>
                          <a:gd name="connsiteY75" fmla="*/ 558599 h 4438963"/>
                          <a:gd name="connsiteX76" fmla="*/ 2449492 w 4735194"/>
                          <a:gd name="connsiteY76"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7399 w 4735194"/>
                          <a:gd name="connsiteY46" fmla="*/ 1830389 h 4438963"/>
                          <a:gd name="connsiteX47" fmla="*/ 2264858 w 4735194"/>
                          <a:gd name="connsiteY47" fmla="*/ 2403347 h 4438963"/>
                          <a:gd name="connsiteX48" fmla="*/ 2382239 w 4735194"/>
                          <a:gd name="connsiteY48" fmla="*/ 2480229 h 4438963"/>
                          <a:gd name="connsiteX49" fmla="*/ 2501548 w 4735194"/>
                          <a:gd name="connsiteY49" fmla="*/ 2416647 h 4438963"/>
                          <a:gd name="connsiteX50" fmla="*/ 2502224 w 4735194"/>
                          <a:gd name="connsiteY50" fmla="*/ 1862810 h 4438963"/>
                          <a:gd name="connsiteX51" fmla="*/ 2502994 w 4735194"/>
                          <a:gd name="connsiteY51" fmla="*/ 1232031 h 4438963"/>
                          <a:gd name="connsiteX52" fmla="*/ 3563998 w 4735194"/>
                          <a:gd name="connsiteY52" fmla="*/ 674979 h 4438963"/>
                          <a:gd name="connsiteX53" fmla="*/ 3564178 w 4735194"/>
                          <a:gd name="connsiteY53" fmla="*/ 1292184 h 4438963"/>
                          <a:gd name="connsiteX54" fmla="*/ 3564343 w 4735194"/>
                          <a:gd name="connsiteY54" fmla="*/ 1855526 h 4438963"/>
                          <a:gd name="connsiteX55" fmla="*/ 3568919 w 4735194"/>
                          <a:gd name="connsiteY55" fmla="*/ 1853109 h 4438963"/>
                          <a:gd name="connsiteX56" fmla="*/ 4600389 w 4735194"/>
                          <a:gd name="connsiteY56" fmla="*/ 2441582 h 4438963"/>
                          <a:gd name="connsiteX57" fmla="*/ 4649951 w 4735194"/>
                          <a:gd name="connsiteY57" fmla="*/ 2470297 h 4438963"/>
                          <a:gd name="connsiteX58" fmla="*/ 4651097 w 4735194"/>
                          <a:gd name="connsiteY58" fmla="*/ 2469710 h 4438963"/>
                          <a:gd name="connsiteX59" fmla="*/ 4652008 w 4735194"/>
                          <a:gd name="connsiteY59" fmla="*/ 2471489 h 4438963"/>
                          <a:gd name="connsiteX60" fmla="*/ 4730218 w 4735194"/>
                          <a:gd name="connsiteY60" fmla="*/ 2516802 h 4438963"/>
                          <a:gd name="connsiteX61" fmla="*/ 4730218 w 4735194"/>
                          <a:gd name="connsiteY61" fmla="*/ 3859827 h 4438963"/>
                          <a:gd name="connsiteX62" fmla="*/ 3720568 w 4735194"/>
                          <a:gd name="connsiteY62" fmla="*/ 4421801 h 4438963"/>
                          <a:gd name="connsiteX63" fmla="*/ 3416519 w 4735194"/>
                          <a:gd name="connsiteY63" fmla="*/ 4402752 h 4438963"/>
                          <a:gd name="connsiteX64" fmla="*/ 2376040 w 4735194"/>
                          <a:gd name="connsiteY64" fmla="*/ 3876569 h 4438963"/>
                          <a:gd name="connsiteX65" fmla="*/ 1396468 w 4735194"/>
                          <a:gd name="connsiteY65" fmla="*/ 4421801 h 4438963"/>
                          <a:gd name="connsiteX66" fmla="*/ 1092419 w 4735194"/>
                          <a:gd name="connsiteY66" fmla="*/ 4402752 h 4438963"/>
                          <a:gd name="connsiteX67" fmla="*/ 0 w 4735194"/>
                          <a:gd name="connsiteY67" fmla="*/ 3850302 h 4438963"/>
                          <a:gd name="connsiteX68" fmla="*/ 0 w 4735194"/>
                          <a:gd name="connsiteY68" fmla="*/ 2510334 h 4438963"/>
                          <a:gd name="connsiteX69" fmla="*/ 1235557 w 4735194"/>
                          <a:gd name="connsiteY69" fmla="*/ 1857999 h 4438963"/>
                          <a:gd name="connsiteX70" fmla="*/ 1229420 w 4735194"/>
                          <a:gd name="connsiteY70" fmla="*/ 674979 h 4438963"/>
                          <a:gd name="connsiteX71" fmla="*/ 2449492 w 4735194"/>
                          <a:gd name="connsiteY71" fmla="*/ 0 h 4438963"/>
                          <a:gd name="connsiteX72" fmla="*/ 3460395 w 4735194"/>
                          <a:gd name="connsiteY72" fmla="*/ 590737 h 4438963"/>
                          <a:gd name="connsiteX73" fmla="*/ 2475482 w 4735194"/>
                          <a:gd name="connsiteY73" fmla="*/ 1094603 h 4438963"/>
                          <a:gd name="connsiteX74" fmla="*/ 2354300 w 4735194"/>
                          <a:gd name="connsiteY74" fmla="*/ 1098113 h 4438963"/>
                          <a:gd name="connsiteX75" fmla="*/ 1333964 w 4735194"/>
                          <a:gd name="connsiteY75" fmla="*/ 558599 h 4438963"/>
                          <a:gd name="connsiteX76" fmla="*/ 2449492 w 4735194"/>
                          <a:gd name="connsiteY76"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4858 w 4735194"/>
                          <a:gd name="connsiteY46" fmla="*/ 2403347 h 4438963"/>
                          <a:gd name="connsiteX47" fmla="*/ 2382239 w 4735194"/>
                          <a:gd name="connsiteY47" fmla="*/ 2480229 h 4438963"/>
                          <a:gd name="connsiteX48" fmla="*/ 2501548 w 4735194"/>
                          <a:gd name="connsiteY48" fmla="*/ 2416647 h 4438963"/>
                          <a:gd name="connsiteX49" fmla="*/ 2502224 w 4735194"/>
                          <a:gd name="connsiteY49" fmla="*/ 1862810 h 4438963"/>
                          <a:gd name="connsiteX50" fmla="*/ 2502994 w 4735194"/>
                          <a:gd name="connsiteY50" fmla="*/ 1232031 h 4438963"/>
                          <a:gd name="connsiteX51" fmla="*/ 3563998 w 4735194"/>
                          <a:gd name="connsiteY51" fmla="*/ 674979 h 4438963"/>
                          <a:gd name="connsiteX52" fmla="*/ 3564178 w 4735194"/>
                          <a:gd name="connsiteY52" fmla="*/ 1292184 h 4438963"/>
                          <a:gd name="connsiteX53" fmla="*/ 3564343 w 4735194"/>
                          <a:gd name="connsiteY53" fmla="*/ 1855526 h 4438963"/>
                          <a:gd name="connsiteX54" fmla="*/ 3568919 w 4735194"/>
                          <a:gd name="connsiteY54" fmla="*/ 1853109 h 4438963"/>
                          <a:gd name="connsiteX55" fmla="*/ 4600389 w 4735194"/>
                          <a:gd name="connsiteY55" fmla="*/ 2441582 h 4438963"/>
                          <a:gd name="connsiteX56" fmla="*/ 4649951 w 4735194"/>
                          <a:gd name="connsiteY56" fmla="*/ 2470297 h 4438963"/>
                          <a:gd name="connsiteX57" fmla="*/ 4651097 w 4735194"/>
                          <a:gd name="connsiteY57" fmla="*/ 2469710 h 4438963"/>
                          <a:gd name="connsiteX58" fmla="*/ 4652008 w 4735194"/>
                          <a:gd name="connsiteY58" fmla="*/ 2471489 h 4438963"/>
                          <a:gd name="connsiteX59" fmla="*/ 4730218 w 4735194"/>
                          <a:gd name="connsiteY59" fmla="*/ 2516802 h 4438963"/>
                          <a:gd name="connsiteX60" fmla="*/ 4730218 w 4735194"/>
                          <a:gd name="connsiteY60" fmla="*/ 3859827 h 4438963"/>
                          <a:gd name="connsiteX61" fmla="*/ 3720568 w 4735194"/>
                          <a:gd name="connsiteY61" fmla="*/ 4421801 h 4438963"/>
                          <a:gd name="connsiteX62" fmla="*/ 3416519 w 4735194"/>
                          <a:gd name="connsiteY62" fmla="*/ 4402752 h 4438963"/>
                          <a:gd name="connsiteX63" fmla="*/ 2376040 w 4735194"/>
                          <a:gd name="connsiteY63" fmla="*/ 3876569 h 4438963"/>
                          <a:gd name="connsiteX64" fmla="*/ 1396468 w 4735194"/>
                          <a:gd name="connsiteY64" fmla="*/ 4421801 h 4438963"/>
                          <a:gd name="connsiteX65" fmla="*/ 1092419 w 4735194"/>
                          <a:gd name="connsiteY65" fmla="*/ 4402752 h 4438963"/>
                          <a:gd name="connsiteX66" fmla="*/ 0 w 4735194"/>
                          <a:gd name="connsiteY66" fmla="*/ 3850302 h 4438963"/>
                          <a:gd name="connsiteX67" fmla="*/ 0 w 4735194"/>
                          <a:gd name="connsiteY67" fmla="*/ 2510334 h 4438963"/>
                          <a:gd name="connsiteX68" fmla="*/ 1235557 w 4735194"/>
                          <a:gd name="connsiteY68" fmla="*/ 1857999 h 4438963"/>
                          <a:gd name="connsiteX69" fmla="*/ 1229420 w 4735194"/>
                          <a:gd name="connsiteY69" fmla="*/ 674979 h 4438963"/>
                          <a:gd name="connsiteX70" fmla="*/ 2449492 w 4735194"/>
                          <a:gd name="connsiteY70" fmla="*/ 0 h 4438963"/>
                          <a:gd name="connsiteX71" fmla="*/ 3460395 w 4735194"/>
                          <a:gd name="connsiteY71" fmla="*/ 590737 h 4438963"/>
                          <a:gd name="connsiteX72" fmla="*/ 2475482 w 4735194"/>
                          <a:gd name="connsiteY72" fmla="*/ 1094603 h 4438963"/>
                          <a:gd name="connsiteX73" fmla="*/ 2354300 w 4735194"/>
                          <a:gd name="connsiteY73" fmla="*/ 1098113 h 4438963"/>
                          <a:gd name="connsiteX74" fmla="*/ 1333964 w 4735194"/>
                          <a:gd name="connsiteY74" fmla="*/ 558599 h 4438963"/>
                          <a:gd name="connsiteX75" fmla="*/ 2449492 w 4735194"/>
                          <a:gd name="connsiteY75"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4858 w 4735194"/>
                          <a:gd name="connsiteY46" fmla="*/ 2403347 h 4438963"/>
                          <a:gd name="connsiteX47" fmla="*/ 2382239 w 4735194"/>
                          <a:gd name="connsiteY47" fmla="*/ 2480229 h 4438963"/>
                          <a:gd name="connsiteX48" fmla="*/ 2501548 w 4735194"/>
                          <a:gd name="connsiteY48" fmla="*/ 2416647 h 4438963"/>
                          <a:gd name="connsiteX49" fmla="*/ 2502224 w 4735194"/>
                          <a:gd name="connsiteY49" fmla="*/ 1862810 h 4438963"/>
                          <a:gd name="connsiteX50" fmla="*/ 2502994 w 4735194"/>
                          <a:gd name="connsiteY50" fmla="*/ 1232031 h 4438963"/>
                          <a:gd name="connsiteX51" fmla="*/ 3563998 w 4735194"/>
                          <a:gd name="connsiteY51" fmla="*/ 674979 h 4438963"/>
                          <a:gd name="connsiteX52" fmla="*/ 3564178 w 4735194"/>
                          <a:gd name="connsiteY52" fmla="*/ 1292184 h 4438963"/>
                          <a:gd name="connsiteX53" fmla="*/ 3564343 w 4735194"/>
                          <a:gd name="connsiteY53" fmla="*/ 1855526 h 4438963"/>
                          <a:gd name="connsiteX54" fmla="*/ 3568919 w 4735194"/>
                          <a:gd name="connsiteY54" fmla="*/ 1853109 h 4438963"/>
                          <a:gd name="connsiteX55" fmla="*/ 4600389 w 4735194"/>
                          <a:gd name="connsiteY55" fmla="*/ 2441582 h 4438963"/>
                          <a:gd name="connsiteX56" fmla="*/ 4649951 w 4735194"/>
                          <a:gd name="connsiteY56" fmla="*/ 2470297 h 4438963"/>
                          <a:gd name="connsiteX57" fmla="*/ 4651097 w 4735194"/>
                          <a:gd name="connsiteY57" fmla="*/ 2469710 h 4438963"/>
                          <a:gd name="connsiteX58" fmla="*/ 4652008 w 4735194"/>
                          <a:gd name="connsiteY58" fmla="*/ 2471489 h 4438963"/>
                          <a:gd name="connsiteX59" fmla="*/ 4730218 w 4735194"/>
                          <a:gd name="connsiteY59" fmla="*/ 2516802 h 4438963"/>
                          <a:gd name="connsiteX60" fmla="*/ 4730218 w 4735194"/>
                          <a:gd name="connsiteY60" fmla="*/ 3859827 h 4438963"/>
                          <a:gd name="connsiteX61" fmla="*/ 3720568 w 4735194"/>
                          <a:gd name="connsiteY61" fmla="*/ 4421801 h 4438963"/>
                          <a:gd name="connsiteX62" fmla="*/ 3416519 w 4735194"/>
                          <a:gd name="connsiteY62" fmla="*/ 4402752 h 4438963"/>
                          <a:gd name="connsiteX63" fmla="*/ 2376040 w 4735194"/>
                          <a:gd name="connsiteY63" fmla="*/ 3876569 h 4438963"/>
                          <a:gd name="connsiteX64" fmla="*/ 1396468 w 4735194"/>
                          <a:gd name="connsiteY64" fmla="*/ 4421801 h 4438963"/>
                          <a:gd name="connsiteX65" fmla="*/ 1092419 w 4735194"/>
                          <a:gd name="connsiteY65" fmla="*/ 4402752 h 4438963"/>
                          <a:gd name="connsiteX66" fmla="*/ 0 w 4735194"/>
                          <a:gd name="connsiteY66" fmla="*/ 3850302 h 4438963"/>
                          <a:gd name="connsiteX67" fmla="*/ 0 w 4735194"/>
                          <a:gd name="connsiteY67" fmla="*/ 2510334 h 4438963"/>
                          <a:gd name="connsiteX68" fmla="*/ 1235557 w 4735194"/>
                          <a:gd name="connsiteY68" fmla="*/ 1857999 h 4438963"/>
                          <a:gd name="connsiteX69" fmla="*/ 1229420 w 4735194"/>
                          <a:gd name="connsiteY69" fmla="*/ 674979 h 4438963"/>
                          <a:gd name="connsiteX70" fmla="*/ 2449492 w 4735194"/>
                          <a:gd name="connsiteY70" fmla="*/ 0 h 4438963"/>
                          <a:gd name="connsiteX71" fmla="*/ 3460395 w 4735194"/>
                          <a:gd name="connsiteY71" fmla="*/ 590737 h 4438963"/>
                          <a:gd name="connsiteX72" fmla="*/ 2475482 w 4735194"/>
                          <a:gd name="connsiteY72" fmla="*/ 1094603 h 4438963"/>
                          <a:gd name="connsiteX73" fmla="*/ 2354300 w 4735194"/>
                          <a:gd name="connsiteY73" fmla="*/ 1098113 h 4438963"/>
                          <a:gd name="connsiteX74" fmla="*/ 1333964 w 4735194"/>
                          <a:gd name="connsiteY74" fmla="*/ 558599 h 4438963"/>
                          <a:gd name="connsiteX75" fmla="*/ 2449492 w 4735194"/>
                          <a:gd name="connsiteY75"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4858 w 4735194"/>
                          <a:gd name="connsiteY46" fmla="*/ 2403347 h 4438963"/>
                          <a:gd name="connsiteX47" fmla="*/ 2382239 w 4735194"/>
                          <a:gd name="connsiteY47" fmla="*/ 2480229 h 4438963"/>
                          <a:gd name="connsiteX48" fmla="*/ 2501548 w 4735194"/>
                          <a:gd name="connsiteY48" fmla="*/ 2416647 h 4438963"/>
                          <a:gd name="connsiteX49" fmla="*/ 2502224 w 4735194"/>
                          <a:gd name="connsiteY49" fmla="*/ 1862810 h 4438963"/>
                          <a:gd name="connsiteX50" fmla="*/ 2502994 w 4735194"/>
                          <a:gd name="connsiteY50" fmla="*/ 1232031 h 4438963"/>
                          <a:gd name="connsiteX51" fmla="*/ 3563998 w 4735194"/>
                          <a:gd name="connsiteY51" fmla="*/ 674979 h 4438963"/>
                          <a:gd name="connsiteX52" fmla="*/ 3564178 w 4735194"/>
                          <a:gd name="connsiteY52" fmla="*/ 1292184 h 4438963"/>
                          <a:gd name="connsiteX53" fmla="*/ 3564343 w 4735194"/>
                          <a:gd name="connsiteY53" fmla="*/ 1855526 h 4438963"/>
                          <a:gd name="connsiteX54" fmla="*/ 3568919 w 4735194"/>
                          <a:gd name="connsiteY54" fmla="*/ 1853109 h 4438963"/>
                          <a:gd name="connsiteX55" fmla="*/ 4600389 w 4735194"/>
                          <a:gd name="connsiteY55" fmla="*/ 2441582 h 4438963"/>
                          <a:gd name="connsiteX56" fmla="*/ 4649951 w 4735194"/>
                          <a:gd name="connsiteY56" fmla="*/ 2470297 h 4438963"/>
                          <a:gd name="connsiteX57" fmla="*/ 4651097 w 4735194"/>
                          <a:gd name="connsiteY57" fmla="*/ 2469710 h 4438963"/>
                          <a:gd name="connsiteX58" fmla="*/ 4652008 w 4735194"/>
                          <a:gd name="connsiteY58" fmla="*/ 2471489 h 4438963"/>
                          <a:gd name="connsiteX59" fmla="*/ 4730218 w 4735194"/>
                          <a:gd name="connsiteY59" fmla="*/ 2516802 h 4438963"/>
                          <a:gd name="connsiteX60" fmla="*/ 4730218 w 4735194"/>
                          <a:gd name="connsiteY60" fmla="*/ 3859827 h 4438963"/>
                          <a:gd name="connsiteX61" fmla="*/ 3720568 w 4735194"/>
                          <a:gd name="connsiteY61" fmla="*/ 4421801 h 4438963"/>
                          <a:gd name="connsiteX62" fmla="*/ 3416519 w 4735194"/>
                          <a:gd name="connsiteY62" fmla="*/ 4402752 h 4438963"/>
                          <a:gd name="connsiteX63" fmla="*/ 2376040 w 4735194"/>
                          <a:gd name="connsiteY63" fmla="*/ 3876569 h 4438963"/>
                          <a:gd name="connsiteX64" fmla="*/ 1396468 w 4735194"/>
                          <a:gd name="connsiteY64" fmla="*/ 4421801 h 4438963"/>
                          <a:gd name="connsiteX65" fmla="*/ 1092419 w 4735194"/>
                          <a:gd name="connsiteY65" fmla="*/ 4402752 h 4438963"/>
                          <a:gd name="connsiteX66" fmla="*/ 0 w 4735194"/>
                          <a:gd name="connsiteY66" fmla="*/ 3850302 h 4438963"/>
                          <a:gd name="connsiteX67" fmla="*/ 0 w 4735194"/>
                          <a:gd name="connsiteY67" fmla="*/ 2510334 h 4438963"/>
                          <a:gd name="connsiteX68" fmla="*/ 1235557 w 4735194"/>
                          <a:gd name="connsiteY68" fmla="*/ 1857999 h 4438963"/>
                          <a:gd name="connsiteX69" fmla="*/ 1229420 w 4735194"/>
                          <a:gd name="connsiteY69" fmla="*/ 674979 h 4438963"/>
                          <a:gd name="connsiteX70" fmla="*/ 2449492 w 4735194"/>
                          <a:gd name="connsiteY70" fmla="*/ 0 h 4438963"/>
                          <a:gd name="connsiteX71" fmla="*/ 3460395 w 4735194"/>
                          <a:gd name="connsiteY71" fmla="*/ 590737 h 4438963"/>
                          <a:gd name="connsiteX72" fmla="*/ 2475482 w 4735194"/>
                          <a:gd name="connsiteY72" fmla="*/ 1094603 h 4438963"/>
                          <a:gd name="connsiteX73" fmla="*/ 2354300 w 4735194"/>
                          <a:gd name="connsiteY73" fmla="*/ 1098113 h 4438963"/>
                          <a:gd name="connsiteX74" fmla="*/ 1333964 w 4735194"/>
                          <a:gd name="connsiteY74" fmla="*/ 558599 h 4438963"/>
                          <a:gd name="connsiteX75" fmla="*/ 2449492 w 4735194"/>
                          <a:gd name="connsiteY75"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4858 w 4735194"/>
                          <a:gd name="connsiteY46" fmla="*/ 2403347 h 4438963"/>
                          <a:gd name="connsiteX47" fmla="*/ 2382239 w 4735194"/>
                          <a:gd name="connsiteY47" fmla="*/ 2480229 h 4438963"/>
                          <a:gd name="connsiteX48" fmla="*/ 2501548 w 4735194"/>
                          <a:gd name="connsiteY48" fmla="*/ 2416647 h 4438963"/>
                          <a:gd name="connsiteX49" fmla="*/ 2502994 w 4735194"/>
                          <a:gd name="connsiteY49" fmla="*/ 1232031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4858 w 4735194"/>
                          <a:gd name="connsiteY46" fmla="*/ 2403347 h 4438963"/>
                          <a:gd name="connsiteX47" fmla="*/ 2382239 w 4735194"/>
                          <a:gd name="connsiteY47" fmla="*/ 2480229 h 4438963"/>
                          <a:gd name="connsiteX48" fmla="*/ 2501548 w 4735194"/>
                          <a:gd name="connsiteY48" fmla="*/ 2416647 h 4438963"/>
                          <a:gd name="connsiteX49" fmla="*/ 2502994 w 4735194"/>
                          <a:gd name="connsiteY49" fmla="*/ 1232031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4858 w 4735194"/>
                          <a:gd name="connsiteY46" fmla="*/ 2403347 h 4438963"/>
                          <a:gd name="connsiteX47" fmla="*/ 2382239 w 4735194"/>
                          <a:gd name="connsiteY47" fmla="*/ 2480229 h 4438963"/>
                          <a:gd name="connsiteX48" fmla="*/ 2501549 w 4735194"/>
                          <a:gd name="connsiteY48" fmla="*/ 2416647 h 4438963"/>
                          <a:gd name="connsiteX49" fmla="*/ 2502994 w 4735194"/>
                          <a:gd name="connsiteY49" fmla="*/ 1232031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4858 w 4735194"/>
                          <a:gd name="connsiteY46" fmla="*/ 2403347 h 4438963"/>
                          <a:gd name="connsiteX47" fmla="*/ 2382239 w 4735194"/>
                          <a:gd name="connsiteY47" fmla="*/ 2480229 h 4438963"/>
                          <a:gd name="connsiteX48" fmla="*/ 2501549 w 4735194"/>
                          <a:gd name="connsiteY48" fmla="*/ 2416647 h 4438963"/>
                          <a:gd name="connsiteX49" fmla="*/ 2502994 w 4735194"/>
                          <a:gd name="connsiteY49" fmla="*/ 1232031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70028 w 4735194"/>
                          <a:gd name="connsiteY45" fmla="*/ 1204837 h 4438963"/>
                          <a:gd name="connsiteX46" fmla="*/ 2264858 w 4735194"/>
                          <a:gd name="connsiteY46" fmla="*/ 2403347 h 4438963"/>
                          <a:gd name="connsiteX47" fmla="*/ 2382239 w 4735194"/>
                          <a:gd name="connsiteY47" fmla="*/ 2480229 h 4438963"/>
                          <a:gd name="connsiteX48" fmla="*/ 2501549 w 4735194"/>
                          <a:gd name="connsiteY48" fmla="*/ 2416647 h 4438963"/>
                          <a:gd name="connsiteX49" fmla="*/ 2502994 w 4735194"/>
                          <a:gd name="connsiteY49" fmla="*/ 1232031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0561 w 4735194"/>
                          <a:gd name="connsiteY45" fmla="*/ 1210103 h 4438963"/>
                          <a:gd name="connsiteX46" fmla="*/ 2264858 w 4735194"/>
                          <a:gd name="connsiteY46" fmla="*/ 2403347 h 4438963"/>
                          <a:gd name="connsiteX47" fmla="*/ 2382239 w 4735194"/>
                          <a:gd name="connsiteY47" fmla="*/ 2480229 h 4438963"/>
                          <a:gd name="connsiteX48" fmla="*/ 2501549 w 4735194"/>
                          <a:gd name="connsiteY48" fmla="*/ 2416647 h 4438963"/>
                          <a:gd name="connsiteX49" fmla="*/ 2502994 w 4735194"/>
                          <a:gd name="connsiteY49" fmla="*/ 1232031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0561 w 4735194"/>
                          <a:gd name="connsiteY45" fmla="*/ 1210103 h 4438963"/>
                          <a:gd name="connsiteX46" fmla="*/ 2264858 w 4735194"/>
                          <a:gd name="connsiteY46" fmla="*/ 2403347 h 4438963"/>
                          <a:gd name="connsiteX47" fmla="*/ 2382239 w 4735194"/>
                          <a:gd name="connsiteY47" fmla="*/ 2480229 h 4438963"/>
                          <a:gd name="connsiteX48" fmla="*/ 2501549 w 4735194"/>
                          <a:gd name="connsiteY48" fmla="*/ 2416647 h 4438963"/>
                          <a:gd name="connsiteX49" fmla="*/ 2500361 w 4735194"/>
                          <a:gd name="connsiteY49" fmla="*/ 1226765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0561 w 4735194"/>
                          <a:gd name="connsiteY45" fmla="*/ 1210103 h 4438963"/>
                          <a:gd name="connsiteX46" fmla="*/ 2275391 w 4735194"/>
                          <a:gd name="connsiteY46" fmla="*/ 2403347 h 4438963"/>
                          <a:gd name="connsiteX47" fmla="*/ 2382239 w 4735194"/>
                          <a:gd name="connsiteY47" fmla="*/ 2480229 h 4438963"/>
                          <a:gd name="connsiteX48" fmla="*/ 2501549 w 4735194"/>
                          <a:gd name="connsiteY48" fmla="*/ 2416647 h 4438963"/>
                          <a:gd name="connsiteX49" fmla="*/ 2500361 w 4735194"/>
                          <a:gd name="connsiteY49" fmla="*/ 1226765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0561 w 4735194"/>
                          <a:gd name="connsiteY45" fmla="*/ 1210103 h 4438963"/>
                          <a:gd name="connsiteX46" fmla="*/ 2283291 w 4735194"/>
                          <a:gd name="connsiteY46" fmla="*/ 2405981 h 4438963"/>
                          <a:gd name="connsiteX47" fmla="*/ 2382239 w 4735194"/>
                          <a:gd name="connsiteY47" fmla="*/ 2480229 h 4438963"/>
                          <a:gd name="connsiteX48" fmla="*/ 2501549 w 4735194"/>
                          <a:gd name="connsiteY48" fmla="*/ 2416647 h 4438963"/>
                          <a:gd name="connsiteX49" fmla="*/ 2500361 w 4735194"/>
                          <a:gd name="connsiteY49" fmla="*/ 1226765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0561 w 4735194"/>
                          <a:gd name="connsiteY45" fmla="*/ 1210103 h 4438963"/>
                          <a:gd name="connsiteX46" fmla="*/ 2283291 w 4735194"/>
                          <a:gd name="connsiteY46" fmla="*/ 2405981 h 4438963"/>
                          <a:gd name="connsiteX47" fmla="*/ 2382239 w 4735194"/>
                          <a:gd name="connsiteY47" fmla="*/ 2480229 h 4438963"/>
                          <a:gd name="connsiteX48" fmla="*/ 2501549 w 4735194"/>
                          <a:gd name="connsiteY48" fmla="*/ 2416647 h 4438963"/>
                          <a:gd name="connsiteX49" fmla="*/ 2500361 w 4735194"/>
                          <a:gd name="connsiteY49" fmla="*/ 1226765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0561 w 4735194"/>
                          <a:gd name="connsiteY45" fmla="*/ 1210103 h 4438963"/>
                          <a:gd name="connsiteX46" fmla="*/ 2283291 w 4735194"/>
                          <a:gd name="connsiteY46" fmla="*/ 2405981 h 4438963"/>
                          <a:gd name="connsiteX47" fmla="*/ 2382239 w 4735194"/>
                          <a:gd name="connsiteY47" fmla="*/ 2480229 h 4438963"/>
                          <a:gd name="connsiteX48" fmla="*/ 2501549 w 4735194"/>
                          <a:gd name="connsiteY48" fmla="*/ 2416647 h 4438963"/>
                          <a:gd name="connsiteX49" fmla="*/ 2500361 w 4735194"/>
                          <a:gd name="connsiteY49" fmla="*/ 1226765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0561 w 4735194"/>
                          <a:gd name="connsiteY45" fmla="*/ 1210103 h 4438963"/>
                          <a:gd name="connsiteX46" fmla="*/ 2283291 w 4735194"/>
                          <a:gd name="connsiteY46" fmla="*/ 2405981 h 4438963"/>
                          <a:gd name="connsiteX47" fmla="*/ 2382239 w 4735194"/>
                          <a:gd name="connsiteY47" fmla="*/ 2480229 h 4438963"/>
                          <a:gd name="connsiteX48" fmla="*/ 2501549 w 4735194"/>
                          <a:gd name="connsiteY48" fmla="*/ 2416647 h 4438963"/>
                          <a:gd name="connsiteX49" fmla="*/ 2500361 w 4735194"/>
                          <a:gd name="connsiteY49" fmla="*/ 1226765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501549 w 4735194"/>
                          <a:gd name="connsiteY48" fmla="*/ 2416647 h 4438963"/>
                          <a:gd name="connsiteX49" fmla="*/ 2500361 w 4735194"/>
                          <a:gd name="connsiteY49" fmla="*/ 1226765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24548 h 4438963"/>
                          <a:gd name="connsiteX49" fmla="*/ 2500361 w 4735194"/>
                          <a:gd name="connsiteY49" fmla="*/ 1226765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24548 h 4438963"/>
                          <a:gd name="connsiteX49" fmla="*/ 2487194 w 4735194"/>
                          <a:gd name="connsiteY49" fmla="*/ 1234665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24548 h 4438963"/>
                          <a:gd name="connsiteX49" fmla="*/ 2481927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24548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5482 w 4735194"/>
                          <a:gd name="connsiteY71" fmla="*/ 1094603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35557 w 4735194"/>
                          <a:gd name="connsiteY67" fmla="*/ 1857999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283195 w 4735194"/>
                          <a:gd name="connsiteY45" fmla="*/ 1212737 h 4438963"/>
                          <a:gd name="connsiteX46" fmla="*/ 2283291 w 4735194"/>
                          <a:gd name="connsiteY46" fmla="*/ 2405981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283291 w 4735194"/>
                          <a:gd name="connsiteY46" fmla="*/ 2405981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28058 w 4735194"/>
                          <a:gd name="connsiteY46" fmla="*/ 2413880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22792 w 4735194"/>
                          <a:gd name="connsiteY46" fmla="*/ 2408613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4892 w 4735194"/>
                          <a:gd name="connsiteY46" fmla="*/ 2405979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83115 w 4735194"/>
                          <a:gd name="connsiteY48" fmla="*/ 2411380 h 4438963"/>
                          <a:gd name="connsiteX49" fmla="*/ 2484560 w 4735194"/>
                          <a:gd name="connsiteY49" fmla="*/ 12372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83115 w 4735194"/>
                          <a:gd name="connsiteY48" fmla="*/ 2411380 h 4438963"/>
                          <a:gd name="connsiteX49" fmla="*/ 2437160 w 4735194"/>
                          <a:gd name="connsiteY49" fmla="*/ 1260999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83115 w 4735194"/>
                          <a:gd name="connsiteY48" fmla="*/ 2411380 h 4438963"/>
                          <a:gd name="connsiteX49" fmla="*/ 2437161 w 4735194"/>
                          <a:gd name="connsiteY49" fmla="*/ 12530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83115 w 4735194"/>
                          <a:gd name="connsiteY48" fmla="*/ 2411380 h 4438963"/>
                          <a:gd name="connsiteX49" fmla="*/ 2437161 w 4735194"/>
                          <a:gd name="connsiteY49" fmla="*/ 1253098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83115 w 4735194"/>
                          <a:gd name="connsiteY48" fmla="*/ 2411380 h 4438963"/>
                          <a:gd name="connsiteX49" fmla="*/ 2434527 w 4735194"/>
                          <a:gd name="connsiteY49" fmla="*/ 1239930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83115 w 4735194"/>
                          <a:gd name="connsiteY48" fmla="*/ 2411380 h 4438963"/>
                          <a:gd name="connsiteX49" fmla="*/ 2431894 w 4735194"/>
                          <a:gd name="connsiteY49" fmla="*/ 1237297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4178 w 4735194"/>
                          <a:gd name="connsiteY51" fmla="*/ 1292184 h 4438963"/>
                          <a:gd name="connsiteX52" fmla="*/ 3564343 w 4735194"/>
                          <a:gd name="connsiteY52" fmla="*/ 1855526 h 4438963"/>
                          <a:gd name="connsiteX53" fmla="*/ 3568919 w 4735194"/>
                          <a:gd name="connsiteY53" fmla="*/ 1853109 h 4438963"/>
                          <a:gd name="connsiteX54" fmla="*/ 4600389 w 4735194"/>
                          <a:gd name="connsiteY54" fmla="*/ 2441582 h 4438963"/>
                          <a:gd name="connsiteX55" fmla="*/ 4649951 w 4735194"/>
                          <a:gd name="connsiteY55" fmla="*/ 2470297 h 4438963"/>
                          <a:gd name="connsiteX56" fmla="*/ 4651097 w 4735194"/>
                          <a:gd name="connsiteY56" fmla="*/ 2469710 h 4438963"/>
                          <a:gd name="connsiteX57" fmla="*/ 4652008 w 4735194"/>
                          <a:gd name="connsiteY57" fmla="*/ 2471489 h 4438963"/>
                          <a:gd name="connsiteX58" fmla="*/ 4730218 w 4735194"/>
                          <a:gd name="connsiteY58" fmla="*/ 2516802 h 4438963"/>
                          <a:gd name="connsiteX59" fmla="*/ 4730218 w 4735194"/>
                          <a:gd name="connsiteY59" fmla="*/ 3859827 h 4438963"/>
                          <a:gd name="connsiteX60" fmla="*/ 3720568 w 4735194"/>
                          <a:gd name="connsiteY60" fmla="*/ 4421801 h 4438963"/>
                          <a:gd name="connsiteX61" fmla="*/ 3416519 w 4735194"/>
                          <a:gd name="connsiteY61" fmla="*/ 4402752 h 4438963"/>
                          <a:gd name="connsiteX62" fmla="*/ 2376040 w 4735194"/>
                          <a:gd name="connsiteY62" fmla="*/ 3876569 h 4438963"/>
                          <a:gd name="connsiteX63" fmla="*/ 1396468 w 4735194"/>
                          <a:gd name="connsiteY63" fmla="*/ 4421801 h 4438963"/>
                          <a:gd name="connsiteX64" fmla="*/ 1092419 w 4735194"/>
                          <a:gd name="connsiteY64" fmla="*/ 4402752 h 4438963"/>
                          <a:gd name="connsiteX65" fmla="*/ 0 w 4735194"/>
                          <a:gd name="connsiteY65" fmla="*/ 3850302 h 4438963"/>
                          <a:gd name="connsiteX66" fmla="*/ 0 w 4735194"/>
                          <a:gd name="connsiteY66" fmla="*/ 2510334 h 4438963"/>
                          <a:gd name="connsiteX67" fmla="*/ 1227656 w 4735194"/>
                          <a:gd name="connsiteY67" fmla="*/ 1858000 h 4438963"/>
                          <a:gd name="connsiteX68" fmla="*/ 1229420 w 4735194"/>
                          <a:gd name="connsiteY68" fmla="*/ 674979 h 4438963"/>
                          <a:gd name="connsiteX69" fmla="*/ 2449492 w 4735194"/>
                          <a:gd name="connsiteY69" fmla="*/ 0 h 4438963"/>
                          <a:gd name="connsiteX70" fmla="*/ 3460395 w 4735194"/>
                          <a:gd name="connsiteY70" fmla="*/ 590737 h 4438963"/>
                          <a:gd name="connsiteX71" fmla="*/ 2472848 w 4735194"/>
                          <a:gd name="connsiteY71" fmla="*/ 1097236 h 4438963"/>
                          <a:gd name="connsiteX72" fmla="*/ 2354300 w 4735194"/>
                          <a:gd name="connsiteY72" fmla="*/ 1098113 h 4438963"/>
                          <a:gd name="connsiteX73" fmla="*/ 1333964 w 4735194"/>
                          <a:gd name="connsiteY73" fmla="*/ 558599 h 4438963"/>
                          <a:gd name="connsiteX74" fmla="*/ 2449492 w 4735194"/>
                          <a:gd name="connsiteY74"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4343 w 4735194"/>
                          <a:gd name="connsiteY51" fmla="*/ 1855526 h 4438963"/>
                          <a:gd name="connsiteX52" fmla="*/ 3568919 w 4735194"/>
                          <a:gd name="connsiteY52" fmla="*/ 1853109 h 4438963"/>
                          <a:gd name="connsiteX53" fmla="*/ 4600389 w 4735194"/>
                          <a:gd name="connsiteY53" fmla="*/ 2441582 h 4438963"/>
                          <a:gd name="connsiteX54" fmla="*/ 4649951 w 4735194"/>
                          <a:gd name="connsiteY54" fmla="*/ 2470297 h 4438963"/>
                          <a:gd name="connsiteX55" fmla="*/ 4651097 w 4735194"/>
                          <a:gd name="connsiteY55" fmla="*/ 2469710 h 4438963"/>
                          <a:gd name="connsiteX56" fmla="*/ 4652008 w 4735194"/>
                          <a:gd name="connsiteY56" fmla="*/ 2471489 h 4438963"/>
                          <a:gd name="connsiteX57" fmla="*/ 4730218 w 4735194"/>
                          <a:gd name="connsiteY57" fmla="*/ 2516802 h 4438963"/>
                          <a:gd name="connsiteX58" fmla="*/ 4730218 w 4735194"/>
                          <a:gd name="connsiteY58" fmla="*/ 3859827 h 4438963"/>
                          <a:gd name="connsiteX59" fmla="*/ 3720568 w 4735194"/>
                          <a:gd name="connsiteY59" fmla="*/ 4421801 h 4438963"/>
                          <a:gd name="connsiteX60" fmla="*/ 3416519 w 4735194"/>
                          <a:gd name="connsiteY60" fmla="*/ 4402752 h 4438963"/>
                          <a:gd name="connsiteX61" fmla="*/ 2376040 w 4735194"/>
                          <a:gd name="connsiteY61" fmla="*/ 3876569 h 4438963"/>
                          <a:gd name="connsiteX62" fmla="*/ 1396468 w 4735194"/>
                          <a:gd name="connsiteY62" fmla="*/ 4421801 h 4438963"/>
                          <a:gd name="connsiteX63" fmla="*/ 1092419 w 4735194"/>
                          <a:gd name="connsiteY63" fmla="*/ 4402752 h 4438963"/>
                          <a:gd name="connsiteX64" fmla="*/ 0 w 4735194"/>
                          <a:gd name="connsiteY64" fmla="*/ 3850302 h 4438963"/>
                          <a:gd name="connsiteX65" fmla="*/ 0 w 4735194"/>
                          <a:gd name="connsiteY65" fmla="*/ 2510334 h 4438963"/>
                          <a:gd name="connsiteX66" fmla="*/ 1227656 w 4735194"/>
                          <a:gd name="connsiteY66" fmla="*/ 1858000 h 4438963"/>
                          <a:gd name="connsiteX67" fmla="*/ 1229420 w 4735194"/>
                          <a:gd name="connsiteY67" fmla="*/ 674979 h 4438963"/>
                          <a:gd name="connsiteX68" fmla="*/ 2449492 w 4735194"/>
                          <a:gd name="connsiteY68" fmla="*/ 0 h 4438963"/>
                          <a:gd name="connsiteX69" fmla="*/ 3460395 w 4735194"/>
                          <a:gd name="connsiteY69" fmla="*/ 590737 h 4438963"/>
                          <a:gd name="connsiteX70" fmla="*/ 2472848 w 4735194"/>
                          <a:gd name="connsiteY70" fmla="*/ 1097236 h 4438963"/>
                          <a:gd name="connsiteX71" fmla="*/ 2354300 w 4735194"/>
                          <a:gd name="connsiteY71" fmla="*/ 1098113 h 4438963"/>
                          <a:gd name="connsiteX72" fmla="*/ 1333964 w 4735194"/>
                          <a:gd name="connsiteY72" fmla="*/ 558599 h 4438963"/>
                          <a:gd name="connsiteX73" fmla="*/ 2449492 w 4735194"/>
                          <a:gd name="connsiteY73"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4343 w 4735194"/>
                          <a:gd name="connsiteY51" fmla="*/ 1855526 h 4438963"/>
                          <a:gd name="connsiteX52" fmla="*/ 3568919 w 4735194"/>
                          <a:gd name="connsiteY52" fmla="*/ 1853109 h 4438963"/>
                          <a:gd name="connsiteX53" fmla="*/ 4600389 w 4735194"/>
                          <a:gd name="connsiteY53" fmla="*/ 2441582 h 4438963"/>
                          <a:gd name="connsiteX54" fmla="*/ 4649951 w 4735194"/>
                          <a:gd name="connsiteY54" fmla="*/ 2470297 h 4438963"/>
                          <a:gd name="connsiteX55" fmla="*/ 4651097 w 4735194"/>
                          <a:gd name="connsiteY55" fmla="*/ 2469710 h 4438963"/>
                          <a:gd name="connsiteX56" fmla="*/ 4652008 w 4735194"/>
                          <a:gd name="connsiteY56" fmla="*/ 2471489 h 4438963"/>
                          <a:gd name="connsiteX57" fmla="*/ 4730218 w 4735194"/>
                          <a:gd name="connsiteY57" fmla="*/ 2516802 h 4438963"/>
                          <a:gd name="connsiteX58" fmla="*/ 4730218 w 4735194"/>
                          <a:gd name="connsiteY58" fmla="*/ 3859827 h 4438963"/>
                          <a:gd name="connsiteX59" fmla="*/ 3720568 w 4735194"/>
                          <a:gd name="connsiteY59" fmla="*/ 4421801 h 4438963"/>
                          <a:gd name="connsiteX60" fmla="*/ 3416519 w 4735194"/>
                          <a:gd name="connsiteY60" fmla="*/ 4402752 h 4438963"/>
                          <a:gd name="connsiteX61" fmla="*/ 2376040 w 4735194"/>
                          <a:gd name="connsiteY61" fmla="*/ 3876569 h 4438963"/>
                          <a:gd name="connsiteX62" fmla="*/ 1396468 w 4735194"/>
                          <a:gd name="connsiteY62" fmla="*/ 4421801 h 4438963"/>
                          <a:gd name="connsiteX63" fmla="*/ 1092419 w 4735194"/>
                          <a:gd name="connsiteY63" fmla="*/ 4402752 h 4438963"/>
                          <a:gd name="connsiteX64" fmla="*/ 0 w 4735194"/>
                          <a:gd name="connsiteY64" fmla="*/ 3850302 h 4438963"/>
                          <a:gd name="connsiteX65" fmla="*/ 0 w 4735194"/>
                          <a:gd name="connsiteY65" fmla="*/ 2510334 h 4438963"/>
                          <a:gd name="connsiteX66" fmla="*/ 1227656 w 4735194"/>
                          <a:gd name="connsiteY66" fmla="*/ 1858000 h 4438963"/>
                          <a:gd name="connsiteX67" fmla="*/ 1229420 w 4735194"/>
                          <a:gd name="connsiteY67" fmla="*/ 674979 h 4438963"/>
                          <a:gd name="connsiteX68" fmla="*/ 2449492 w 4735194"/>
                          <a:gd name="connsiteY68" fmla="*/ 0 h 4438963"/>
                          <a:gd name="connsiteX69" fmla="*/ 3460395 w 4735194"/>
                          <a:gd name="connsiteY69" fmla="*/ 590737 h 4438963"/>
                          <a:gd name="connsiteX70" fmla="*/ 2472848 w 4735194"/>
                          <a:gd name="connsiteY70" fmla="*/ 1097236 h 4438963"/>
                          <a:gd name="connsiteX71" fmla="*/ 2354300 w 4735194"/>
                          <a:gd name="connsiteY71" fmla="*/ 1098113 h 4438963"/>
                          <a:gd name="connsiteX72" fmla="*/ 1333964 w 4735194"/>
                          <a:gd name="connsiteY72" fmla="*/ 558599 h 4438963"/>
                          <a:gd name="connsiteX73" fmla="*/ 2449492 w 4735194"/>
                          <a:gd name="connsiteY73"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30109 w 4735194"/>
                          <a:gd name="connsiteY51" fmla="*/ 1802858 h 4438963"/>
                          <a:gd name="connsiteX52" fmla="*/ 3568919 w 4735194"/>
                          <a:gd name="connsiteY52" fmla="*/ 1853109 h 4438963"/>
                          <a:gd name="connsiteX53" fmla="*/ 4600389 w 4735194"/>
                          <a:gd name="connsiteY53" fmla="*/ 2441582 h 4438963"/>
                          <a:gd name="connsiteX54" fmla="*/ 4649951 w 4735194"/>
                          <a:gd name="connsiteY54" fmla="*/ 2470297 h 4438963"/>
                          <a:gd name="connsiteX55" fmla="*/ 4651097 w 4735194"/>
                          <a:gd name="connsiteY55" fmla="*/ 2469710 h 4438963"/>
                          <a:gd name="connsiteX56" fmla="*/ 4652008 w 4735194"/>
                          <a:gd name="connsiteY56" fmla="*/ 2471489 h 4438963"/>
                          <a:gd name="connsiteX57" fmla="*/ 4730218 w 4735194"/>
                          <a:gd name="connsiteY57" fmla="*/ 2516802 h 4438963"/>
                          <a:gd name="connsiteX58" fmla="*/ 4730218 w 4735194"/>
                          <a:gd name="connsiteY58" fmla="*/ 3859827 h 4438963"/>
                          <a:gd name="connsiteX59" fmla="*/ 3720568 w 4735194"/>
                          <a:gd name="connsiteY59" fmla="*/ 4421801 h 4438963"/>
                          <a:gd name="connsiteX60" fmla="*/ 3416519 w 4735194"/>
                          <a:gd name="connsiteY60" fmla="*/ 4402752 h 4438963"/>
                          <a:gd name="connsiteX61" fmla="*/ 2376040 w 4735194"/>
                          <a:gd name="connsiteY61" fmla="*/ 3876569 h 4438963"/>
                          <a:gd name="connsiteX62" fmla="*/ 1396468 w 4735194"/>
                          <a:gd name="connsiteY62" fmla="*/ 4421801 h 4438963"/>
                          <a:gd name="connsiteX63" fmla="*/ 1092419 w 4735194"/>
                          <a:gd name="connsiteY63" fmla="*/ 4402752 h 4438963"/>
                          <a:gd name="connsiteX64" fmla="*/ 0 w 4735194"/>
                          <a:gd name="connsiteY64" fmla="*/ 3850302 h 4438963"/>
                          <a:gd name="connsiteX65" fmla="*/ 0 w 4735194"/>
                          <a:gd name="connsiteY65" fmla="*/ 2510334 h 4438963"/>
                          <a:gd name="connsiteX66" fmla="*/ 1227656 w 4735194"/>
                          <a:gd name="connsiteY66" fmla="*/ 1858000 h 4438963"/>
                          <a:gd name="connsiteX67" fmla="*/ 1229420 w 4735194"/>
                          <a:gd name="connsiteY67" fmla="*/ 674979 h 4438963"/>
                          <a:gd name="connsiteX68" fmla="*/ 2449492 w 4735194"/>
                          <a:gd name="connsiteY68" fmla="*/ 0 h 4438963"/>
                          <a:gd name="connsiteX69" fmla="*/ 3460395 w 4735194"/>
                          <a:gd name="connsiteY69" fmla="*/ 590737 h 4438963"/>
                          <a:gd name="connsiteX70" fmla="*/ 2472848 w 4735194"/>
                          <a:gd name="connsiteY70" fmla="*/ 1097236 h 4438963"/>
                          <a:gd name="connsiteX71" fmla="*/ 2354300 w 4735194"/>
                          <a:gd name="connsiteY71" fmla="*/ 1098113 h 4438963"/>
                          <a:gd name="connsiteX72" fmla="*/ 1333964 w 4735194"/>
                          <a:gd name="connsiteY72" fmla="*/ 558599 h 4438963"/>
                          <a:gd name="connsiteX73" fmla="*/ 2449492 w 4735194"/>
                          <a:gd name="connsiteY73"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8919 w 4735194"/>
                          <a:gd name="connsiteY51" fmla="*/ 1853109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8919 w 4735194"/>
                          <a:gd name="connsiteY51" fmla="*/ 1853109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8919 w 4735194"/>
                          <a:gd name="connsiteY51" fmla="*/ 1853109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8919 w 4735194"/>
                          <a:gd name="connsiteY51" fmla="*/ 1853109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8919 w 4735194"/>
                          <a:gd name="connsiteY51" fmla="*/ 1853109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8919 w 4735194"/>
                          <a:gd name="connsiteY51" fmla="*/ 1853109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6286 w 4735194"/>
                          <a:gd name="connsiteY51" fmla="*/ 1853109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1019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64682 w 4735194"/>
                          <a:gd name="connsiteY48" fmla="*/ 2414013 h 4438963"/>
                          <a:gd name="connsiteX49" fmla="*/ 2431894 w 4735194"/>
                          <a:gd name="connsiteY49" fmla="*/ 1237297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54148 w 4735194"/>
                          <a:gd name="connsiteY48" fmla="*/ 2416646 h 4438963"/>
                          <a:gd name="connsiteX49" fmla="*/ 2431894 w 4735194"/>
                          <a:gd name="connsiteY49" fmla="*/ 1237297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35715 w 4735194"/>
                          <a:gd name="connsiteY48" fmla="*/ 2414013 h 4438963"/>
                          <a:gd name="connsiteX49" fmla="*/ 2431894 w 4735194"/>
                          <a:gd name="connsiteY49" fmla="*/ 1237297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35715 w 4735194"/>
                          <a:gd name="connsiteY48" fmla="*/ 2414013 h 4438963"/>
                          <a:gd name="connsiteX49" fmla="*/ 2431894 w 4735194"/>
                          <a:gd name="connsiteY49" fmla="*/ 1237297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35715 w 4735194"/>
                          <a:gd name="connsiteY48" fmla="*/ 2414013 h 4438963"/>
                          <a:gd name="connsiteX49" fmla="*/ 2431894 w 4735194"/>
                          <a:gd name="connsiteY49" fmla="*/ 1237297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35715 w 4735194"/>
                          <a:gd name="connsiteY48" fmla="*/ 2414013 h 4438963"/>
                          <a:gd name="connsiteX49" fmla="*/ 2431894 w 4735194"/>
                          <a:gd name="connsiteY49" fmla="*/ 1237297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35715 w 4735194"/>
                          <a:gd name="connsiteY48" fmla="*/ 2414013 h 4438963"/>
                          <a:gd name="connsiteX49" fmla="*/ 2429261 w 4735194"/>
                          <a:gd name="connsiteY49" fmla="*/ 1234664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35715 w 4735194"/>
                          <a:gd name="connsiteY48" fmla="*/ 2406112 h 4438963"/>
                          <a:gd name="connsiteX49" fmla="*/ 2429261 w 4735194"/>
                          <a:gd name="connsiteY49" fmla="*/ 1234664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33082 w 4735194"/>
                          <a:gd name="connsiteY48" fmla="*/ 2400846 h 4438963"/>
                          <a:gd name="connsiteX49" fmla="*/ 2429261 w 4735194"/>
                          <a:gd name="connsiteY49" fmla="*/ 1234664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30448 w 4735194"/>
                          <a:gd name="connsiteY48" fmla="*/ 2398213 h 4438963"/>
                          <a:gd name="connsiteX49" fmla="*/ 2429261 w 4735194"/>
                          <a:gd name="connsiteY49" fmla="*/ 1234664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80229 h 4438963"/>
                          <a:gd name="connsiteX48" fmla="*/ 2430448 w 4735194"/>
                          <a:gd name="connsiteY48" fmla="*/ 2398213 h 4438963"/>
                          <a:gd name="connsiteX49" fmla="*/ 2429261 w 4735194"/>
                          <a:gd name="connsiteY49" fmla="*/ 1234664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82239 w 4735194"/>
                          <a:gd name="connsiteY47" fmla="*/ 2464428 h 4438963"/>
                          <a:gd name="connsiteX48" fmla="*/ 2430448 w 4735194"/>
                          <a:gd name="connsiteY48" fmla="*/ 2398213 h 4438963"/>
                          <a:gd name="connsiteX49" fmla="*/ 2429261 w 4735194"/>
                          <a:gd name="connsiteY49" fmla="*/ 1234664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405979 h 4438963"/>
                          <a:gd name="connsiteX47" fmla="*/ 2376973 w 4735194"/>
                          <a:gd name="connsiteY47" fmla="*/ 2461795 h 4438963"/>
                          <a:gd name="connsiteX48" fmla="*/ 2430448 w 4735194"/>
                          <a:gd name="connsiteY48" fmla="*/ 2398213 h 4438963"/>
                          <a:gd name="connsiteX49" fmla="*/ 2429261 w 4735194"/>
                          <a:gd name="connsiteY49" fmla="*/ 1234664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398079 h 4438963"/>
                          <a:gd name="connsiteX47" fmla="*/ 2376973 w 4735194"/>
                          <a:gd name="connsiteY47" fmla="*/ 2461795 h 4438963"/>
                          <a:gd name="connsiteX48" fmla="*/ 2430448 w 4735194"/>
                          <a:gd name="connsiteY48" fmla="*/ 2398213 h 4438963"/>
                          <a:gd name="connsiteX49" fmla="*/ 2429261 w 4735194"/>
                          <a:gd name="connsiteY49" fmla="*/ 1234664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593220 h 4438963"/>
                          <a:gd name="connsiteX1" fmla="*/ 3641193 w 4735194"/>
                          <a:gd name="connsiteY1" fmla="*/ 3095784 h 4438963"/>
                          <a:gd name="connsiteX2" fmla="*/ 3641193 w 4735194"/>
                          <a:gd name="connsiteY2" fmla="*/ 4337778 h 4438963"/>
                          <a:gd name="connsiteX3" fmla="*/ 3642917 w 4735194"/>
                          <a:gd name="connsiteY3" fmla="*/ 4337601 h 4438963"/>
                          <a:gd name="connsiteX4" fmla="*/ 3704108 w 4735194"/>
                          <a:gd name="connsiteY4" fmla="*/ 4319075 h 4438963"/>
                          <a:gd name="connsiteX5" fmla="*/ 4626714 w 4735194"/>
                          <a:gd name="connsiteY5" fmla="*/ 3810635 h 4438963"/>
                          <a:gd name="connsiteX6" fmla="*/ 4626714 w 4735194"/>
                          <a:gd name="connsiteY6" fmla="*/ 2595546 h 4438963"/>
                          <a:gd name="connsiteX7" fmla="*/ 4622659 w 4735194"/>
                          <a:gd name="connsiteY7" fmla="*/ 2593220 h 4438963"/>
                          <a:gd name="connsiteX8" fmla="*/ 2298559 w 4735194"/>
                          <a:gd name="connsiteY8" fmla="*/ 2593220 h 4438963"/>
                          <a:gd name="connsiteX9" fmla="*/ 1317093 w 4735194"/>
                          <a:gd name="connsiteY9" fmla="*/ 3095784 h 4438963"/>
                          <a:gd name="connsiteX10" fmla="*/ 1317093 w 4735194"/>
                          <a:gd name="connsiteY10" fmla="*/ 4337778 h 4438963"/>
                          <a:gd name="connsiteX11" fmla="*/ 1318817 w 4735194"/>
                          <a:gd name="connsiteY11" fmla="*/ 4337601 h 4438963"/>
                          <a:gd name="connsiteX12" fmla="*/ 1380008 w 4735194"/>
                          <a:gd name="connsiteY12" fmla="*/ 4319075 h 4438963"/>
                          <a:gd name="connsiteX13" fmla="*/ 2302614 w 4735194"/>
                          <a:gd name="connsiteY13" fmla="*/ 3810635 h 4438963"/>
                          <a:gd name="connsiteX14" fmla="*/ 2302614 w 4735194"/>
                          <a:gd name="connsiteY14" fmla="*/ 2595546 h 4438963"/>
                          <a:gd name="connsiteX15" fmla="*/ 2298559 w 4735194"/>
                          <a:gd name="connsiteY15" fmla="*/ 2593220 h 4438963"/>
                          <a:gd name="connsiteX16" fmla="*/ 2440853 w 4735194"/>
                          <a:gd name="connsiteY16" fmla="*/ 2582993 h 4438963"/>
                          <a:gd name="connsiteX17" fmla="*/ 2428033 w 4735194"/>
                          <a:gd name="connsiteY17" fmla="*/ 2589694 h 4438963"/>
                          <a:gd name="connsiteX18" fmla="*/ 2428033 w 4735194"/>
                          <a:gd name="connsiteY18" fmla="*/ 3802017 h 4438963"/>
                          <a:gd name="connsiteX19" fmla="*/ 3426272 w 4735194"/>
                          <a:gd name="connsiteY19" fmla="*/ 4301841 h 4438963"/>
                          <a:gd name="connsiteX20" fmla="*/ 3450692 w 4735194"/>
                          <a:gd name="connsiteY20" fmla="*/ 4311296 h 4438963"/>
                          <a:gd name="connsiteX21" fmla="*/ 3450692 w 4735194"/>
                          <a:gd name="connsiteY21" fmla="*/ 3100084 h 4438963"/>
                          <a:gd name="connsiteX22" fmla="*/ 2440853 w 4735194"/>
                          <a:gd name="connsiteY22" fmla="*/ 2582993 h 4438963"/>
                          <a:gd name="connsiteX23" fmla="*/ 116753 w 4735194"/>
                          <a:gd name="connsiteY23" fmla="*/ 2582993 h 4438963"/>
                          <a:gd name="connsiteX24" fmla="*/ 103933 w 4735194"/>
                          <a:gd name="connsiteY24" fmla="*/ 2589694 h 4438963"/>
                          <a:gd name="connsiteX25" fmla="*/ 103933 w 4735194"/>
                          <a:gd name="connsiteY25" fmla="*/ 3802017 h 4438963"/>
                          <a:gd name="connsiteX26" fmla="*/ 1102172 w 4735194"/>
                          <a:gd name="connsiteY26" fmla="*/ 4301841 h 4438963"/>
                          <a:gd name="connsiteX27" fmla="*/ 1126592 w 4735194"/>
                          <a:gd name="connsiteY27" fmla="*/ 4311296 h 4438963"/>
                          <a:gd name="connsiteX28" fmla="*/ 1126592 w 4735194"/>
                          <a:gd name="connsiteY28" fmla="*/ 3100084 h 4438963"/>
                          <a:gd name="connsiteX29" fmla="*/ 116753 w 4735194"/>
                          <a:gd name="connsiteY29" fmla="*/ 2582993 h 4438963"/>
                          <a:gd name="connsiteX30" fmla="*/ 3565533 w 4735194"/>
                          <a:gd name="connsiteY30" fmla="*/ 1995076 h 4438963"/>
                          <a:gd name="connsiteX31" fmla="*/ 2546139 w 4735194"/>
                          <a:gd name="connsiteY31" fmla="*/ 2527956 h 4438963"/>
                          <a:gd name="connsiteX32" fmla="*/ 3480777 w 4735194"/>
                          <a:gd name="connsiteY32" fmla="*/ 3006541 h 4438963"/>
                          <a:gd name="connsiteX33" fmla="*/ 3602710 w 4735194"/>
                          <a:gd name="connsiteY33" fmla="*/ 3006541 h 4438963"/>
                          <a:gd name="connsiteX34" fmla="*/ 4522310 w 4735194"/>
                          <a:gd name="connsiteY34" fmla="*/ 2535656 h 4438963"/>
                          <a:gd name="connsiteX35" fmla="*/ 4508078 w 4735194"/>
                          <a:gd name="connsiteY35" fmla="*/ 2527492 h 4438963"/>
                          <a:gd name="connsiteX36" fmla="*/ 3565533 w 4735194"/>
                          <a:gd name="connsiteY36" fmla="*/ 1995076 h 4438963"/>
                          <a:gd name="connsiteX37" fmla="*/ 1241433 w 4735194"/>
                          <a:gd name="connsiteY37" fmla="*/ 1995076 h 4438963"/>
                          <a:gd name="connsiteX38" fmla="*/ 222039 w 4735194"/>
                          <a:gd name="connsiteY38" fmla="*/ 2527956 h 4438963"/>
                          <a:gd name="connsiteX39" fmla="*/ 1156677 w 4735194"/>
                          <a:gd name="connsiteY39" fmla="*/ 3006541 h 4438963"/>
                          <a:gd name="connsiteX40" fmla="*/ 1278610 w 4735194"/>
                          <a:gd name="connsiteY40" fmla="*/ 3006541 h 4438963"/>
                          <a:gd name="connsiteX41" fmla="*/ 2198210 w 4735194"/>
                          <a:gd name="connsiteY41" fmla="*/ 2535656 h 4438963"/>
                          <a:gd name="connsiteX42" fmla="*/ 2183978 w 4735194"/>
                          <a:gd name="connsiteY42" fmla="*/ 2527492 h 4438963"/>
                          <a:gd name="connsiteX43" fmla="*/ 1241433 w 4735194"/>
                          <a:gd name="connsiteY43" fmla="*/ 1995076 h 4438963"/>
                          <a:gd name="connsiteX44" fmla="*/ 1229420 w 4735194"/>
                          <a:gd name="connsiteY44" fmla="*/ 674979 h 4438963"/>
                          <a:gd name="connsiteX45" fmla="*/ 2312162 w 4735194"/>
                          <a:gd name="connsiteY45" fmla="*/ 1228536 h 4438963"/>
                          <a:gd name="connsiteX46" fmla="*/ 2312257 w 4735194"/>
                          <a:gd name="connsiteY46" fmla="*/ 2398079 h 4438963"/>
                          <a:gd name="connsiteX47" fmla="*/ 2369072 w 4735194"/>
                          <a:gd name="connsiteY47" fmla="*/ 2459162 h 4438963"/>
                          <a:gd name="connsiteX48" fmla="*/ 2430448 w 4735194"/>
                          <a:gd name="connsiteY48" fmla="*/ 2398213 h 4438963"/>
                          <a:gd name="connsiteX49" fmla="*/ 2429261 w 4735194"/>
                          <a:gd name="connsiteY49" fmla="*/ 1234664 h 4438963"/>
                          <a:gd name="connsiteX50" fmla="*/ 3563998 w 4735194"/>
                          <a:gd name="connsiteY50" fmla="*/ 674979 h 4438963"/>
                          <a:gd name="connsiteX51" fmla="*/ 3563653 w 4735194"/>
                          <a:gd name="connsiteY51" fmla="*/ 1850476 h 4438963"/>
                          <a:gd name="connsiteX52" fmla="*/ 4600389 w 4735194"/>
                          <a:gd name="connsiteY52" fmla="*/ 2441582 h 4438963"/>
                          <a:gd name="connsiteX53" fmla="*/ 4649951 w 4735194"/>
                          <a:gd name="connsiteY53" fmla="*/ 2470297 h 4438963"/>
                          <a:gd name="connsiteX54" fmla="*/ 4651097 w 4735194"/>
                          <a:gd name="connsiteY54" fmla="*/ 2469710 h 4438963"/>
                          <a:gd name="connsiteX55" fmla="*/ 4652008 w 4735194"/>
                          <a:gd name="connsiteY55" fmla="*/ 2471489 h 4438963"/>
                          <a:gd name="connsiteX56" fmla="*/ 4730218 w 4735194"/>
                          <a:gd name="connsiteY56" fmla="*/ 2516802 h 4438963"/>
                          <a:gd name="connsiteX57" fmla="*/ 4730218 w 4735194"/>
                          <a:gd name="connsiteY57" fmla="*/ 3859827 h 4438963"/>
                          <a:gd name="connsiteX58" fmla="*/ 3720568 w 4735194"/>
                          <a:gd name="connsiteY58" fmla="*/ 4421801 h 4438963"/>
                          <a:gd name="connsiteX59" fmla="*/ 3416519 w 4735194"/>
                          <a:gd name="connsiteY59" fmla="*/ 4402752 h 4438963"/>
                          <a:gd name="connsiteX60" fmla="*/ 2376040 w 4735194"/>
                          <a:gd name="connsiteY60" fmla="*/ 3876569 h 4438963"/>
                          <a:gd name="connsiteX61" fmla="*/ 1396468 w 4735194"/>
                          <a:gd name="connsiteY61" fmla="*/ 4421801 h 4438963"/>
                          <a:gd name="connsiteX62" fmla="*/ 1092419 w 4735194"/>
                          <a:gd name="connsiteY62" fmla="*/ 4402752 h 4438963"/>
                          <a:gd name="connsiteX63" fmla="*/ 0 w 4735194"/>
                          <a:gd name="connsiteY63" fmla="*/ 3850302 h 4438963"/>
                          <a:gd name="connsiteX64" fmla="*/ 0 w 4735194"/>
                          <a:gd name="connsiteY64" fmla="*/ 2510334 h 4438963"/>
                          <a:gd name="connsiteX65" fmla="*/ 1227656 w 4735194"/>
                          <a:gd name="connsiteY65" fmla="*/ 1858000 h 4438963"/>
                          <a:gd name="connsiteX66" fmla="*/ 1229420 w 4735194"/>
                          <a:gd name="connsiteY66" fmla="*/ 674979 h 4438963"/>
                          <a:gd name="connsiteX67" fmla="*/ 2449492 w 4735194"/>
                          <a:gd name="connsiteY67" fmla="*/ 0 h 4438963"/>
                          <a:gd name="connsiteX68" fmla="*/ 3460395 w 4735194"/>
                          <a:gd name="connsiteY68" fmla="*/ 590737 h 4438963"/>
                          <a:gd name="connsiteX69" fmla="*/ 2472848 w 4735194"/>
                          <a:gd name="connsiteY69" fmla="*/ 1097236 h 4438963"/>
                          <a:gd name="connsiteX70" fmla="*/ 2354300 w 4735194"/>
                          <a:gd name="connsiteY70" fmla="*/ 1098113 h 4438963"/>
                          <a:gd name="connsiteX71" fmla="*/ 1333964 w 4735194"/>
                          <a:gd name="connsiteY71" fmla="*/ 558599 h 4438963"/>
                          <a:gd name="connsiteX72" fmla="*/ 2449492 w 4735194"/>
                          <a:gd name="connsiteY72" fmla="*/ 0 h 4438963"/>
                          <a:gd name="connsiteX0" fmla="*/ 4622659 w 4735194"/>
                          <a:gd name="connsiteY0" fmla="*/ 2034621 h 3880364"/>
                          <a:gd name="connsiteX1" fmla="*/ 3641193 w 4735194"/>
                          <a:gd name="connsiteY1" fmla="*/ 2537185 h 3880364"/>
                          <a:gd name="connsiteX2" fmla="*/ 3641193 w 4735194"/>
                          <a:gd name="connsiteY2" fmla="*/ 3779179 h 3880364"/>
                          <a:gd name="connsiteX3" fmla="*/ 3642917 w 4735194"/>
                          <a:gd name="connsiteY3" fmla="*/ 3779002 h 3880364"/>
                          <a:gd name="connsiteX4" fmla="*/ 3704108 w 4735194"/>
                          <a:gd name="connsiteY4" fmla="*/ 3760476 h 3880364"/>
                          <a:gd name="connsiteX5" fmla="*/ 4626714 w 4735194"/>
                          <a:gd name="connsiteY5" fmla="*/ 3252036 h 3880364"/>
                          <a:gd name="connsiteX6" fmla="*/ 4626714 w 4735194"/>
                          <a:gd name="connsiteY6" fmla="*/ 2036947 h 3880364"/>
                          <a:gd name="connsiteX7" fmla="*/ 4622659 w 4735194"/>
                          <a:gd name="connsiteY7" fmla="*/ 2034621 h 3880364"/>
                          <a:gd name="connsiteX8" fmla="*/ 2298559 w 4735194"/>
                          <a:gd name="connsiteY8" fmla="*/ 2034621 h 3880364"/>
                          <a:gd name="connsiteX9" fmla="*/ 1317093 w 4735194"/>
                          <a:gd name="connsiteY9" fmla="*/ 2537185 h 3880364"/>
                          <a:gd name="connsiteX10" fmla="*/ 1317093 w 4735194"/>
                          <a:gd name="connsiteY10" fmla="*/ 3779179 h 3880364"/>
                          <a:gd name="connsiteX11" fmla="*/ 1318817 w 4735194"/>
                          <a:gd name="connsiteY11" fmla="*/ 3779002 h 3880364"/>
                          <a:gd name="connsiteX12" fmla="*/ 1380008 w 4735194"/>
                          <a:gd name="connsiteY12" fmla="*/ 3760476 h 3880364"/>
                          <a:gd name="connsiteX13" fmla="*/ 2302614 w 4735194"/>
                          <a:gd name="connsiteY13" fmla="*/ 3252036 h 3880364"/>
                          <a:gd name="connsiteX14" fmla="*/ 2302614 w 4735194"/>
                          <a:gd name="connsiteY14" fmla="*/ 2036947 h 3880364"/>
                          <a:gd name="connsiteX15" fmla="*/ 2298559 w 4735194"/>
                          <a:gd name="connsiteY15" fmla="*/ 2034621 h 3880364"/>
                          <a:gd name="connsiteX16" fmla="*/ 2440853 w 4735194"/>
                          <a:gd name="connsiteY16" fmla="*/ 2024394 h 3880364"/>
                          <a:gd name="connsiteX17" fmla="*/ 2428033 w 4735194"/>
                          <a:gd name="connsiteY17" fmla="*/ 2031095 h 3880364"/>
                          <a:gd name="connsiteX18" fmla="*/ 2428033 w 4735194"/>
                          <a:gd name="connsiteY18" fmla="*/ 3243418 h 3880364"/>
                          <a:gd name="connsiteX19" fmla="*/ 3426272 w 4735194"/>
                          <a:gd name="connsiteY19" fmla="*/ 3743242 h 3880364"/>
                          <a:gd name="connsiteX20" fmla="*/ 3450692 w 4735194"/>
                          <a:gd name="connsiteY20" fmla="*/ 3752697 h 3880364"/>
                          <a:gd name="connsiteX21" fmla="*/ 3450692 w 4735194"/>
                          <a:gd name="connsiteY21" fmla="*/ 2541485 h 3880364"/>
                          <a:gd name="connsiteX22" fmla="*/ 2440853 w 4735194"/>
                          <a:gd name="connsiteY22" fmla="*/ 2024394 h 3880364"/>
                          <a:gd name="connsiteX23" fmla="*/ 116753 w 4735194"/>
                          <a:gd name="connsiteY23" fmla="*/ 2024394 h 3880364"/>
                          <a:gd name="connsiteX24" fmla="*/ 103933 w 4735194"/>
                          <a:gd name="connsiteY24" fmla="*/ 2031095 h 3880364"/>
                          <a:gd name="connsiteX25" fmla="*/ 103933 w 4735194"/>
                          <a:gd name="connsiteY25" fmla="*/ 3243418 h 3880364"/>
                          <a:gd name="connsiteX26" fmla="*/ 1102172 w 4735194"/>
                          <a:gd name="connsiteY26" fmla="*/ 3743242 h 3880364"/>
                          <a:gd name="connsiteX27" fmla="*/ 1126592 w 4735194"/>
                          <a:gd name="connsiteY27" fmla="*/ 3752697 h 3880364"/>
                          <a:gd name="connsiteX28" fmla="*/ 1126592 w 4735194"/>
                          <a:gd name="connsiteY28" fmla="*/ 2541485 h 3880364"/>
                          <a:gd name="connsiteX29" fmla="*/ 116753 w 4735194"/>
                          <a:gd name="connsiteY29" fmla="*/ 2024394 h 3880364"/>
                          <a:gd name="connsiteX30" fmla="*/ 3565533 w 4735194"/>
                          <a:gd name="connsiteY30" fmla="*/ 1436477 h 3880364"/>
                          <a:gd name="connsiteX31" fmla="*/ 2546139 w 4735194"/>
                          <a:gd name="connsiteY31" fmla="*/ 1969357 h 3880364"/>
                          <a:gd name="connsiteX32" fmla="*/ 3480777 w 4735194"/>
                          <a:gd name="connsiteY32" fmla="*/ 2447942 h 3880364"/>
                          <a:gd name="connsiteX33" fmla="*/ 3602710 w 4735194"/>
                          <a:gd name="connsiteY33" fmla="*/ 2447942 h 3880364"/>
                          <a:gd name="connsiteX34" fmla="*/ 4522310 w 4735194"/>
                          <a:gd name="connsiteY34" fmla="*/ 1977057 h 3880364"/>
                          <a:gd name="connsiteX35" fmla="*/ 4508078 w 4735194"/>
                          <a:gd name="connsiteY35" fmla="*/ 1968893 h 3880364"/>
                          <a:gd name="connsiteX36" fmla="*/ 3565533 w 4735194"/>
                          <a:gd name="connsiteY36" fmla="*/ 1436477 h 3880364"/>
                          <a:gd name="connsiteX37" fmla="*/ 1241433 w 4735194"/>
                          <a:gd name="connsiteY37" fmla="*/ 1436477 h 3880364"/>
                          <a:gd name="connsiteX38" fmla="*/ 222039 w 4735194"/>
                          <a:gd name="connsiteY38" fmla="*/ 1969357 h 3880364"/>
                          <a:gd name="connsiteX39" fmla="*/ 1156677 w 4735194"/>
                          <a:gd name="connsiteY39" fmla="*/ 2447942 h 3880364"/>
                          <a:gd name="connsiteX40" fmla="*/ 1278610 w 4735194"/>
                          <a:gd name="connsiteY40" fmla="*/ 2447942 h 3880364"/>
                          <a:gd name="connsiteX41" fmla="*/ 2198210 w 4735194"/>
                          <a:gd name="connsiteY41" fmla="*/ 1977057 h 3880364"/>
                          <a:gd name="connsiteX42" fmla="*/ 2183978 w 4735194"/>
                          <a:gd name="connsiteY42" fmla="*/ 1968893 h 3880364"/>
                          <a:gd name="connsiteX43" fmla="*/ 1241433 w 4735194"/>
                          <a:gd name="connsiteY43" fmla="*/ 1436477 h 3880364"/>
                          <a:gd name="connsiteX44" fmla="*/ 1229420 w 4735194"/>
                          <a:gd name="connsiteY44" fmla="*/ 116380 h 3880364"/>
                          <a:gd name="connsiteX45" fmla="*/ 2312162 w 4735194"/>
                          <a:gd name="connsiteY45" fmla="*/ 669937 h 3880364"/>
                          <a:gd name="connsiteX46" fmla="*/ 2312257 w 4735194"/>
                          <a:gd name="connsiteY46" fmla="*/ 1839480 h 3880364"/>
                          <a:gd name="connsiteX47" fmla="*/ 2369072 w 4735194"/>
                          <a:gd name="connsiteY47" fmla="*/ 1900563 h 3880364"/>
                          <a:gd name="connsiteX48" fmla="*/ 2430448 w 4735194"/>
                          <a:gd name="connsiteY48" fmla="*/ 1839614 h 3880364"/>
                          <a:gd name="connsiteX49" fmla="*/ 2429261 w 4735194"/>
                          <a:gd name="connsiteY49" fmla="*/ 676065 h 3880364"/>
                          <a:gd name="connsiteX50" fmla="*/ 3563998 w 4735194"/>
                          <a:gd name="connsiteY50" fmla="*/ 116380 h 3880364"/>
                          <a:gd name="connsiteX51" fmla="*/ 3563653 w 4735194"/>
                          <a:gd name="connsiteY51" fmla="*/ 1291877 h 3880364"/>
                          <a:gd name="connsiteX52" fmla="*/ 4600389 w 4735194"/>
                          <a:gd name="connsiteY52" fmla="*/ 1882983 h 3880364"/>
                          <a:gd name="connsiteX53" fmla="*/ 4649951 w 4735194"/>
                          <a:gd name="connsiteY53" fmla="*/ 1911698 h 3880364"/>
                          <a:gd name="connsiteX54" fmla="*/ 4651097 w 4735194"/>
                          <a:gd name="connsiteY54" fmla="*/ 1911111 h 3880364"/>
                          <a:gd name="connsiteX55" fmla="*/ 4652008 w 4735194"/>
                          <a:gd name="connsiteY55" fmla="*/ 1912890 h 3880364"/>
                          <a:gd name="connsiteX56" fmla="*/ 4730218 w 4735194"/>
                          <a:gd name="connsiteY56" fmla="*/ 1958203 h 3880364"/>
                          <a:gd name="connsiteX57" fmla="*/ 4730218 w 4735194"/>
                          <a:gd name="connsiteY57" fmla="*/ 3301228 h 3880364"/>
                          <a:gd name="connsiteX58" fmla="*/ 3720568 w 4735194"/>
                          <a:gd name="connsiteY58" fmla="*/ 3863202 h 3880364"/>
                          <a:gd name="connsiteX59" fmla="*/ 3416519 w 4735194"/>
                          <a:gd name="connsiteY59" fmla="*/ 3844153 h 3880364"/>
                          <a:gd name="connsiteX60" fmla="*/ 2376040 w 4735194"/>
                          <a:gd name="connsiteY60" fmla="*/ 3317970 h 3880364"/>
                          <a:gd name="connsiteX61" fmla="*/ 1396468 w 4735194"/>
                          <a:gd name="connsiteY61" fmla="*/ 3863202 h 3880364"/>
                          <a:gd name="connsiteX62" fmla="*/ 1092419 w 4735194"/>
                          <a:gd name="connsiteY62" fmla="*/ 3844153 h 3880364"/>
                          <a:gd name="connsiteX63" fmla="*/ 0 w 4735194"/>
                          <a:gd name="connsiteY63" fmla="*/ 3291703 h 3880364"/>
                          <a:gd name="connsiteX64" fmla="*/ 0 w 4735194"/>
                          <a:gd name="connsiteY64" fmla="*/ 1951735 h 3880364"/>
                          <a:gd name="connsiteX65" fmla="*/ 1227656 w 4735194"/>
                          <a:gd name="connsiteY65" fmla="*/ 1299401 h 3880364"/>
                          <a:gd name="connsiteX66" fmla="*/ 1229420 w 4735194"/>
                          <a:gd name="connsiteY66" fmla="*/ 116380 h 3880364"/>
                          <a:gd name="connsiteX67" fmla="*/ 1333964 w 4735194"/>
                          <a:gd name="connsiteY67" fmla="*/ 0 h 3880364"/>
                          <a:gd name="connsiteX68" fmla="*/ 3460395 w 4735194"/>
                          <a:gd name="connsiteY68" fmla="*/ 32138 h 3880364"/>
                          <a:gd name="connsiteX69" fmla="*/ 2472848 w 4735194"/>
                          <a:gd name="connsiteY69" fmla="*/ 538637 h 3880364"/>
                          <a:gd name="connsiteX70" fmla="*/ 2354300 w 4735194"/>
                          <a:gd name="connsiteY70" fmla="*/ 539514 h 3880364"/>
                          <a:gd name="connsiteX71" fmla="*/ 1333964 w 4735194"/>
                          <a:gd name="connsiteY71" fmla="*/ 0 h 3880364"/>
                          <a:gd name="connsiteX0" fmla="*/ 4622659 w 4735194"/>
                          <a:gd name="connsiteY0" fmla="*/ 2034621 h 3880364"/>
                          <a:gd name="connsiteX1" fmla="*/ 3641193 w 4735194"/>
                          <a:gd name="connsiteY1" fmla="*/ 2537185 h 3880364"/>
                          <a:gd name="connsiteX2" fmla="*/ 3641193 w 4735194"/>
                          <a:gd name="connsiteY2" fmla="*/ 3779179 h 3880364"/>
                          <a:gd name="connsiteX3" fmla="*/ 3642917 w 4735194"/>
                          <a:gd name="connsiteY3" fmla="*/ 3779002 h 3880364"/>
                          <a:gd name="connsiteX4" fmla="*/ 3704108 w 4735194"/>
                          <a:gd name="connsiteY4" fmla="*/ 3760476 h 3880364"/>
                          <a:gd name="connsiteX5" fmla="*/ 4626714 w 4735194"/>
                          <a:gd name="connsiteY5" fmla="*/ 3252036 h 3880364"/>
                          <a:gd name="connsiteX6" fmla="*/ 4626714 w 4735194"/>
                          <a:gd name="connsiteY6" fmla="*/ 2036947 h 3880364"/>
                          <a:gd name="connsiteX7" fmla="*/ 4622659 w 4735194"/>
                          <a:gd name="connsiteY7" fmla="*/ 2034621 h 3880364"/>
                          <a:gd name="connsiteX8" fmla="*/ 2298559 w 4735194"/>
                          <a:gd name="connsiteY8" fmla="*/ 2034621 h 3880364"/>
                          <a:gd name="connsiteX9" fmla="*/ 1317093 w 4735194"/>
                          <a:gd name="connsiteY9" fmla="*/ 2537185 h 3880364"/>
                          <a:gd name="connsiteX10" fmla="*/ 1317093 w 4735194"/>
                          <a:gd name="connsiteY10" fmla="*/ 3779179 h 3880364"/>
                          <a:gd name="connsiteX11" fmla="*/ 1318817 w 4735194"/>
                          <a:gd name="connsiteY11" fmla="*/ 3779002 h 3880364"/>
                          <a:gd name="connsiteX12" fmla="*/ 1380008 w 4735194"/>
                          <a:gd name="connsiteY12" fmla="*/ 3760476 h 3880364"/>
                          <a:gd name="connsiteX13" fmla="*/ 2302614 w 4735194"/>
                          <a:gd name="connsiteY13" fmla="*/ 3252036 h 3880364"/>
                          <a:gd name="connsiteX14" fmla="*/ 2302614 w 4735194"/>
                          <a:gd name="connsiteY14" fmla="*/ 2036947 h 3880364"/>
                          <a:gd name="connsiteX15" fmla="*/ 2298559 w 4735194"/>
                          <a:gd name="connsiteY15" fmla="*/ 2034621 h 3880364"/>
                          <a:gd name="connsiteX16" fmla="*/ 2440853 w 4735194"/>
                          <a:gd name="connsiteY16" fmla="*/ 2024394 h 3880364"/>
                          <a:gd name="connsiteX17" fmla="*/ 2428033 w 4735194"/>
                          <a:gd name="connsiteY17" fmla="*/ 2031095 h 3880364"/>
                          <a:gd name="connsiteX18" fmla="*/ 2428033 w 4735194"/>
                          <a:gd name="connsiteY18" fmla="*/ 3243418 h 3880364"/>
                          <a:gd name="connsiteX19" fmla="*/ 3426272 w 4735194"/>
                          <a:gd name="connsiteY19" fmla="*/ 3743242 h 3880364"/>
                          <a:gd name="connsiteX20" fmla="*/ 3450692 w 4735194"/>
                          <a:gd name="connsiteY20" fmla="*/ 3752697 h 3880364"/>
                          <a:gd name="connsiteX21" fmla="*/ 3450692 w 4735194"/>
                          <a:gd name="connsiteY21" fmla="*/ 2541485 h 3880364"/>
                          <a:gd name="connsiteX22" fmla="*/ 2440853 w 4735194"/>
                          <a:gd name="connsiteY22" fmla="*/ 2024394 h 3880364"/>
                          <a:gd name="connsiteX23" fmla="*/ 116753 w 4735194"/>
                          <a:gd name="connsiteY23" fmla="*/ 2024394 h 3880364"/>
                          <a:gd name="connsiteX24" fmla="*/ 103933 w 4735194"/>
                          <a:gd name="connsiteY24" fmla="*/ 2031095 h 3880364"/>
                          <a:gd name="connsiteX25" fmla="*/ 103933 w 4735194"/>
                          <a:gd name="connsiteY25" fmla="*/ 3243418 h 3880364"/>
                          <a:gd name="connsiteX26" fmla="*/ 1102172 w 4735194"/>
                          <a:gd name="connsiteY26" fmla="*/ 3743242 h 3880364"/>
                          <a:gd name="connsiteX27" fmla="*/ 1126592 w 4735194"/>
                          <a:gd name="connsiteY27" fmla="*/ 3752697 h 3880364"/>
                          <a:gd name="connsiteX28" fmla="*/ 1126592 w 4735194"/>
                          <a:gd name="connsiteY28" fmla="*/ 2541485 h 3880364"/>
                          <a:gd name="connsiteX29" fmla="*/ 116753 w 4735194"/>
                          <a:gd name="connsiteY29" fmla="*/ 2024394 h 3880364"/>
                          <a:gd name="connsiteX30" fmla="*/ 3565533 w 4735194"/>
                          <a:gd name="connsiteY30" fmla="*/ 1436477 h 3880364"/>
                          <a:gd name="connsiteX31" fmla="*/ 2546139 w 4735194"/>
                          <a:gd name="connsiteY31" fmla="*/ 1969357 h 3880364"/>
                          <a:gd name="connsiteX32" fmla="*/ 3480777 w 4735194"/>
                          <a:gd name="connsiteY32" fmla="*/ 2447942 h 3880364"/>
                          <a:gd name="connsiteX33" fmla="*/ 3602710 w 4735194"/>
                          <a:gd name="connsiteY33" fmla="*/ 2447942 h 3880364"/>
                          <a:gd name="connsiteX34" fmla="*/ 4522310 w 4735194"/>
                          <a:gd name="connsiteY34" fmla="*/ 1977057 h 3880364"/>
                          <a:gd name="connsiteX35" fmla="*/ 4508078 w 4735194"/>
                          <a:gd name="connsiteY35" fmla="*/ 1968893 h 3880364"/>
                          <a:gd name="connsiteX36" fmla="*/ 3565533 w 4735194"/>
                          <a:gd name="connsiteY36" fmla="*/ 1436477 h 3880364"/>
                          <a:gd name="connsiteX37" fmla="*/ 1241433 w 4735194"/>
                          <a:gd name="connsiteY37" fmla="*/ 1436477 h 3880364"/>
                          <a:gd name="connsiteX38" fmla="*/ 222039 w 4735194"/>
                          <a:gd name="connsiteY38" fmla="*/ 1969357 h 3880364"/>
                          <a:gd name="connsiteX39" fmla="*/ 1156677 w 4735194"/>
                          <a:gd name="connsiteY39" fmla="*/ 2447942 h 3880364"/>
                          <a:gd name="connsiteX40" fmla="*/ 1278610 w 4735194"/>
                          <a:gd name="connsiteY40" fmla="*/ 2447942 h 3880364"/>
                          <a:gd name="connsiteX41" fmla="*/ 2198210 w 4735194"/>
                          <a:gd name="connsiteY41" fmla="*/ 1977057 h 3880364"/>
                          <a:gd name="connsiteX42" fmla="*/ 2183978 w 4735194"/>
                          <a:gd name="connsiteY42" fmla="*/ 1968893 h 3880364"/>
                          <a:gd name="connsiteX43" fmla="*/ 1241433 w 4735194"/>
                          <a:gd name="connsiteY43" fmla="*/ 1436477 h 3880364"/>
                          <a:gd name="connsiteX44" fmla="*/ 1229420 w 4735194"/>
                          <a:gd name="connsiteY44" fmla="*/ 116380 h 3880364"/>
                          <a:gd name="connsiteX45" fmla="*/ 2312162 w 4735194"/>
                          <a:gd name="connsiteY45" fmla="*/ 669937 h 3880364"/>
                          <a:gd name="connsiteX46" fmla="*/ 2312257 w 4735194"/>
                          <a:gd name="connsiteY46" fmla="*/ 1839480 h 3880364"/>
                          <a:gd name="connsiteX47" fmla="*/ 2369072 w 4735194"/>
                          <a:gd name="connsiteY47" fmla="*/ 1900563 h 3880364"/>
                          <a:gd name="connsiteX48" fmla="*/ 2430448 w 4735194"/>
                          <a:gd name="connsiteY48" fmla="*/ 1839614 h 3880364"/>
                          <a:gd name="connsiteX49" fmla="*/ 2429261 w 4735194"/>
                          <a:gd name="connsiteY49" fmla="*/ 676065 h 3880364"/>
                          <a:gd name="connsiteX50" fmla="*/ 3563998 w 4735194"/>
                          <a:gd name="connsiteY50" fmla="*/ 116380 h 3880364"/>
                          <a:gd name="connsiteX51" fmla="*/ 3563653 w 4735194"/>
                          <a:gd name="connsiteY51" fmla="*/ 1291877 h 3880364"/>
                          <a:gd name="connsiteX52" fmla="*/ 4600389 w 4735194"/>
                          <a:gd name="connsiteY52" fmla="*/ 1882983 h 3880364"/>
                          <a:gd name="connsiteX53" fmla="*/ 4649951 w 4735194"/>
                          <a:gd name="connsiteY53" fmla="*/ 1911698 h 3880364"/>
                          <a:gd name="connsiteX54" fmla="*/ 4651097 w 4735194"/>
                          <a:gd name="connsiteY54" fmla="*/ 1911111 h 3880364"/>
                          <a:gd name="connsiteX55" fmla="*/ 4652008 w 4735194"/>
                          <a:gd name="connsiteY55" fmla="*/ 1912890 h 3880364"/>
                          <a:gd name="connsiteX56" fmla="*/ 4730218 w 4735194"/>
                          <a:gd name="connsiteY56" fmla="*/ 1958203 h 3880364"/>
                          <a:gd name="connsiteX57" fmla="*/ 4730218 w 4735194"/>
                          <a:gd name="connsiteY57" fmla="*/ 3301228 h 3880364"/>
                          <a:gd name="connsiteX58" fmla="*/ 3720568 w 4735194"/>
                          <a:gd name="connsiteY58" fmla="*/ 3863202 h 3880364"/>
                          <a:gd name="connsiteX59" fmla="*/ 3416519 w 4735194"/>
                          <a:gd name="connsiteY59" fmla="*/ 3844153 h 3880364"/>
                          <a:gd name="connsiteX60" fmla="*/ 2376040 w 4735194"/>
                          <a:gd name="connsiteY60" fmla="*/ 3317970 h 3880364"/>
                          <a:gd name="connsiteX61" fmla="*/ 1396468 w 4735194"/>
                          <a:gd name="connsiteY61" fmla="*/ 3863202 h 3880364"/>
                          <a:gd name="connsiteX62" fmla="*/ 1092419 w 4735194"/>
                          <a:gd name="connsiteY62" fmla="*/ 3844153 h 3880364"/>
                          <a:gd name="connsiteX63" fmla="*/ 0 w 4735194"/>
                          <a:gd name="connsiteY63" fmla="*/ 3291703 h 3880364"/>
                          <a:gd name="connsiteX64" fmla="*/ 0 w 4735194"/>
                          <a:gd name="connsiteY64" fmla="*/ 1951735 h 3880364"/>
                          <a:gd name="connsiteX65" fmla="*/ 1227656 w 4735194"/>
                          <a:gd name="connsiteY65" fmla="*/ 1299401 h 3880364"/>
                          <a:gd name="connsiteX66" fmla="*/ 1229420 w 4735194"/>
                          <a:gd name="connsiteY66" fmla="*/ 116380 h 3880364"/>
                          <a:gd name="connsiteX67" fmla="*/ 1333964 w 4735194"/>
                          <a:gd name="connsiteY67" fmla="*/ 0 h 3880364"/>
                          <a:gd name="connsiteX68" fmla="*/ 3460395 w 4735194"/>
                          <a:gd name="connsiteY68" fmla="*/ 32138 h 3880364"/>
                          <a:gd name="connsiteX69" fmla="*/ 2354300 w 4735194"/>
                          <a:gd name="connsiteY69" fmla="*/ 539514 h 3880364"/>
                          <a:gd name="connsiteX70" fmla="*/ 1333964 w 4735194"/>
                          <a:gd name="connsiteY70" fmla="*/ 0 h 3880364"/>
                          <a:gd name="connsiteX0" fmla="*/ 4622659 w 4735194"/>
                          <a:gd name="connsiteY0" fmla="*/ 2034621 h 3880364"/>
                          <a:gd name="connsiteX1" fmla="*/ 3641193 w 4735194"/>
                          <a:gd name="connsiteY1" fmla="*/ 2537185 h 3880364"/>
                          <a:gd name="connsiteX2" fmla="*/ 3641193 w 4735194"/>
                          <a:gd name="connsiteY2" fmla="*/ 3779179 h 3880364"/>
                          <a:gd name="connsiteX3" fmla="*/ 3642917 w 4735194"/>
                          <a:gd name="connsiteY3" fmla="*/ 3779002 h 3880364"/>
                          <a:gd name="connsiteX4" fmla="*/ 3704108 w 4735194"/>
                          <a:gd name="connsiteY4" fmla="*/ 3760476 h 3880364"/>
                          <a:gd name="connsiteX5" fmla="*/ 4626714 w 4735194"/>
                          <a:gd name="connsiteY5" fmla="*/ 3252036 h 3880364"/>
                          <a:gd name="connsiteX6" fmla="*/ 4626714 w 4735194"/>
                          <a:gd name="connsiteY6" fmla="*/ 2036947 h 3880364"/>
                          <a:gd name="connsiteX7" fmla="*/ 4622659 w 4735194"/>
                          <a:gd name="connsiteY7" fmla="*/ 2034621 h 3880364"/>
                          <a:gd name="connsiteX8" fmla="*/ 2298559 w 4735194"/>
                          <a:gd name="connsiteY8" fmla="*/ 2034621 h 3880364"/>
                          <a:gd name="connsiteX9" fmla="*/ 1317093 w 4735194"/>
                          <a:gd name="connsiteY9" fmla="*/ 2537185 h 3880364"/>
                          <a:gd name="connsiteX10" fmla="*/ 1317093 w 4735194"/>
                          <a:gd name="connsiteY10" fmla="*/ 3779179 h 3880364"/>
                          <a:gd name="connsiteX11" fmla="*/ 1318817 w 4735194"/>
                          <a:gd name="connsiteY11" fmla="*/ 3779002 h 3880364"/>
                          <a:gd name="connsiteX12" fmla="*/ 1380008 w 4735194"/>
                          <a:gd name="connsiteY12" fmla="*/ 3760476 h 3880364"/>
                          <a:gd name="connsiteX13" fmla="*/ 2302614 w 4735194"/>
                          <a:gd name="connsiteY13" fmla="*/ 3252036 h 3880364"/>
                          <a:gd name="connsiteX14" fmla="*/ 2302614 w 4735194"/>
                          <a:gd name="connsiteY14" fmla="*/ 2036947 h 3880364"/>
                          <a:gd name="connsiteX15" fmla="*/ 2298559 w 4735194"/>
                          <a:gd name="connsiteY15" fmla="*/ 2034621 h 3880364"/>
                          <a:gd name="connsiteX16" fmla="*/ 2440853 w 4735194"/>
                          <a:gd name="connsiteY16" fmla="*/ 2024394 h 3880364"/>
                          <a:gd name="connsiteX17" fmla="*/ 2428033 w 4735194"/>
                          <a:gd name="connsiteY17" fmla="*/ 2031095 h 3880364"/>
                          <a:gd name="connsiteX18" fmla="*/ 2428033 w 4735194"/>
                          <a:gd name="connsiteY18" fmla="*/ 3243418 h 3880364"/>
                          <a:gd name="connsiteX19" fmla="*/ 3426272 w 4735194"/>
                          <a:gd name="connsiteY19" fmla="*/ 3743242 h 3880364"/>
                          <a:gd name="connsiteX20" fmla="*/ 3450692 w 4735194"/>
                          <a:gd name="connsiteY20" fmla="*/ 3752697 h 3880364"/>
                          <a:gd name="connsiteX21" fmla="*/ 3450692 w 4735194"/>
                          <a:gd name="connsiteY21" fmla="*/ 2541485 h 3880364"/>
                          <a:gd name="connsiteX22" fmla="*/ 2440853 w 4735194"/>
                          <a:gd name="connsiteY22" fmla="*/ 2024394 h 3880364"/>
                          <a:gd name="connsiteX23" fmla="*/ 116753 w 4735194"/>
                          <a:gd name="connsiteY23" fmla="*/ 2024394 h 3880364"/>
                          <a:gd name="connsiteX24" fmla="*/ 103933 w 4735194"/>
                          <a:gd name="connsiteY24" fmla="*/ 2031095 h 3880364"/>
                          <a:gd name="connsiteX25" fmla="*/ 103933 w 4735194"/>
                          <a:gd name="connsiteY25" fmla="*/ 3243418 h 3880364"/>
                          <a:gd name="connsiteX26" fmla="*/ 1102172 w 4735194"/>
                          <a:gd name="connsiteY26" fmla="*/ 3743242 h 3880364"/>
                          <a:gd name="connsiteX27" fmla="*/ 1126592 w 4735194"/>
                          <a:gd name="connsiteY27" fmla="*/ 3752697 h 3880364"/>
                          <a:gd name="connsiteX28" fmla="*/ 1126592 w 4735194"/>
                          <a:gd name="connsiteY28" fmla="*/ 2541485 h 3880364"/>
                          <a:gd name="connsiteX29" fmla="*/ 116753 w 4735194"/>
                          <a:gd name="connsiteY29" fmla="*/ 2024394 h 3880364"/>
                          <a:gd name="connsiteX30" fmla="*/ 3565533 w 4735194"/>
                          <a:gd name="connsiteY30" fmla="*/ 1436477 h 3880364"/>
                          <a:gd name="connsiteX31" fmla="*/ 2546139 w 4735194"/>
                          <a:gd name="connsiteY31" fmla="*/ 1969357 h 3880364"/>
                          <a:gd name="connsiteX32" fmla="*/ 3480777 w 4735194"/>
                          <a:gd name="connsiteY32" fmla="*/ 2447942 h 3880364"/>
                          <a:gd name="connsiteX33" fmla="*/ 3602710 w 4735194"/>
                          <a:gd name="connsiteY33" fmla="*/ 2447942 h 3880364"/>
                          <a:gd name="connsiteX34" fmla="*/ 4522310 w 4735194"/>
                          <a:gd name="connsiteY34" fmla="*/ 1977057 h 3880364"/>
                          <a:gd name="connsiteX35" fmla="*/ 4508078 w 4735194"/>
                          <a:gd name="connsiteY35" fmla="*/ 1968893 h 3880364"/>
                          <a:gd name="connsiteX36" fmla="*/ 3565533 w 4735194"/>
                          <a:gd name="connsiteY36" fmla="*/ 1436477 h 3880364"/>
                          <a:gd name="connsiteX37" fmla="*/ 1241433 w 4735194"/>
                          <a:gd name="connsiteY37" fmla="*/ 1436477 h 3880364"/>
                          <a:gd name="connsiteX38" fmla="*/ 222039 w 4735194"/>
                          <a:gd name="connsiteY38" fmla="*/ 1969357 h 3880364"/>
                          <a:gd name="connsiteX39" fmla="*/ 1156677 w 4735194"/>
                          <a:gd name="connsiteY39" fmla="*/ 2447942 h 3880364"/>
                          <a:gd name="connsiteX40" fmla="*/ 1278610 w 4735194"/>
                          <a:gd name="connsiteY40" fmla="*/ 2447942 h 3880364"/>
                          <a:gd name="connsiteX41" fmla="*/ 2198210 w 4735194"/>
                          <a:gd name="connsiteY41" fmla="*/ 1977057 h 3880364"/>
                          <a:gd name="connsiteX42" fmla="*/ 2183978 w 4735194"/>
                          <a:gd name="connsiteY42" fmla="*/ 1968893 h 3880364"/>
                          <a:gd name="connsiteX43" fmla="*/ 1241433 w 4735194"/>
                          <a:gd name="connsiteY43" fmla="*/ 1436477 h 3880364"/>
                          <a:gd name="connsiteX44" fmla="*/ 1229420 w 4735194"/>
                          <a:gd name="connsiteY44" fmla="*/ 116380 h 3880364"/>
                          <a:gd name="connsiteX45" fmla="*/ 2312162 w 4735194"/>
                          <a:gd name="connsiteY45" fmla="*/ 669937 h 3880364"/>
                          <a:gd name="connsiteX46" fmla="*/ 2312257 w 4735194"/>
                          <a:gd name="connsiteY46" fmla="*/ 1839480 h 3880364"/>
                          <a:gd name="connsiteX47" fmla="*/ 2369072 w 4735194"/>
                          <a:gd name="connsiteY47" fmla="*/ 1900563 h 3880364"/>
                          <a:gd name="connsiteX48" fmla="*/ 2430448 w 4735194"/>
                          <a:gd name="connsiteY48" fmla="*/ 1839614 h 3880364"/>
                          <a:gd name="connsiteX49" fmla="*/ 2429261 w 4735194"/>
                          <a:gd name="connsiteY49" fmla="*/ 676065 h 3880364"/>
                          <a:gd name="connsiteX50" fmla="*/ 3563998 w 4735194"/>
                          <a:gd name="connsiteY50" fmla="*/ 116380 h 3880364"/>
                          <a:gd name="connsiteX51" fmla="*/ 3563653 w 4735194"/>
                          <a:gd name="connsiteY51" fmla="*/ 1291877 h 3880364"/>
                          <a:gd name="connsiteX52" fmla="*/ 4600389 w 4735194"/>
                          <a:gd name="connsiteY52" fmla="*/ 1882983 h 3880364"/>
                          <a:gd name="connsiteX53" fmla="*/ 4649951 w 4735194"/>
                          <a:gd name="connsiteY53" fmla="*/ 1911698 h 3880364"/>
                          <a:gd name="connsiteX54" fmla="*/ 4651097 w 4735194"/>
                          <a:gd name="connsiteY54" fmla="*/ 1911111 h 3880364"/>
                          <a:gd name="connsiteX55" fmla="*/ 4652008 w 4735194"/>
                          <a:gd name="connsiteY55" fmla="*/ 1912890 h 3880364"/>
                          <a:gd name="connsiteX56" fmla="*/ 4730218 w 4735194"/>
                          <a:gd name="connsiteY56" fmla="*/ 1958203 h 3880364"/>
                          <a:gd name="connsiteX57" fmla="*/ 4730218 w 4735194"/>
                          <a:gd name="connsiteY57" fmla="*/ 3301228 h 3880364"/>
                          <a:gd name="connsiteX58" fmla="*/ 3720568 w 4735194"/>
                          <a:gd name="connsiteY58" fmla="*/ 3863202 h 3880364"/>
                          <a:gd name="connsiteX59" fmla="*/ 3416519 w 4735194"/>
                          <a:gd name="connsiteY59" fmla="*/ 3844153 h 3880364"/>
                          <a:gd name="connsiteX60" fmla="*/ 2376040 w 4735194"/>
                          <a:gd name="connsiteY60" fmla="*/ 3317970 h 3880364"/>
                          <a:gd name="connsiteX61" fmla="*/ 1396468 w 4735194"/>
                          <a:gd name="connsiteY61" fmla="*/ 3863202 h 3880364"/>
                          <a:gd name="connsiteX62" fmla="*/ 1092419 w 4735194"/>
                          <a:gd name="connsiteY62" fmla="*/ 3844153 h 3880364"/>
                          <a:gd name="connsiteX63" fmla="*/ 0 w 4735194"/>
                          <a:gd name="connsiteY63" fmla="*/ 3291703 h 3880364"/>
                          <a:gd name="connsiteX64" fmla="*/ 0 w 4735194"/>
                          <a:gd name="connsiteY64" fmla="*/ 1951735 h 3880364"/>
                          <a:gd name="connsiteX65" fmla="*/ 1227656 w 4735194"/>
                          <a:gd name="connsiteY65" fmla="*/ 1299401 h 3880364"/>
                          <a:gd name="connsiteX66" fmla="*/ 1229420 w 4735194"/>
                          <a:gd name="connsiteY66" fmla="*/ 116380 h 3880364"/>
                          <a:gd name="connsiteX67" fmla="*/ 1333964 w 4735194"/>
                          <a:gd name="connsiteY67" fmla="*/ 0 h 3880364"/>
                          <a:gd name="connsiteX68" fmla="*/ 3460395 w 4735194"/>
                          <a:gd name="connsiteY68" fmla="*/ 32138 h 3880364"/>
                          <a:gd name="connsiteX69" fmla="*/ 1333964 w 4735194"/>
                          <a:gd name="connsiteY69" fmla="*/ 0 h 3880364"/>
                          <a:gd name="connsiteX0" fmla="*/ 4622659 w 4735194"/>
                          <a:gd name="connsiteY0" fmla="*/ 1918241 h 3763984"/>
                          <a:gd name="connsiteX1" fmla="*/ 3641193 w 4735194"/>
                          <a:gd name="connsiteY1" fmla="*/ 2420805 h 3763984"/>
                          <a:gd name="connsiteX2" fmla="*/ 3641193 w 4735194"/>
                          <a:gd name="connsiteY2" fmla="*/ 3662799 h 3763984"/>
                          <a:gd name="connsiteX3" fmla="*/ 3642917 w 4735194"/>
                          <a:gd name="connsiteY3" fmla="*/ 3662622 h 3763984"/>
                          <a:gd name="connsiteX4" fmla="*/ 3704108 w 4735194"/>
                          <a:gd name="connsiteY4" fmla="*/ 3644096 h 3763984"/>
                          <a:gd name="connsiteX5" fmla="*/ 4626714 w 4735194"/>
                          <a:gd name="connsiteY5" fmla="*/ 3135656 h 3763984"/>
                          <a:gd name="connsiteX6" fmla="*/ 4626714 w 4735194"/>
                          <a:gd name="connsiteY6" fmla="*/ 1920567 h 3763984"/>
                          <a:gd name="connsiteX7" fmla="*/ 4622659 w 4735194"/>
                          <a:gd name="connsiteY7" fmla="*/ 1918241 h 3763984"/>
                          <a:gd name="connsiteX8" fmla="*/ 2298559 w 4735194"/>
                          <a:gd name="connsiteY8" fmla="*/ 1918241 h 3763984"/>
                          <a:gd name="connsiteX9" fmla="*/ 1317093 w 4735194"/>
                          <a:gd name="connsiteY9" fmla="*/ 2420805 h 3763984"/>
                          <a:gd name="connsiteX10" fmla="*/ 1317093 w 4735194"/>
                          <a:gd name="connsiteY10" fmla="*/ 3662799 h 3763984"/>
                          <a:gd name="connsiteX11" fmla="*/ 1318817 w 4735194"/>
                          <a:gd name="connsiteY11" fmla="*/ 3662622 h 3763984"/>
                          <a:gd name="connsiteX12" fmla="*/ 1380008 w 4735194"/>
                          <a:gd name="connsiteY12" fmla="*/ 3644096 h 3763984"/>
                          <a:gd name="connsiteX13" fmla="*/ 2302614 w 4735194"/>
                          <a:gd name="connsiteY13" fmla="*/ 3135656 h 3763984"/>
                          <a:gd name="connsiteX14" fmla="*/ 2302614 w 4735194"/>
                          <a:gd name="connsiteY14" fmla="*/ 1920567 h 3763984"/>
                          <a:gd name="connsiteX15" fmla="*/ 2298559 w 4735194"/>
                          <a:gd name="connsiteY15" fmla="*/ 1918241 h 3763984"/>
                          <a:gd name="connsiteX16" fmla="*/ 2440853 w 4735194"/>
                          <a:gd name="connsiteY16" fmla="*/ 1908014 h 3763984"/>
                          <a:gd name="connsiteX17" fmla="*/ 2428033 w 4735194"/>
                          <a:gd name="connsiteY17" fmla="*/ 1914715 h 3763984"/>
                          <a:gd name="connsiteX18" fmla="*/ 2428033 w 4735194"/>
                          <a:gd name="connsiteY18" fmla="*/ 3127038 h 3763984"/>
                          <a:gd name="connsiteX19" fmla="*/ 3426272 w 4735194"/>
                          <a:gd name="connsiteY19" fmla="*/ 3626862 h 3763984"/>
                          <a:gd name="connsiteX20" fmla="*/ 3450692 w 4735194"/>
                          <a:gd name="connsiteY20" fmla="*/ 3636317 h 3763984"/>
                          <a:gd name="connsiteX21" fmla="*/ 3450692 w 4735194"/>
                          <a:gd name="connsiteY21" fmla="*/ 2425105 h 3763984"/>
                          <a:gd name="connsiteX22" fmla="*/ 2440853 w 4735194"/>
                          <a:gd name="connsiteY22" fmla="*/ 1908014 h 3763984"/>
                          <a:gd name="connsiteX23" fmla="*/ 116753 w 4735194"/>
                          <a:gd name="connsiteY23" fmla="*/ 1908014 h 3763984"/>
                          <a:gd name="connsiteX24" fmla="*/ 103933 w 4735194"/>
                          <a:gd name="connsiteY24" fmla="*/ 1914715 h 3763984"/>
                          <a:gd name="connsiteX25" fmla="*/ 103933 w 4735194"/>
                          <a:gd name="connsiteY25" fmla="*/ 3127038 h 3763984"/>
                          <a:gd name="connsiteX26" fmla="*/ 1102172 w 4735194"/>
                          <a:gd name="connsiteY26" fmla="*/ 3626862 h 3763984"/>
                          <a:gd name="connsiteX27" fmla="*/ 1126592 w 4735194"/>
                          <a:gd name="connsiteY27" fmla="*/ 3636317 h 3763984"/>
                          <a:gd name="connsiteX28" fmla="*/ 1126592 w 4735194"/>
                          <a:gd name="connsiteY28" fmla="*/ 2425105 h 3763984"/>
                          <a:gd name="connsiteX29" fmla="*/ 116753 w 4735194"/>
                          <a:gd name="connsiteY29" fmla="*/ 1908014 h 3763984"/>
                          <a:gd name="connsiteX30" fmla="*/ 3565533 w 4735194"/>
                          <a:gd name="connsiteY30" fmla="*/ 1320097 h 3763984"/>
                          <a:gd name="connsiteX31" fmla="*/ 2546139 w 4735194"/>
                          <a:gd name="connsiteY31" fmla="*/ 1852977 h 3763984"/>
                          <a:gd name="connsiteX32" fmla="*/ 3480777 w 4735194"/>
                          <a:gd name="connsiteY32" fmla="*/ 2331562 h 3763984"/>
                          <a:gd name="connsiteX33" fmla="*/ 3602710 w 4735194"/>
                          <a:gd name="connsiteY33" fmla="*/ 2331562 h 3763984"/>
                          <a:gd name="connsiteX34" fmla="*/ 4522310 w 4735194"/>
                          <a:gd name="connsiteY34" fmla="*/ 1860677 h 3763984"/>
                          <a:gd name="connsiteX35" fmla="*/ 4508078 w 4735194"/>
                          <a:gd name="connsiteY35" fmla="*/ 1852513 h 3763984"/>
                          <a:gd name="connsiteX36" fmla="*/ 3565533 w 4735194"/>
                          <a:gd name="connsiteY36" fmla="*/ 1320097 h 3763984"/>
                          <a:gd name="connsiteX37" fmla="*/ 1241433 w 4735194"/>
                          <a:gd name="connsiteY37" fmla="*/ 1320097 h 3763984"/>
                          <a:gd name="connsiteX38" fmla="*/ 222039 w 4735194"/>
                          <a:gd name="connsiteY38" fmla="*/ 1852977 h 3763984"/>
                          <a:gd name="connsiteX39" fmla="*/ 1156677 w 4735194"/>
                          <a:gd name="connsiteY39" fmla="*/ 2331562 h 3763984"/>
                          <a:gd name="connsiteX40" fmla="*/ 1278610 w 4735194"/>
                          <a:gd name="connsiteY40" fmla="*/ 2331562 h 3763984"/>
                          <a:gd name="connsiteX41" fmla="*/ 2198210 w 4735194"/>
                          <a:gd name="connsiteY41" fmla="*/ 1860677 h 3763984"/>
                          <a:gd name="connsiteX42" fmla="*/ 2183978 w 4735194"/>
                          <a:gd name="connsiteY42" fmla="*/ 1852513 h 3763984"/>
                          <a:gd name="connsiteX43" fmla="*/ 1241433 w 4735194"/>
                          <a:gd name="connsiteY43" fmla="*/ 1320097 h 3763984"/>
                          <a:gd name="connsiteX44" fmla="*/ 1229420 w 4735194"/>
                          <a:gd name="connsiteY44" fmla="*/ 0 h 3763984"/>
                          <a:gd name="connsiteX45" fmla="*/ 2312162 w 4735194"/>
                          <a:gd name="connsiteY45" fmla="*/ 553557 h 3763984"/>
                          <a:gd name="connsiteX46" fmla="*/ 2312257 w 4735194"/>
                          <a:gd name="connsiteY46" fmla="*/ 1723100 h 3763984"/>
                          <a:gd name="connsiteX47" fmla="*/ 2369072 w 4735194"/>
                          <a:gd name="connsiteY47" fmla="*/ 1784183 h 3763984"/>
                          <a:gd name="connsiteX48" fmla="*/ 2430448 w 4735194"/>
                          <a:gd name="connsiteY48" fmla="*/ 1723234 h 3763984"/>
                          <a:gd name="connsiteX49" fmla="*/ 2429261 w 4735194"/>
                          <a:gd name="connsiteY49" fmla="*/ 559685 h 3763984"/>
                          <a:gd name="connsiteX50" fmla="*/ 3563998 w 4735194"/>
                          <a:gd name="connsiteY50" fmla="*/ 0 h 3763984"/>
                          <a:gd name="connsiteX51" fmla="*/ 3563653 w 4735194"/>
                          <a:gd name="connsiteY51" fmla="*/ 1175497 h 3763984"/>
                          <a:gd name="connsiteX52" fmla="*/ 4600389 w 4735194"/>
                          <a:gd name="connsiteY52" fmla="*/ 1766603 h 3763984"/>
                          <a:gd name="connsiteX53" fmla="*/ 4649951 w 4735194"/>
                          <a:gd name="connsiteY53" fmla="*/ 1795318 h 3763984"/>
                          <a:gd name="connsiteX54" fmla="*/ 4651097 w 4735194"/>
                          <a:gd name="connsiteY54" fmla="*/ 1794731 h 3763984"/>
                          <a:gd name="connsiteX55" fmla="*/ 4652008 w 4735194"/>
                          <a:gd name="connsiteY55" fmla="*/ 1796510 h 3763984"/>
                          <a:gd name="connsiteX56" fmla="*/ 4730218 w 4735194"/>
                          <a:gd name="connsiteY56" fmla="*/ 1841823 h 3763984"/>
                          <a:gd name="connsiteX57" fmla="*/ 4730218 w 4735194"/>
                          <a:gd name="connsiteY57" fmla="*/ 3184848 h 3763984"/>
                          <a:gd name="connsiteX58" fmla="*/ 3720568 w 4735194"/>
                          <a:gd name="connsiteY58" fmla="*/ 3746822 h 3763984"/>
                          <a:gd name="connsiteX59" fmla="*/ 3416519 w 4735194"/>
                          <a:gd name="connsiteY59" fmla="*/ 3727773 h 3763984"/>
                          <a:gd name="connsiteX60" fmla="*/ 2376040 w 4735194"/>
                          <a:gd name="connsiteY60" fmla="*/ 3201590 h 3763984"/>
                          <a:gd name="connsiteX61" fmla="*/ 1396468 w 4735194"/>
                          <a:gd name="connsiteY61" fmla="*/ 3746822 h 3763984"/>
                          <a:gd name="connsiteX62" fmla="*/ 1092419 w 4735194"/>
                          <a:gd name="connsiteY62" fmla="*/ 3727773 h 3763984"/>
                          <a:gd name="connsiteX63" fmla="*/ 0 w 4735194"/>
                          <a:gd name="connsiteY63" fmla="*/ 3175323 h 3763984"/>
                          <a:gd name="connsiteX64" fmla="*/ 0 w 4735194"/>
                          <a:gd name="connsiteY64" fmla="*/ 1835355 h 3763984"/>
                          <a:gd name="connsiteX65" fmla="*/ 1227656 w 4735194"/>
                          <a:gd name="connsiteY65" fmla="*/ 1183021 h 3763984"/>
                          <a:gd name="connsiteX66" fmla="*/ 1229420 w 4735194"/>
                          <a:gd name="connsiteY66" fmla="*/ 0 h 3763984"/>
                          <a:gd name="connsiteX0" fmla="*/ 4622659 w 4735194"/>
                          <a:gd name="connsiteY0" fmla="*/ 1918241 h 3763984"/>
                          <a:gd name="connsiteX1" fmla="*/ 3641193 w 4735194"/>
                          <a:gd name="connsiteY1" fmla="*/ 2420805 h 3763984"/>
                          <a:gd name="connsiteX2" fmla="*/ 3641193 w 4735194"/>
                          <a:gd name="connsiteY2" fmla="*/ 3662799 h 3763984"/>
                          <a:gd name="connsiteX3" fmla="*/ 3642917 w 4735194"/>
                          <a:gd name="connsiteY3" fmla="*/ 3662622 h 3763984"/>
                          <a:gd name="connsiteX4" fmla="*/ 3704108 w 4735194"/>
                          <a:gd name="connsiteY4" fmla="*/ 3644096 h 3763984"/>
                          <a:gd name="connsiteX5" fmla="*/ 4626714 w 4735194"/>
                          <a:gd name="connsiteY5" fmla="*/ 3135656 h 3763984"/>
                          <a:gd name="connsiteX6" fmla="*/ 4626714 w 4735194"/>
                          <a:gd name="connsiteY6" fmla="*/ 1920567 h 3763984"/>
                          <a:gd name="connsiteX7" fmla="*/ 4622659 w 4735194"/>
                          <a:gd name="connsiteY7" fmla="*/ 1918241 h 3763984"/>
                          <a:gd name="connsiteX8" fmla="*/ 2298559 w 4735194"/>
                          <a:gd name="connsiteY8" fmla="*/ 1918241 h 3763984"/>
                          <a:gd name="connsiteX9" fmla="*/ 1317093 w 4735194"/>
                          <a:gd name="connsiteY9" fmla="*/ 2420805 h 3763984"/>
                          <a:gd name="connsiteX10" fmla="*/ 1317093 w 4735194"/>
                          <a:gd name="connsiteY10" fmla="*/ 3662799 h 3763984"/>
                          <a:gd name="connsiteX11" fmla="*/ 1318817 w 4735194"/>
                          <a:gd name="connsiteY11" fmla="*/ 3662622 h 3763984"/>
                          <a:gd name="connsiteX12" fmla="*/ 1380008 w 4735194"/>
                          <a:gd name="connsiteY12" fmla="*/ 3644096 h 3763984"/>
                          <a:gd name="connsiteX13" fmla="*/ 2302614 w 4735194"/>
                          <a:gd name="connsiteY13" fmla="*/ 3135656 h 3763984"/>
                          <a:gd name="connsiteX14" fmla="*/ 2302614 w 4735194"/>
                          <a:gd name="connsiteY14" fmla="*/ 1920567 h 3763984"/>
                          <a:gd name="connsiteX15" fmla="*/ 2298559 w 4735194"/>
                          <a:gd name="connsiteY15" fmla="*/ 1918241 h 3763984"/>
                          <a:gd name="connsiteX16" fmla="*/ 2440853 w 4735194"/>
                          <a:gd name="connsiteY16" fmla="*/ 1908014 h 3763984"/>
                          <a:gd name="connsiteX17" fmla="*/ 2428033 w 4735194"/>
                          <a:gd name="connsiteY17" fmla="*/ 1914715 h 3763984"/>
                          <a:gd name="connsiteX18" fmla="*/ 2428033 w 4735194"/>
                          <a:gd name="connsiteY18" fmla="*/ 3127038 h 3763984"/>
                          <a:gd name="connsiteX19" fmla="*/ 3426272 w 4735194"/>
                          <a:gd name="connsiteY19" fmla="*/ 3626862 h 3763984"/>
                          <a:gd name="connsiteX20" fmla="*/ 3450692 w 4735194"/>
                          <a:gd name="connsiteY20" fmla="*/ 3636317 h 3763984"/>
                          <a:gd name="connsiteX21" fmla="*/ 3450692 w 4735194"/>
                          <a:gd name="connsiteY21" fmla="*/ 2425105 h 3763984"/>
                          <a:gd name="connsiteX22" fmla="*/ 2440853 w 4735194"/>
                          <a:gd name="connsiteY22" fmla="*/ 1908014 h 3763984"/>
                          <a:gd name="connsiteX23" fmla="*/ 116753 w 4735194"/>
                          <a:gd name="connsiteY23" fmla="*/ 1908014 h 3763984"/>
                          <a:gd name="connsiteX24" fmla="*/ 103933 w 4735194"/>
                          <a:gd name="connsiteY24" fmla="*/ 1914715 h 3763984"/>
                          <a:gd name="connsiteX25" fmla="*/ 103933 w 4735194"/>
                          <a:gd name="connsiteY25" fmla="*/ 3127038 h 3763984"/>
                          <a:gd name="connsiteX26" fmla="*/ 1102172 w 4735194"/>
                          <a:gd name="connsiteY26" fmla="*/ 3626862 h 3763984"/>
                          <a:gd name="connsiteX27" fmla="*/ 1126592 w 4735194"/>
                          <a:gd name="connsiteY27" fmla="*/ 3636317 h 3763984"/>
                          <a:gd name="connsiteX28" fmla="*/ 1126592 w 4735194"/>
                          <a:gd name="connsiteY28" fmla="*/ 2425105 h 3763984"/>
                          <a:gd name="connsiteX29" fmla="*/ 116753 w 4735194"/>
                          <a:gd name="connsiteY29" fmla="*/ 1908014 h 3763984"/>
                          <a:gd name="connsiteX30" fmla="*/ 3565533 w 4735194"/>
                          <a:gd name="connsiteY30" fmla="*/ 1320097 h 3763984"/>
                          <a:gd name="connsiteX31" fmla="*/ 2546139 w 4735194"/>
                          <a:gd name="connsiteY31" fmla="*/ 1852977 h 3763984"/>
                          <a:gd name="connsiteX32" fmla="*/ 3480777 w 4735194"/>
                          <a:gd name="connsiteY32" fmla="*/ 2331562 h 3763984"/>
                          <a:gd name="connsiteX33" fmla="*/ 3602710 w 4735194"/>
                          <a:gd name="connsiteY33" fmla="*/ 2331562 h 3763984"/>
                          <a:gd name="connsiteX34" fmla="*/ 4522310 w 4735194"/>
                          <a:gd name="connsiteY34" fmla="*/ 1860677 h 3763984"/>
                          <a:gd name="connsiteX35" fmla="*/ 4508078 w 4735194"/>
                          <a:gd name="connsiteY35" fmla="*/ 1852513 h 3763984"/>
                          <a:gd name="connsiteX36" fmla="*/ 3565533 w 4735194"/>
                          <a:gd name="connsiteY36" fmla="*/ 1320097 h 3763984"/>
                          <a:gd name="connsiteX37" fmla="*/ 1241433 w 4735194"/>
                          <a:gd name="connsiteY37" fmla="*/ 1320097 h 3763984"/>
                          <a:gd name="connsiteX38" fmla="*/ 222039 w 4735194"/>
                          <a:gd name="connsiteY38" fmla="*/ 1852977 h 3763984"/>
                          <a:gd name="connsiteX39" fmla="*/ 1156677 w 4735194"/>
                          <a:gd name="connsiteY39" fmla="*/ 2331562 h 3763984"/>
                          <a:gd name="connsiteX40" fmla="*/ 1278610 w 4735194"/>
                          <a:gd name="connsiteY40" fmla="*/ 2331562 h 3763984"/>
                          <a:gd name="connsiteX41" fmla="*/ 2198210 w 4735194"/>
                          <a:gd name="connsiteY41" fmla="*/ 1860677 h 3763984"/>
                          <a:gd name="connsiteX42" fmla="*/ 2183978 w 4735194"/>
                          <a:gd name="connsiteY42" fmla="*/ 1852513 h 3763984"/>
                          <a:gd name="connsiteX43" fmla="*/ 1241433 w 4735194"/>
                          <a:gd name="connsiteY43" fmla="*/ 1320097 h 3763984"/>
                          <a:gd name="connsiteX44" fmla="*/ 1229420 w 4735194"/>
                          <a:gd name="connsiteY44" fmla="*/ 0 h 3763984"/>
                          <a:gd name="connsiteX45" fmla="*/ 2330596 w 4735194"/>
                          <a:gd name="connsiteY45" fmla="*/ 564091 h 3763984"/>
                          <a:gd name="connsiteX46" fmla="*/ 2312257 w 4735194"/>
                          <a:gd name="connsiteY46" fmla="*/ 1723100 h 3763984"/>
                          <a:gd name="connsiteX47" fmla="*/ 2369072 w 4735194"/>
                          <a:gd name="connsiteY47" fmla="*/ 1784183 h 3763984"/>
                          <a:gd name="connsiteX48" fmla="*/ 2430448 w 4735194"/>
                          <a:gd name="connsiteY48" fmla="*/ 1723234 h 3763984"/>
                          <a:gd name="connsiteX49" fmla="*/ 2429261 w 4735194"/>
                          <a:gd name="connsiteY49" fmla="*/ 559685 h 3763984"/>
                          <a:gd name="connsiteX50" fmla="*/ 3563998 w 4735194"/>
                          <a:gd name="connsiteY50" fmla="*/ 0 h 3763984"/>
                          <a:gd name="connsiteX51" fmla="*/ 3563653 w 4735194"/>
                          <a:gd name="connsiteY51" fmla="*/ 1175497 h 3763984"/>
                          <a:gd name="connsiteX52" fmla="*/ 4600389 w 4735194"/>
                          <a:gd name="connsiteY52" fmla="*/ 1766603 h 3763984"/>
                          <a:gd name="connsiteX53" fmla="*/ 4649951 w 4735194"/>
                          <a:gd name="connsiteY53" fmla="*/ 1795318 h 3763984"/>
                          <a:gd name="connsiteX54" fmla="*/ 4651097 w 4735194"/>
                          <a:gd name="connsiteY54" fmla="*/ 1794731 h 3763984"/>
                          <a:gd name="connsiteX55" fmla="*/ 4652008 w 4735194"/>
                          <a:gd name="connsiteY55" fmla="*/ 1796510 h 3763984"/>
                          <a:gd name="connsiteX56" fmla="*/ 4730218 w 4735194"/>
                          <a:gd name="connsiteY56" fmla="*/ 1841823 h 3763984"/>
                          <a:gd name="connsiteX57" fmla="*/ 4730218 w 4735194"/>
                          <a:gd name="connsiteY57" fmla="*/ 3184848 h 3763984"/>
                          <a:gd name="connsiteX58" fmla="*/ 3720568 w 4735194"/>
                          <a:gd name="connsiteY58" fmla="*/ 3746822 h 3763984"/>
                          <a:gd name="connsiteX59" fmla="*/ 3416519 w 4735194"/>
                          <a:gd name="connsiteY59" fmla="*/ 3727773 h 3763984"/>
                          <a:gd name="connsiteX60" fmla="*/ 2376040 w 4735194"/>
                          <a:gd name="connsiteY60" fmla="*/ 3201590 h 3763984"/>
                          <a:gd name="connsiteX61" fmla="*/ 1396468 w 4735194"/>
                          <a:gd name="connsiteY61" fmla="*/ 3746822 h 3763984"/>
                          <a:gd name="connsiteX62" fmla="*/ 1092419 w 4735194"/>
                          <a:gd name="connsiteY62" fmla="*/ 3727773 h 3763984"/>
                          <a:gd name="connsiteX63" fmla="*/ 0 w 4735194"/>
                          <a:gd name="connsiteY63" fmla="*/ 3175323 h 3763984"/>
                          <a:gd name="connsiteX64" fmla="*/ 0 w 4735194"/>
                          <a:gd name="connsiteY64" fmla="*/ 1835355 h 3763984"/>
                          <a:gd name="connsiteX65" fmla="*/ 1227656 w 4735194"/>
                          <a:gd name="connsiteY65" fmla="*/ 1183021 h 3763984"/>
                          <a:gd name="connsiteX66" fmla="*/ 1229420 w 4735194"/>
                          <a:gd name="connsiteY66" fmla="*/ 0 h 3763984"/>
                          <a:gd name="connsiteX0" fmla="*/ 4622659 w 4735194"/>
                          <a:gd name="connsiteY0" fmla="*/ 1918241 h 3763984"/>
                          <a:gd name="connsiteX1" fmla="*/ 3641193 w 4735194"/>
                          <a:gd name="connsiteY1" fmla="*/ 2420805 h 3763984"/>
                          <a:gd name="connsiteX2" fmla="*/ 3641193 w 4735194"/>
                          <a:gd name="connsiteY2" fmla="*/ 3662799 h 3763984"/>
                          <a:gd name="connsiteX3" fmla="*/ 3642917 w 4735194"/>
                          <a:gd name="connsiteY3" fmla="*/ 3662622 h 3763984"/>
                          <a:gd name="connsiteX4" fmla="*/ 3704108 w 4735194"/>
                          <a:gd name="connsiteY4" fmla="*/ 3644096 h 3763984"/>
                          <a:gd name="connsiteX5" fmla="*/ 4626714 w 4735194"/>
                          <a:gd name="connsiteY5" fmla="*/ 3135656 h 3763984"/>
                          <a:gd name="connsiteX6" fmla="*/ 4626714 w 4735194"/>
                          <a:gd name="connsiteY6" fmla="*/ 1920567 h 3763984"/>
                          <a:gd name="connsiteX7" fmla="*/ 4622659 w 4735194"/>
                          <a:gd name="connsiteY7" fmla="*/ 1918241 h 3763984"/>
                          <a:gd name="connsiteX8" fmla="*/ 2298559 w 4735194"/>
                          <a:gd name="connsiteY8" fmla="*/ 1918241 h 3763984"/>
                          <a:gd name="connsiteX9" fmla="*/ 1317093 w 4735194"/>
                          <a:gd name="connsiteY9" fmla="*/ 2420805 h 3763984"/>
                          <a:gd name="connsiteX10" fmla="*/ 1317093 w 4735194"/>
                          <a:gd name="connsiteY10" fmla="*/ 3662799 h 3763984"/>
                          <a:gd name="connsiteX11" fmla="*/ 1318817 w 4735194"/>
                          <a:gd name="connsiteY11" fmla="*/ 3662622 h 3763984"/>
                          <a:gd name="connsiteX12" fmla="*/ 1380008 w 4735194"/>
                          <a:gd name="connsiteY12" fmla="*/ 3644096 h 3763984"/>
                          <a:gd name="connsiteX13" fmla="*/ 2302614 w 4735194"/>
                          <a:gd name="connsiteY13" fmla="*/ 3135656 h 3763984"/>
                          <a:gd name="connsiteX14" fmla="*/ 2302614 w 4735194"/>
                          <a:gd name="connsiteY14" fmla="*/ 1920567 h 3763984"/>
                          <a:gd name="connsiteX15" fmla="*/ 2298559 w 4735194"/>
                          <a:gd name="connsiteY15" fmla="*/ 1918241 h 3763984"/>
                          <a:gd name="connsiteX16" fmla="*/ 2440853 w 4735194"/>
                          <a:gd name="connsiteY16" fmla="*/ 1908014 h 3763984"/>
                          <a:gd name="connsiteX17" fmla="*/ 2428033 w 4735194"/>
                          <a:gd name="connsiteY17" fmla="*/ 1914715 h 3763984"/>
                          <a:gd name="connsiteX18" fmla="*/ 2428033 w 4735194"/>
                          <a:gd name="connsiteY18" fmla="*/ 3127038 h 3763984"/>
                          <a:gd name="connsiteX19" fmla="*/ 3426272 w 4735194"/>
                          <a:gd name="connsiteY19" fmla="*/ 3626862 h 3763984"/>
                          <a:gd name="connsiteX20" fmla="*/ 3450692 w 4735194"/>
                          <a:gd name="connsiteY20" fmla="*/ 3636317 h 3763984"/>
                          <a:gd name="connsiteX21" fmla="*/ 3450692 w 4735194"/>
                          <a:gd name="connsiteY21" fmla="*/ 2425105 h 3763984"/>
                          <a:gd name="connsiteX22" fmla="*/ 2440853 w 4735194"/>
                          <a:gd name="connsiteY22" fmla="*/ 1908014 h 3763984"/>
                          <a:gd name="connsiteX23" fmla="*/ 116753 w 4735194"/>
                          <a:gd name="connsiteY23" fmla="*/ 1908014 h 3763984"/>
                          <a:gd name="connsiteX24" fmla="*/ 103933 w 4735194"/>
                          <a:gd name="connsiteY24" fmla="*/ 1914715 h 3763984"/>
                          <a:gd name="connsiteX25" fmla="*/ 103933 w 4735194"/>
                          <a:gd name="connsiteY25" fmla="*/ 3127038 h 3763984"/>
                          <a:gd name="connsiteX26" fmla="*/ 1102172 w 4735194"/>
                          <a:gd name="connsiteY26" fmla="*/ 3626862 h 3763984"/>
                          <a:gd name="connsiteX27" fmla="*/ 1126592 w 4735194"/>
                          <a:gd name="connsiteY27" fmla="*/ 3636317 h 3763984"/>
                          <a:gd name="connsiteX28" fmla="*/ 1126592 w 4735194"/>
                          <a:gd name="connsiteY28" fmla="*/ 2425105 h 3763984"/>
                          <a:gd name="connsiteX29" fmla="*/ 116753 w 4735194"/>
                          <a:gd name="connsiteY29" fmla="*/ 1908014 h 3763984"/>
                          <a:gd name="connsiteX30" fmla="*/ 3565533 w 4735194"/>
                          <a:gd name="connsiteY30" fmla="*/ 1320097 h 3763984"/>
                          <a:gd name="connsiteX31" fmla="*/ 2546139 w 4735194"/>
                          <a:gd name="connsiteY31" fmla="*/ 1852977 h 3763984"/>
                          <a:gd name="connsiteX32" fmla="*/ 3480777 w 4735194"/>
                          <a:gd name="connsiteY32" fmla="*/ 2331562 h 3763984"/>
                          <a:gd name="connsiteX33" fmla="*/ 3602710 w 4735194"/>
                          <a:gd name="connsiteY33" fmla="*/ 2331562 h 3763984"/>
                          <a:gd name="connsiteX34" fmla="*/ 4522310 w 4735194"/>
                          <a:gd name="connsiteY34" fmla="*/ 1860677 h 3763984"/>
                          <a:gd name="connsiteX35" fmla="*/ 4508078 w 4735194"/>
                          <a:gd name="connsiteY35" fmla="*/ 1852513 h 3763984"/>
                          <a:gd name="connsiteX36" fmla="*/ 3565533 w 4735194"/>
                          <a:gd name="connsiteY36" fmla="*/ 1320097 h 3763984"/>
                          <a:gd name="connsiteX37" fmla="*/ 1241433 w 4735194"/>
                          <a:gd name="connsiteY37" fmla="*/ 1320097 h 3763984"/>
                          <a:gd name="connsiteX38" fmla="*/ 222039 w 4735194"/>
                          <a:gd name="connsiteY38" fmla="*/ 1852977 h 3763984"/>
                          <a:gd name="connsiteX39" fmla="*/ 1156677 w 4735194"/>
                          <a:gd name="connsiteY39" fmla="*/ 2331562 h 3763984"/>
                          <a:gd name="connsiteX40" fmla="*/ 1278610 w 4735194"/>
                          <a:gd name="connsiteY40" fmla="*/ 2331562 h 3763984"/>
                          <a:gd name="connsiteX41" fmla="*/ 2198210 w 4735194"/>
                          <a:gd name="connsiteY41" fmla="*/ 1860677 h 3763984"/>
                          <a:gd name="connsiteX42" fmla="*/ 2183978 w 4735194"/>
                          <a:gd name="connsiteY42" fmla="*/ 1852513 h 3763984"/>
                          <a:gd name="connsiteX43" fmla="*/ 1241433 w 4735194"/>
                          <a:gd name="connsiteY43" fmla="*/ 1320097 h 3763984"/>
                          <a:gd name="connsiteX44" fmla="*/ 1229420 w 4735194"/>
                          <a:gd name="connsiteY44" fmla="*/ 0 h 3763984"/>
                          <a:gd name="connsiteX45" fmla="*/ 2330596 w 4735194"/>
                          <a:gd name="connsiteY45" fmla="*/ 564091 h 3763984"/>
                          <a:gd name="connsiteX46" fmla="*/ 2312257 w 4735194"/>
                          <a:gd name="connsiteY46" fmla="*/ 1723100 h 3763984"/>
                          <a:gd name="connsiteX47" fmla="*/ 2369072 w 4735194"/>
                          <a:gd name="connsiteY47" fmla="*/ 1784183 h 3763984"/>
                          <a:gd name="connsiteX48" fmla="*/ 2430448 w 4735194"/>
                          <a:gd name="connsiteY48" fmla="*/ 1723234 h 3763984"/>
                          <a:gd name="connsiteX49" fmla="*/ 2408194 w 4735194"/>
                          <a:gd name="connsiteY49" fmla="*/ 567585 h 3763984"/>
                          <a:gd name="connsiteX50" fmla="*/ 3563998 w 4735194"/>
                          <a:gd name="connsiteY50" fmla="*/ 0 h 3763984"/>
                          <a:gd name="connsiteX51" fmla="*/ 3563653 w 4735194"/>
                          <a:gd name="connsiteY51" fmla="*/ 1175497 h 3763984"/>
                          <a:gd name="connsiteX52" fmla="*/ 4600389 w 4735194"/>
                          <a:gd name="connsiteY52" fmla="*/ 1766603 h 3763984"/>
                          <a:gd name="connsiteX53" fmla="*/ 4649951 w 4735194"/>
                          <a:gd name="connsiteY53" fmla="*/ 1795318 h 3763984"/>
                          <a:gd name="connsiteX54" fmla="*/ 4651097 w 4735194"/>
                          <a:gd name="connsiteY54" fmla="*/ 1794731 h 3763984"/>
                          <a:gd name="connsiteX55" fmla="*/ 4652008 w 4735194"/>
                          <a:gd name="connsiteY55" fmla="*/ 1796510 h 3763984"/>
                          <a:gd name="connsiteX56" fmla="*/ 4730218 w 4735194"/>
                          <a:gd name="connsiteY56" fmla="*/ 1841823 h 3763984"/>
                          <a:gd name="connsiteX57" fmla="*/ 4730218 w 4735194"/>
                          <a:gd name="connsiteY57" fmla="*/ 3184848 h 3763984"/>
                          <a:gd name="connsiteX58" fmla="*/ 3720568 w 4735194"/>
                          <a:gd name="connsiteY58" fmla="*/ 3746822 h 3763984"/>
                          <a:gd name="connsiteX59" fmla="*/ 3416519 w 4735194"/>
                          <a:gd name="connsiteY59" fmla="*/ 3727773 h 3763984"/>
                          <a:gd name="connsiteX60" fmla="*/ 2376040 w 4735194"/>
                          <a:gd name="connsiteY60" fmla="*/ 3201590 h 3763984"/>
                          <a:gd name="connsiteX61" fmla="*/ 1396468 w 4735194"/>
                          <a:gd name="connsiteY61" fmla="*/ 3746822 h 3763984"/>
                          <a:gd name="connsiteX62" fmla="*/ 1092419 w 4735194"/>
                          <a:gd name="connsiteY62" fmla="*/ 3727773 h 3763984"/>
                          <a:gd name="connsiteX63" fmla="*/ 0 w 4735194"/>
                          <a:gd name="connsiteY63" fmla="*/ 3175323 h 3763984"/>
                          <a:gd name="connsiteX64" fmla="*/ 0 w 4735194"/>
                          <a:gd name="connsiteY64" fmla="*/ 1835355 h 3763984"/>
                          <a:gd name="connsiteX65" fmla="*/ 1227656 w 4735194"/>
                          <a:gd name="connsiteY65" fmla="*/ 1183021 h 3763984"/>
                          <a:gd name="connsiteX66" fmla="*/ 1229420 w 4735194"/>
                          <a:gd name="connsiteY66" fmla="*/ 0 h 3763984"/>
                          <a:gd name="connsiteX0" fmla="*/ 4622659 w 4735194"/>
                          <a:gd name="connsiteY0" fmla="*/ 1918241 h 3763984"/>
                          <a:gd name="connsiteX1" fmla="*/ 3641193 w 4735194"/>
                          <a:gd name="connsiteY1" fmla="*/ 2420805 h 3763984"/>
                          <a:gd name="connsiteX2" fmla="*/ 3641193 w 4735194"/>
                          <a:gd name="connsiteY2" fmla="*/ 3662799 h 3763984"/>
                          <a:gd name="connsiteX3" fmla="*/ 3642917 w 4735194"/>
                          <a:gd name="connsiteY3" fmla="*/ 3662622 h 3763984"/>
                          <a:gd name="connsiteX4" fmla="*/ 3704108 w 4735194"/>
                          <a:gd name="connsiteY4" fmla="*/ 3644096 h 3763984"/>
                          <a:gd name="connsiteX5" fmla="*/ 4626714 w 4735194"/>
                          <a:gd name="connsiteY5" fmla="*/ 3135656 h 3763984"/>
                          <a:gd name="connsiteX6" fmla="*/ 4626714 w 4735194"/>
                          <a:gd name="connsiteY6" fmla="*/ 1920567 h 3763984"/>
                          <a:gd name="connsiteX7" fmla="*/ 4622659 w 4735194"/>
                          <a:gd name="connsiteY7" fmla="*/ 1918241 h 3763984"/>
                          <a:gd name="connsiteX8" fmla="*/ 2298559 w 4735194"/>
                          <a:gd name="connsiteY8" fmla="*/ 1918241 h 3763984"/>
                          <a:gd name="connsiteX9" fmla="*/ 1317093 w 4735194"/>
                          <a:gd name="connsiteY9" fmla="*/ 2420805 h 3763984"/>
                          <a:gd name="connsiteX10" fmla="*/ 1317093 w 4735194"/>
                          <a:gd name="connsiteY10" fmla="*/ 3662799 h 3763984"/>
                          <a:gd name="connsiteX11" fmla="*/ 1318817 w 4735194"/>
                          <a:gd name="connsiteY11" fmla="*/ 3662622 h 3763984"/>
                          <a:gd name="connsiteX12" fmla="*/ 1380008 w 4735194"/>
                          <a:gd name="connsiteY12" fmla="*/ 3644096 h 3763984"/>
                          <a:gd name="connsiteX13" fmla="*/ 2302614 w 4735194"/>
                          <a:gd name="connsiteY13" fmla="*/ 3135656 h 3763984"/>
                          <a:gd name="connsiteX14" fmla="*/ 2302614 w 4735194"/>
                          <a:gd name="connsiteY14" fmla="*/ 1920567 h 3763984"/>
                          <a:gd name="connsiteX15" fmla="*/ 2298559 w 4735194"/>
                          <a:gd name="connsiteY15" fmla="*/ 1918241 h 3763984"/>
                          <a:gd name="connsiteX16" fmla="*/ 2440853 w 4735194"/>
                          <a:gd name="connsiteY16" fmla="*/ 1908014 h 3763984"/>
                          <a:gd name="connsiteX17" fmla="*/ 2428033 w 4735194"/>
                          <a:gd name="connsiteY17" fmla="*/ 1914715 h 3763984"/>
                          <a:gd name="connsiteX18" fmla="*/ 2428033 w 4735194"/>
                          <a:gd name="connsiteY18" fmla="*/ 3127038 h 3763984"/>
                          <a:gd name="connsiteX19" fmla="*/ 3426272 w 4735194"/>
                          <a:gd name="connsiteY19" fmla="*/ 3626862 h 3763984"/>
                          <a:gd name="connsiteX20" fmla="*/ 3450692 w 4735194"/>
                          <a:gd name="connsiteY20" fmla="*/ 3636317 h 3763984"/>
                          <a:gd name="connsiteX21" fmla="*/ 3450692 w 4735194"/>
                          <a:gd name="connsiteY21" fmla="*/ 2425105 h 3763984"/>
                          <a:gd name="connsiteX22" fmla="*/ 2440853 w 4735194"/>
                          <a:gd name="connsiteY22" fmla="*/ 1908014 h 3763984"/>
                          <a:gd name="connsiteX23" fmla="*/ 116753 w 4735194"/>
                          <a:gd name="connsiteY23" fmla="*/ 1908014 h 3763984"/>
                          <a:gd name="connsiteX24" fmla="*/ 103933 w 4735194"/>
                          <a:gd name="connsiteY24" fmla="*/ 1914715 h 3763984"/>
                          <a:gd name="connsiteX25" fmla="*/ 103933 w 4735194"/>
                          <a:gd name="connsiteY25" fmla="*/ 3127038 h 3763984"/>
                          <a:gd name="connsiteX26" fmla="*/ 1102172 w 4735194"/>
                          <a:gd name="connsiteY26" fmla="*/ 3626862 h 3763984"/>
                          <a:gd name="connsiteX27" fmla="*/ 1126592 w 4735194"/>
                          <a:gd name="connsiteY27" fmla="*/ 3636317 h 3763984"/>
                          <a:gd name="connsiteX28" fmla="*/ 1126592 w 4735194"/>
                          <a:gd name="connsiteY28" fmla="*/ 2425105 h 3763984"/>
                          <a:gd name="connsiteX29" fmla="*/ 116753 w 4735194"/>
                          <a:gd name="connsiteY29" fmla="*/ 1908014 h 3763984"/>
                          <a:gd name="connsiteX30" fmla="*/ 3565533 w 4735194"/>
                          <a:gd name="connsiteY30" fmla="*/ 1320097 h 3763984"/>
                          <a:gd name="connsiteX31" fmla="*/ 2546139 w 4735194"/>
                          <a:gd name="connsiteY31" fmla="*/ 1852977 h 3763984"/>
                          <a:gd name="connsiteX32" fmla="*/ 3480777 w 4735194"/>
                          <a:gd name="connsiteY32" fmla="*/ 2331562 h 3763984"/>
                          <a:gd name="connsiteX33" fmla="*/ 3602710 w 4735194"/>
                          <a:gd name="connsiteY33" fmla="*/ 2331562 h 3763984"/>
                          <a:gd name="connsiteX34" fmla="*/ 4522310 w 4735194"/>
                          <a:gd name="connsiteY34" fmla="*/ 1860677 h 3763984"/>
                          <a:gd name="connsiteX35" fmla="*/ 4508078 w 4735194"/>
                          <a:gd name="connsiteY35" fmla="*/ 1852513 h 3763984"/>
                          <a:gd name="connsiteX36" fmla="*/ 3565533 w 4735194"/>
                          <a:gd name="connsiteY36" fmla="*/ 1320097 h 3763984"/>
                          <a:gd name="connsiteX37" fmla="*/ 1241433 w 4735194"/>
                          <a:gd name="connsiteY37" fmla="*/ 1320097 h 3763984"/>
                          <a:gd name="connsiteX38" fmla="*/ 222039 w 4735194"/>
                          <a:gd name="connsiteY38" fmla="*/ 1852977 h 3763984"/>
                          <a:gd name="connsiteX39" fmla="*/ 1156677 w 4735194"/>
                          <a:gd name="connsiteY39" fmla="*/ 2331562 h 3763984"/>
                          <a:gd name="connsiteX40" fmla="*/ 1278610 w 4735194"/>
                          <a:gd name="connsiteY40" fmla="*/ 2331562 h 3763984"/>
                          <a:gd name="connsiteX41" fmla="*/ 2198210 w 4735194"/>
                          <a:gd name="connsiteY41" fmla="*/ 1860677 h 3763984"/>
                          <a:gd name="connsiteX42" fmla="*/ 2183978 w 4735194"/>
                          <a:gd name="connsiteY42" fmla="*/ 1852513 h 3763984"/>
                          <a:gd name="connsiteX43" fmla="*/ 1241433 w 4735194"/>
                          <a:gd name="connsiteY43" fmla="*/ 1320097 h 3763984"/>
                          <a:gd name="connsiteX44" fmla="*/ 1229420 w 4735194"/>
                          <a:gd name="connsiteY44" fmla="*/ 0 h 3763984"/>
                          <a:gd name="connsiteX45" fmla="*/ 2330596 w 4735194"/>
                          <a:gd name="connsiteY45" fmla="*/ 564091 h 3763984"/>
                          <a:gd name="connsiteX46" fmla="*/ 2312257 w 4735194"/>
                          <a:gd name="connsiteY46" fmla="*/ 1723100 h 3763984"/>
                          <a:gd name="connsiteX47" fmla="*/ 2369072 w 4735194"/>
                          <a:gd name="connsiteY47" fmla="*/ 1784183 h 3763984"/>
                          <a:gd name="connsiteX48" fmla="*/ 2430448 w 4735194"/>
                          <a:gd name="connsiteY48" fmla="*/ 1723234 h 3763984"/>
                          <a:gd name="connsiteX49" fmla="*/ 2408194 w 4735194"/>
                          <a:gd name="connsiteY49" fmla="*/ 564952 h 3763984"/>
                          <a:gd name="connsiteX50" fmla="*/ 3563998 w 4735194"/>
                          <a:gd name="connsiteY50" fmla="*/ 0 h 3763984"/>
                          <a:gd name="connsiteX51" fmla="*/ 3563653 w 4735194"/>
                          <a:gd name="connsiteY51" fmla="*/ 1175497 h 3763984"/>
                          <a:gd name="connsiteX52" fmla="*/ 4600389 w 4735194"/>
                          <a:gd name="connsiteY52" fmla="*/ 1766603 h 3763984"/>
                          <a:gd name="connsiteX53" fmla="*/ 4649951 w 4735194"/>
                          <a:gd name="connsiteY53" fmla="*/ 1795318 h 3763984"/>
                          <a:gd name="connsiteX54" fmla="*/ 4651097 w 4735194"/>
                          <a:gd name="connsiteY54" fmla="*/ 1794731 h 3763984"/>
                          <a:gd name="connsiteX55" fmla="*/ 4652008 w 4735194"/>
                          <a:gd name="connsiteY55" fmla="*/ 1796510 h 3763984"/>
                          <a:gd name="connsiteX56" fmla="*/ 4730218 w 4735194"/>
                          <a:gd name="connsiteY56" fmla="*/ 1841823 h 3763984"/>
                          <a:gd name="connsiteX57" fmla="*/ 4730218 w 4735194"/>
                          <a:gd name="connsiteY57" fmla="*/ 3184848 h 3763984"/>
                          <a:gd name="connsiteX58" fmla="*/ 3720568 w 4735194"/>
                          <a:gd name="connsiteY58" fmla="*/ 3746822 h 3763984"/>
                          <a:gd name="connsiteX59" fmla="*/ 3416519 w 4735194"/>
                          <a:gd name="connsiteY59" fmla="*/ 3727773 h 3763984"/>
                          <a:gd name="connsiteX60" fmla="*/ 2376040 w 4735194"/>
                          <a:gd name="connsiteY60" fmla="*/ 3201590 h 3763984"/>
                          <a:gd name="connsiteX61" fmla="*/ 1396468 w 4735194"/>
                          <a:gd name="connsiteY61" fmla="*/ 3746822 h 3763984"/>
                          <a:gd name="connsiteX62" fmla="*/ 1092419 w 4735194"/>
                          <a:gd name="connsiteY62" fmla="*/ 3727773 h 3763984"/>
                          <a:gd name="connsiteX63" fmla="*/ 0 w 4735194"/>
                          <a:gd name="connsiteY63" fmla="*/ 3175323 h 3763984"/>
                          <a:gd name="connsiteX64" fmla="*/ 0 w 4735194"/>
                          <a:gd name="connsiteY64" fmla="*/ 1835355 h 3763984"/>
                          <a:gd name="connsiteX65" fmla="*/ 1227656 w 4735194"/>
                          <a:gd name="connsiteY65" fmla="*/ 1183021 h 3763984"/>
                          <a:gd name="connsiteX66" fmla="*/ 1229420 w 4735194"/>
                          <a:gd name="connsiteY66" fmla="*/ 0 h 3763984"/>
                          <a:gd name="connsiteX0" fmla="*/ 4622659 w 4735194"/>
                          <a:gd name="connsiteY0" fmla="*/ 1918241 h 3763984"/>
                          <a:gd name="connsiteX1" fmla="*/ 3641193 w 4735194"/>
                          <a:gd name="connsiteY1" fmla="*/ 2420805 h 3763984"/>
                          <a:gd name="connsiteX2" fmla="*/ 3641193 w 4735194"/>
                          <a:gd name="connsiteY2" fmla="*/ 3662799 h 3763984"/>
                          <a:gd name="connsiteX3" fmla="*/ 3642917 w 4735194"/>
                          <a:gd name="connsiteY3" fmla="*/ 3662622 h 3763984"/>
                          <a:gd name="connsiteX4" fmla="*/ 3704108 w 4735194"/>
                          <a:gd name="connsiteY4" fmla="*/ 3644096 h 3763984"/>
                          <a:gd name="connsiteX5" fmla="*/ 4626714 w 4735194"/>
                          <a:gd name="connsiteY5" fmla="*/ 3135656 h 3763984"/>
                          <a:gd name="connsiteX6" fmla="*/ 4626714 w 4735194"/>
                          <a:gd name="connsiteY6" fmla="*/ 1920567 h 3763984"/>
                          <a:gd name="connsiteX7" fmla="*/ 4622659 w 4735194"/>
                          <a:gd name="connsiteY7" fmla="*/ 1918241 h 3763984"/>
                          <a:gd name="connsiteX8" fmla="*/ 2298559 w 4735194"/>
                          <a:gd name="connsiteY8" fmla="*/ 1918241 h 3763984"/>
                          <a:gd name="connsiteX9" fmla="*/ 1317093 w 4735194"/>
                          <a:gd name="connsiteY9" fmla="*/ 2420805 h 3763984"/>
                          <a:gd name="connsiteX10" fmla="*/ 1317093 w 4735194"/>
                          <a:gd name="connsiteY10" fmla="*/ 3662799 h 3763984"/>
                          <a:gd name="connsiteX11" fmla="*/ 1318817 w 4735194"/>
                          <a:gd name="connsiteY11" fmla="*/ 3662622 h 3763984"/>
                          <a:gd name="connsiteX12" fmla="*/ 1380008 w 4735194"/>
                          <a:gd name="connsiteY12" fmla="*/ 3644096 h 3763984"/>
                          <a:gd name="connsiteX13" fmla="*/ 2302614 w 4735194"/>
                          <a:gd name="connsiteY13" fmla="*/ 3135656 h 3763984"/>
                          <a:gd name="connsiteX14" fmla="*/ 2302614 w 4735194"/>
                          <a:gd name="connsiteY14" fmla="*/ 1920567 h 3763984"/>
                          <a:gd name="connsiteX15" fmla="*/ 2298559 w 4735194"/>
                          <a:gd name="connsiteY15" fmla="*/ 1918241 h 3763984"/>
                          <a:gd name="connsiteX16" fmla="*/ 2440853 w 4735194"/>
                          <a:gd name="connsiteY16" fmla="*/ 1908014 h 3763984"/>
                          <a:gd name="connsiteX17" fmla="*/ 2428033 w 4735194"/>
                          <a:gd name="connsiteY17" fmla="*/ 1914715 h 3763984"/>
                          <a:gd name="connsiteX18" fmla="*/ 2428033 w 4735194"/>
                          <a:gd name="connsiteY18" fmla="*/ 3127038 h 3763984"/>
                          <a:gd name="connsiteX19" fmla="*/ 3426272 w 4735194"/>
                          <a:gd name="connsiteY19" fmla="*/ 3626862 h 3763984"/>
                          <a:gd name="connsiteX20" fmla="*/ 3450692 w 4735194"/>
                          <a:gd name="connsiteY20" fmla="*/ 3636317 h 3763984"/>
                          <a:gd name="connsiteX21" fmla="*/ 3450692 w 4735194"/>
                          <a:gd name="connsiteY21" fmla="*/ 2425105 h 3763984"/>
                          <a:gd name="connsiteX22" fmla="*/ 2440853 w 4735194"/>
                          <a:gd name="connsiteY22" fmla="*/ 1908014 h 3763984"/>
                          <a:gd name="connsiteX23" fmla="*/ 116753 w 4735194"/>
                          <a:gd name="connsiteY23" fmla="*/ 1908014 h 3763984"/>
                          <a:gd name="connsiteX24" fmla="*/ 103933 w 4735194"/>
                          <a:gd name="connsiteY24" fmla="*/ 1914715 h 3763984"/>
                          <a:gd name="connsiteX25" fmla="*/ 103933 w 4735194"/>
                          <a:gd name="connsiteY25" fmla="*/ 3127038 h 3763984"/>
                          <a:gd name="connsiteX26" fmla="*/ 1102172 w 4735194"/>
                          <a:gd name="connsiteY26" fmla="*/ 3626862 h 3763984"/>
                          <a:gd name="connsiteX27" fmla="*/ 1126592 w 4735194"/>
                          <a:gd name="connsiteY27" fmla="*/ 3636317 h 3763984"/>
                          <a:gd name="connsiteX28" fmla="*/ 1126592 w 4735194"/>
                          <a:gd name="connsiteY28" fmla="*/ 2425105 h 3763984"/>
                          <a:gd name="connsiteX29" fmla="*/ 116753 w 4735194"/>
                          <a:gd name="connsiteY29" fmla="*/ 1908014 h 3763984"/>
                          <a:gd name="connsiteX30" fmla="*/ 3565533 w 4735194"/>
                          <a:gd name="connsiteY30" fmla="*/ 1320097 h 3763984"/>
                          <a:gd name="connsiteX31" fmla="*/ 2546139 w 4735194"/>
                          <a:gd name="connsiteY31" fmla="*/ 1852977 h 3763984"/>
                          <a:gd name="connsiteX32" fmla="*/ 3480777 w 4735194"/>
                          <a:gd name="connsiteY32" fmla="*/ 2331562 h 3763984"/>
                          <a:gd name="connsiteX33" fmla="*/ 3602710 w 4735194"/>
                          <a:gd name="connsiteY33" fmla="*/ 2331562 h 3763984"/>
                          <a:gd name="connsiteX34" fmla="*/ 4522310 w 4735194"/>
                          <a:gd name="connsiteY34" fmla="*/ 1860677 h 3763984"/>
                          <a:gd name="connsiteX35" fmla="*/ 4508078 w 4735194"/>
                          <a:gd name="connsiteY35" fmla="*/ 1852513 h 3763984"/>
                          <a:gd name="connsiteX36" fmla="*/ 3565533 w 4735194"/>
                          <a:gd name="connsiteY36" fmla="*/ 1320097 h 3763984"/>
                          <a:gd name="connsiteX37" fmla="*/ 1241433 w 4735194"/>
                          <a:gd name="connsiteY37" fmla="*/ 1320097 h 3763984"/>
                          <a:gd name="connsiteX38" fmla="*/ 222039 w 4735194"/>
                          <a:gd name="connsiteY38" fmla="*/ 1852977 h 3763984"/>
                          <a:gd name="connsiteX39" fmla="*/ 1156677 w 4735194"/>
                          <a:gd name="connsiteY39" fmla="*/ 2331562 h 3763984"/>
                          <a:gd name="connsiteX40" fmla="*/ 1278610 w 4735194"/>
                          <a:gd name="connsiteY40" fmla="*/ 2331562 h 3763984"/>
                          <a:gd name="connsiteX41" fmla="*/ 2198210 w 4735194"/>
                          <a:gd name="connsiteY41" fmla="*/ 1860677 h 3763984"/>
                          <a:gd name="connsiteX42" fmla="*/ 2183978 w 4735194"/>
                          <a:gd name="connsiteY42" fmla="*/ 1852513 h 3763984"/>
                          <a:gd name="connsiteX43" fmla="*/ 1241433 w 4735194"/>
                          <a:gd name="connsiteY43" fmla="*/ 1320097 h 3763984"/>
                          <a:gd name="connsiteX44" fmla="*/ 1229420 w 4735194"/>
                          <a:gd name="connsiteY44" fmla="*/ 0 h 3763984"/>
                          <a:gd name="connsiteX45" fmla="*/ 2330596 w 4735194"/>
                          <a:gd name="connsiteY45" fmla="*/ 564091 h 3763984"/>
                          <a:gd name="connsiteX46" fmla="*/ 2322791 w 4735194"/>
                          <a:gd name="connsiteY46" fmla="*/ 1723100 h 3763984"/>
                          <a:gd name="connsiteX47" fmla="*/ 2369072 w 4735194"/>
                          <a:gd name="connsiteY47" fmla="*/ 1784183 h 3763984"/>
                          <a:gd name="connsiteX48" fmla="*/ 2430448 w 4735194"/>
                          <a:gd name="connsiteY48" fmla="*/ 1723234 h 3763984"/>
                          <a:gd name="connsiteX49" fmla="*/ 2408194 w 4735194"/>
                          <a:gd name="connsiteY49" fmla="*/ 564952 h 3763984"/>
                          <a:gd name="connsiteX50" fmla="*/ 3563998 w 4735194"/>
                          <a:gd name="connsiteY50" fmla="*/ 0 h 3763984"/>
                          <a:gd name="connsiteX51" fmla="*/ 3563653 w 4735194"/>
                          <a:gd name="connsiteY51" fmla="*/ 1175497 h 3763984"/>
                          <a:gd name="connsiteX52" fmla="*/ 4600389 w 4735194"/>
                          <a:gd name="connsiteY52" fmla="*/ 1766603 h 3763984"/>
                          <a:gd name="connsiteX53" fmla="*/ 4649951 w 4735194"/>
                          <a:gd name="connsiteY53" fmla="*/ 1795318 h 3763984"/>
                          <a:gd name="connsiteX54" fmla="*/ 4651097 w 4735194"/>
                          <a:gd name="connsiteY54" fmla="*/ 1794731 h 3763984"/>
                          <a:gd name="connsiteX55" fmla="*/ 4652008 w 4735194"/>
                          <a:gd name="connsiteY55" fmla="*/ 1796510 h 3763984"/>
                          <a:gd name="connsiteX56" fmla="*/ 4730218 w 4735194"/>
                          <a:gd name="connsiteY56" fmla="*/ 1841823 h 3763984"/>
                          <a:gd name="connsiteX57" fmla="*/ 4730218 w 4735194"/>
                          <a:gd name="connsiteY57" fmla="*/ 3184848 h 3763984"/>
                          <a:gd name="connsiteX58" fmla="*/ 3720568 w 4735194"/>
                          <a:gd name="connsiteY58" fmla="*/ 3746822 h 3763984"/>
                          <a:gd name="connsiteX59" fmla="*/ 3416519 w 4735194"/>
                          <a:gd name="connsiteY59" fmla="*/ 3727773 h 3763984"/>
                          <a:gd name="connsiteX60" fmla="*/ 2376040 w 4735194"/>
                          <a:gd name="connsiteY60" fmla="*/ 3201590 h 3763984"/>
                          <a:gd name="connsiteX61" fmla="*/ 1396468 w 4735194"/>
                          <a:gd name="connsiteY61" fmla="*/ 3746822 h 3763984"/>
                          <a:gd name="connsiteX62" fmla="*/ 1092419 w 4735194"/>
                          <a:gd name="connsiteY62" fmla="*/ 3727773 h 3763984"/>
                          <a:gd name="connsiteX63" fmla="*/ 0 w 4735194"/>
                          <a:gd name="connsiteY63" fmla="*/ 3175323 h 3763984"/>
                          <a:gd name="connsiteX64" fmla="*/ 0 w 4735194"/>
                          <a:gd name="connsiteY64" fmla="*/ 1835355 h 3763984"/>
                          <a:gd name="connsiteX65" fmla="*/ 1227656 w 4735194"/>
                          <a:gd name="connsiteY65" fmla="*/ 1183021 h 3763984"/>
                          <a:gd name="connsiteX66" fmla="*/ 1229420 w 4735194"/>
                          <a:gd name="connsiteY66" fmla="*/ 0 h 3763984"/>
                          <a:gd name="connsiteX0" fmla="*/ 4622659 w 4735194"/>
                          <a:gd name="connsiteY0" fmla="*/ 1918241 h 3763984"/>
                          <a:gd name="connsiteX1" fmla="*/ 3641193 w 4735194"/>
                          <a:gd name="connsiteY1" fmla="*/ 2420805 h 3763984"/>
                          <a:gd name="connsiteX2" fmla="*/ 3641193 w 4735194"/>
                          <a:gd name="connsiteY2" fmla="*/ 3662799 h 3763984"/>
                          <a:gd name="connsiteX3" fmla="*/ 3642917 w 4735194"/>
                          <a:gd name="connsiteY3" fmla="*/ 3662622 h 3763984"/>
                          <a:gd name="connsiteX4" fmla="*/ 3704108 w 4735194"/>
                          <a:gd name="connsiteY4" fmla="*/ 3644096 h 3763984"/>
                          <a:gd name="connsiteX5" fmla="*/ 4626714 w 4735194"/>
                          <a:gd name="connsiteY5" fmla="*/ 3135656 h 3763984"/>
                          <a:gd name="connsiteX6" fmla="*/ 4626714 w 4735194"/>
                          <a:gd name="connsiteY6" fmla="*/ 1920567 h 3763984"/>
                          <a:gd name="connsiteX7" fmla="*/ 4622659 w 4735194"/>
                          <a:gd name="connsiteY7" fmla="*/ 1918241 h 3763984"/>
                          <a:gd name="connsiteX8" fmla="*/ 2298559 w 4735194"/>
                          <a:gd name="connsiteY8" fmla="*/ 1918241 h 3763984"/>
                          <a:gd name="connsiteX9" fmla="*/ 1317093 w 4735194"/>
                          <a:gd name="connsiteY9" fmla="*/ 2420805 h 3763984"/>
                          <a:gd name="connsiteX10" fmla="*/ 1317093 w 4735194"/>
                          <a:gd name="connsiteY10" fmla="*/ 3662799 h 3763984"/>
                          <a:gd name="connsiteX11" fmla="*/ 1318817 w 4735194"/>
                          <a:gd name="connsiteY11" fmla="*/ 3662622 h 3763984"/>
                          <a:gd name="connsiteX12" fmla="*/ 1380008 w 4735194"/>
                          <a:gd name="connsiteY12" fmla="*/ 3644096 h 3763984"/>
                          <a:gd name="connsiteX13" fmla="*/ 2302614 w 4735194"/>
                          <a:gd name="connsiteY13" fmla="*/ 3135656 h 3763984"/>
                          <a:gd name="connsiteX14" fmla="*/ 2302614 w 4735194"/>
                          <a:gd name="connsiteY14" fmla="*/ 1920567 h 3763984"/>
                          <a:gd name="connsiteX15" fmla="*/ 2298559 w 4735194"/>
                          <a:gd name="connsiteY15" fmla="*/ 1918241 h 3763984"/>
                          <a:gd name="connsiteX16" fmla="*/ 2440853 w 4735194"/>
                          <a:gd name="connsiteY16" fmla="*/ 1908014 h 3763984"/>
                          <a:gd name="connsiteX17" fmla="*/ 2428033 w 4735194"/>
                          <a:gd name="connsiteY17" fmla="*/ 1914715 h 3763984"/>
                          <a:gd name="connsiteX18" fmla="*/ 2428033 w 4735194"/>
                          <a:gd name="connsiteY18" fmla="*/ 3127038 h 3763984"/>
                          <a:gd name="connsiteX19" fmla="*/ 3426272 w 4735194"/>
                          <a:gd name="connsiteY19" fmla="*/ 3626862 h 3763984"/>
                          <a:gd name="connsiteX20" fmla="*/ 3450692 w 4735194"/>
                          <a:gd name="connsiteY20" fmla="*/ 3636317 h 3763984"/>
                          <a:gd name="connsiteX21" fmla="*/ 3450692 w 4735194"/>
                          <a:gd name="connsiteY21" fmla="*/ 2425105 h 3763984"/>
                          <a:gd name="connsiteX22" fmla="*/ 2440853 w 4735194"/>
                          <a:gd name="connsiteY22" fmla="*/ 1908014 h 3763984"/>
                          <a:gd name="connsiteX23" fmla="*/ 116753 w 4735194"/>
                          <a:gd name="connsiteY23" fmla="*/ 1908014 h 3763984"/>
                          <a:gd name="connsiteX24" fmla="*/ 103933 w 4735194"/>
                          <a:gd name="connsiteY24" fmla="*/ 1914715 h 3763984"/>
                          <a:gd name="connsiteX25" fmla="*/ 103933 w 4735194"/>
                          <a:gd name="connsiteY25" fmla="*/ 3127038 h 3763984"/>
                          <a:gd name="connsiteX26" fmla="*/ 1102172 w 4735194"/>
                          <a:gd name="connsiteY26" fmla="*/ 3626862 h 3763984"/>
                          <a:gd name="connsiteX27" fmla="*/ 1126592 w 4735194"/>
                          <a:gd name="connsiteY27" fmla="*/ 3636317 h 3763984"/>
                          <a:gd name="connsiteX28" fmla="*/ 1126592 w 4735194"/>
                          <a:gd name="connsiteY28" fmla="*/ 2425105 h 3763984"/>
                          <a:gd name="connsiteX29" fmla="*/ 116753 w 4735194"/>
                          <a:gd name="connsiteY29" fmla="*/ 1908014 h 3763984"/>
                          <a:gd name="connsiteX30" fmla="*/ 3565533 w 4735194"/>
                          <a:gd name="connsiteY30" fmla="*/ 1320097 h 3763984"/>
                          <a:gd name="connsiteX31" fmla="*/ 2546139 w 4735194"/>
                          <a:gd name="connsiteY31" fmla="*/ 1852977 h 3763984"/>
                          <a:gd name="connsiteX32" fmla="*/ 3480777 w 4735194"/>
                          <a:gd name="connsiteY32" fmla="*/ 2331562 h 3763984"/>
                          <a:gd name="connsiteX33" fmla="*/ 3602710 w 4735194"/>
                          <a:gd name="connsiteY33" fmla="*/ 2331562 h 3763984"/>
                          <a:gd name="connsiteX34" fmla="*/ 4522310 w 4735194"/>
                          <a:gd name="connsiteY34" fmla="*/ 1860677 h 3763984"/>
                          <a:gd name="connsiteX35" fmla="*/ 4508078 w 4735194"/>
                          <a:gd name="connsiteY35" fmla="*/ 1852513 h 3763984"/>
                          <a:gd name="connsiteX36" fmla="*/ 3565533 w 4735194"/>
                          <a:gd name="connsiteY36" fmla="*/ 1320097 h 3763984"/>
                          <a:gd name="connsiteX37" fmla="*/ 1241433 w 4735194"/>
                          <a:gd name="connsiteY37" fmla="*/ 1320097 h 3763984"/>
                          <a:gd name="connsiteX38" fmla="*/ 222039 w 4735194"/>
                          <a:gd name="connsiteY38" fmla="*/ 1852977 h 3763984"/>
                          <a:gd name="connsiteX39" fmla="*/ 1156677 w 4735194"/>
                          <a:gd name="connsiteY39" fmla="*/ 2331562 h 3763984"/>
                          <a:gd name="connsiteX40" fmla="*/ 1278610 w 4735194"/>
                          <a:gd name="connsiteY40" fmla="*/ 2331562 h 3763984"/>
                          <a:gd name="connsiteX41" fmla="*/ 2198210 w 4735194"/>
                          <a:gd name="connsiteY41" fmla="*/ 1860677 h 3763984"/>
                          <a:gd name="connsiteX42" fmla="*/ 2183978 w 4735194"/>
                          <a:gd name="connsiteY42" fmla="*/ 1852513 h 3763984"/>
                          <a:gd name="connsiteX43" fmla="*/ 1241433 w 4735194"/>
                          <a:gd name="connsiteY43" fmla="*/ 1320097 h 3763984"/>
                          <a:gd name="connsiteX44" fmla="*/ 1229420 w 4735194"/>
                          <a:gd name="connsiteY44" fmla="*/ 0 h 3763984"/>
                          <a:gd name="connsiteX45" fmla="*/ 2330596 w 4735194"/>
                          <a:gd name="connsiteY45" fmla="*/ 564091 h 3763984"/>
                          <a:gd name="connsiteX46" fmla="*/ 2330691 w 4735194"/>
                          <a:gd name="connsiteY46" fmla="*/ 1723100 h 3763984"/>
                          <a:gd name="connsiteX47" fmla="*/ 2369072 w 4735194"/>
                          <a:gd name="connsiteY47" fmla="*/ 1784183 h 3763984"/>
                          <a:gd name="connsiteX48" fmla="*/ 2430448 w 4735194"/>
                          <a:gd name="connsiteY48" fmla="*/ 1723234 h 3763984"/>
                          <a:gd name="connsiteX49" fmla="*/ 2408194 w 4735194"/>
                          <a:gd name="connsiteY49" fmla="*/ 564952 h 3763984"/>
                          <a:gd name="connsiteX50" fmla="*/ 3563998 w 4735194"/>
                          <a:gd name="connsiteY50" fmla="*/ 0 h 3763984"/>
                          <a:gd name="connsiteX51" fmla="*/ 3563653 w 4735194"/>
                          <a:gd name="connsiteY51" fmla="*/ 1175497 h 3763984"/>
                          <a:gd name="connsiteX52" fmla="*/ 4600389 w 4735194"/>
                          <a:gd name="connsiteY52" fmla="*/ 1766603 h 3763984"/>
                          <a:gd name="connsiteX53" fmla="*/ 4649951 w 4735194"/>
                          <a:gd name="connsiteY53" fmla="*/ 1795318 h 3763984"/>
                          <a:gd name="connsiteX54" fmla="*/ 4651097 w 4735194"/>
                          <a:gd name="connsiteY54" fmla="*/ 1794731 h 3763984"/>
                          <a:gd name="connsiteX55" fmla="*/ 4652008 w 4735194"/>
                          <a:gd name="connsiteY55" fmla="*/ 1796510 h 3763984"/>
                          <a:gd name="connsiteX56" fmla="*/ 4730218 w 4735194"/>
                          <a:gd name="connsiteY56" fmla="*/ 1841823 h 3763984"/>
                          <a:gd name="connsiteX57" fmla="*/ 4730218 w 4735194"/>
                          <a:gd name="connsiteY57" fmla="*/ 3184848 h 3763984"/>
                          <a:gd name="connsiteX58" fmla="*/ 3720568 w 4735194"/>
                          <a:gd name="connsiteY58" fmla="*/ 3746822 h 3763984"/>
                          <a:gd name="connsiteX59" fmla="*/ 3416519 w 4735194"/>
                          <a:gd name="connsiteY59" fmla="*/ 3727773 h 3763984"/>
                          <a:gd name="connsiteX60" fmla="*/ 2376040 w 4735194"/>
                          <a:gd name="connsiteY60" fmla="*/ 3201590 h 3763984"/>
                          <a:gd name="connsiteX61" fmla="*/ 1396468 w 4735194"/>
                          <a:gd name="connsiteY61" fmla="*/ 3746822 h 3763984"/>
                          <a:gd name="connsiteX62" fmla="*/ 1092419 w 4735194"/>
                          <a:gd name="connsiteY62" fmla="*/ 3727773 h 3763984"/>
                          <a:gd name="connsiteX63" fmla="*/ 0 w 4735194"/>
                          <a:gd name="connsiteY63" fmla="*/ 3175323 h 3763984"/>
                          <a:gd name="connsiteX64" fmla="*/ 0 w 4735194"/>
                          <a:gd name="connsiteY64" fmla="*/ 1835355 h 3763984"/>
                          <a:gd name="connsiteX65" fmla="*/ 1227656 w 4735194"/>
                          <a:gd name="connsiteY65" fmla="*/ 1183021 h 3763984"/>
                          <a:gd name="connsiteX66" fmla="*/ 1229420 w 4735194"/>
                          <a:gd name="connsiteY66" fmla="*/ 0 h 3763984"/>
                          <a:gd name="connsiteX0" fmla="*/ 4622659 w 4735194"/>
                          <a:gd name="connsiteY0" fmla="*/ 1918241 h 3763984"/>
                          <a:gd name="connsiteX1" fmla="*/ 3641193 w 4735194"/>
                          <a:gd name="connsiteY1" fmla="*/ 2420805 h 3763984"/>
                          <a:gd name="connsiteX2" fmla="*/ 3641193 w 4735194"/>
                          <a:gd name="connsiteY2" fmla="*/ 3662799 h 3763984"/>
                          <a:gd name="connsiteX3" fmla="*/ 3642917 w 4735194"/>
                          <a:gd name="connsiteY3" fmla="*/ 3662622 h 3763984"/>
                          <a:gd name="connsiteX4" fmla="*/ 3704108 w 4735194"/>
                          <a:gd name="connsiteY4" fmla="*/ 3644096 h 3763984"/>
                          <a:gd name="connsiteX5" fmla="*/ 4626714 w 4735194"/>
                          <a:gd name="connsiteY5" fmla="*/ 3135656 h 3763984"/>
                          <a:gd name="connsiteX6" fmla="*/ 4626714 w 4735194"/>
                          <a:gd name="connsiteY6" fmla="*/ 1920567 h 3763984"/>
                          <a:gd name="connsiteX7" fmla="*/ 4622659 w 4735194"/>
                          <a:gd name="connsiteY7" fmla="*/ 1918241 h 3763984"/>
                          <a:gd name="connsiteX8" fmla="*/ 2298559 w 4735194"/>
                          <a:gd name="connsiteY8" fmla="*/ 1918241 h 3763984"/>
                          <a:gd name="connsiteX9" fmla="*/ 1317093 w 4735194"/>
                          <a:gd name="connsiteY9" fmla="*/ 2420805 h 3763984"/>
                          <a:gd name="connsiteX10" fmla="*/ 1317093 w 4735194"/>
                          <a:gd name="connsiteY10" fmla="*/ 3662799 h 3763984"/>
                          <a:gd name="connsiteX11" fmla="*/ 1318817 w 4735194"/>
                          <a:gd name="connsiteY11" fmla="*/ 3662622 h 3763984"/>
                          <a:gd name="connsiteX12" fmla="*/ 1380008 w 4735194"/>
                          <a:gd name="connsiteY12" fmla="*/ 3644096 h 3763984"/>
                          <a:gd name="connsiteX13" fmla="*/ 2302614 w 4735194"/>
                          <a:gd name="connsiteY13" fmla="*/ 3135656 h 3763984"/>
                          <a:gd name="connsiteX14" fmla="*/ 2302614 w 4735194"/>
                          <a:gd name="connsiteY14" fmla="*/ 1920567 h 3763984"/>
                          <a:gd name="connsiteX15" fmla="*/ 2298559 w 4735194"/>
                          <a:gd name="connsiteY15" fmla="*/ 1918241 h 3763984"/>
                          <a:gd name="connsiteX16" fmla="*/ 2440853 w 4735194"/>
                          <a:gd name="connsiteY16" fmla="*/ 1908014 h 3763984"/>
                          <a:gd name="connsiteX17" fmla="*/ 2428033 w 4735194"/>
                          <a:gd name="connsiteY17" fmla="*/ 1914715 h 3763984"/>
                          <a:gd name="connsiteX18" fmla="*/ 2428033 w 4735194"/>
                          <a:gd name="connsiteY18" fmla="*/ 3127038 h 3763984"/>
                          <a:gd name="connsiteX19" fmla="*/ 3426272 w 4735194"/>
                          <a:gd name="connsiteY19" fmla="*/ 3626862 h 3763984"/>
                          <a:gd name="connsiteX20" fmla="*/ 3450692 w 4735194"/>
                          <a:gd name="connsiteY20" fmla="*/ 3636317 h 3763984"/>
                          <a:gd name="connsiteX21" fmla="*/ 3450692 w 4735194"/>
                          <a:gd name="connsiteY21" fmla="*/ 2425105 h 3763984"/>
                          <a:gd name="connsiteX22" fmla="*/ 2440853 w 4735194"/>
                          <a:gd name="connsiteY22" fmla="*/ 1908014 h 3763984"/>
                          <a:gd name="connsiteX23" fmla="*/ 116753 w 4735194"/>
                          <a:gd name="connsiteY23" fmla="*/ 1908014 h 3763984"/>
                          <a:gd name="connsiteX24" fmla="*/ 103933 w 4735194"/>
                          <a:gd name="connsiteY24" fmla="*/ 1914715 h 3763984"/>
                          <a:gd name="connsiteX25" fmla="*/ 103933 w 4735194"/>
                          <a:gd name="connsiteY25" fmla="*/ 3127038 h 3763984"/>
                          <a:gd name="connsiteX26" fmla="*/ 1102172 w 4735194"/>
                          <a:gd name="connsiteY26" fmla="*/ 3626862 h 3763984"/>
                          <a:gd name="connsiteX27" fmla="*/ 1126592 w 4735194"/>
                          <a:gd name="connsiteY27" fmla="*/ 3636317 h 3763984"/>
                          <a:gd name="connsiteX28" fmla="*/ 1126592 w 4735194"/>
                          <a:gd name="connsiteY28" fmla="*/ 2425105 h 3763984"/>
                          <a:gd name="connsiteX29" fmla="*/ 116753 w 4735194"/>
                          <a:gd name="connsiteY29" fmla="*/ 1908014 h 3763984"/>
                          <a:gd name="connsiteX30" fmla="*/ 3565533 w 4735194"/>
                          <a:gd name="connsiteY30" fmla="*/ 1320097 h 3763984"/>
                          <a:gd name="connsiteX31" fmla="*/ 2546139 w 4735194"/>
                          <a:gd name="connsiteY31" fmla="*/ 1852977 h 3763984"/>
                          <a:gd name="connsiteX32" fmla="*/ 3480777 w 4735194"/>
                          <a:gd name="connsiteY32" fmla="*/ 2331562 h 3763984"/>
                          <a:gd name="connsiteX33" fmla="*/ 3602710 w 4735194"/>
                          <a:gd name="connsiteY33" fmla="*/ 2331562 h 3763984"/>
                          <a:gd name="connsiteX34" fmla="*/ 4522310 w 4735194"/>
                          <a:gd name="connsiteY34" fmla="*/ 1860677 h 3763984"/>
                          <a:gd name="connsiteX35" fmla="*/ 4508078 w 4735194"/>
                          <a:gd name="connsiteY35" fmla="*/ 1852513 h 3763984"/>
                          <a:gd name="connsiteX36" fmla="*/ 3565533 w 4735194"/>
                          <a:gd name="connsiteY36" fmla="*/ 1320097 h 3763984"/>
                          <a:gd name="connsiteX37" fmla="*/ 1241433 w 4735194"/>
                          <a:gd name="connsiteY37" fmla="*/ 1320097 h 3763984"/>
                          <a:gd name="connsiteX38" fmla="*/ 222039 w 4735194"/>
                          <a:gd name="connsiteY38" fmla="*/ 1852977 h 3763984"/>
                          <a:gd name="connsiteX39" fmla="*/ 1156677 w 4735194"/>
                          <a:gd name="connsiteY39" fmla="*/ 2331562 h 3763984"/>
                          <a:gd name="connsiteX40" fmla="*/ 1278610 w 4735194"/>
                          <a:gd name="connsiteY40" fmla="*/ 2331562 h 3763984"/>
                          <a:gd name="connsiteX41" fmla="*/ 2198210 w 4735194"/>
                          <a:gd name="connsiteY41" fmla="*/ 1860677 h 3763984"/>
                          <a:gd name="connsiteX42" fmla="*/ 2183978 w 4735194"/>
                          <a:gd name="connsiteY42" fmla="*/ 1852513 h 3763984"/>
                          <a:gd name="connsiteX43" fmla="*/ 1241433 w 4735194"/>
                          <a:gd name="connsiteY43" fmla="*/ 1320097 h 3763984"/>
                          <a:gd name="connsiteX44" fmla="*/ 1229420 w 4735194"/>
                          <a:gd name="connsiteY44" fmla="*/ 0 h 3763984"/>
                          <a:gd name="connsiteX45" fmla="*/ 2330596 w 4735194"/>
                          <a:gd name="connsiteY45" fmla="*/ 564091 h 3763984"/>
                          <a:gd name="connsiteX46" fmla="*/ 2330691 w 4735194"/>
                          <a:gd name="connsiteY46" fmla="*/ 1723100 h 3763984"/>
                          <a:gd name="connsiteX47" fmla="*/ 2369072 w 4735194"/>
                          <a:gd name="connsiteY47" fmla="*/ 1784183 h 3763984"/>
                          <a:gd name="connsiteX48" fmla="*/ 2422549 w 4735194"/>
                          <a:gd name="connsiteY48" fmla="*/ 1723234 h 3763984"/>
                          <a:gd name="connsiteX49" fmla="*/ 2408194 w 4735194"/>
                          <a:gd name="connsiteY49" fmla="*/ 564952 h 3763984"/>
                          <a:gd name="connsiteX50" fmla="*/ 3563998 w 4735194"/>
                          <a:gd name="connsiteY50" fmla="*/ 0 h 3763984"/>
                          <a:gd name="connsiteX51" fmla="*/ 3563653 w 4735194"/>
                          <a:gd name="connsiteY51" fmla="*/ 1175497 h 3763984"/>
                          <a:gd name="connsiteX52" fmla="*/ 4600389 w 4735194"/>
                          <a:gd name="connsiteY52" fmla="*/ 1766603 h 3763984"/>
                          <a:gd name="connsiteX53" fmla="*/ 4649951 w 4735194"/>
                          <a:gd name="connsiteY53" fmla="*/ 1795318 h 3763984"/>
                          <a:gd name="connsiteX54" fmla="*/ 4651097 w 4735194"/>
                          <a:gd name="connsiteY54" fmla="*/ 1794731 h 3763984"/>
                          <a:gd name="connsiteX55" fmla="*/ 4652008 w 4735194"/>
                          <a:gd name="connsiteY55" fmla="*/ 1796510 h 3763984"/>
                          <a:gd name="connsiteX56" fmla="*/ 4730218 w 4735194"/>
                          <a:gd name="connsiteY56" fmla="*/ 1841823 h 3763984"/>
                          <a:gd name="connsiteX57" fmla="*/ 4730218 w 4735194"/>
                          <a:gd name="connsiteY57" fmla="*/ 3184848 h 3763984"/>
                          <a:gd name="connsiteX58" fmla="*/ 3720568 w 4735194"/>
                          <a:gd name="connsiteY58" fmla="*/ 3746822 h 3763984"/>
                          <a:gd name="connsiteX59" fmla="*/ 3416519 w 4735194"/>
                          <a:gd name="connsiteY59" fmla="*/ 3727773 h 3763984"/>
                          <a:gd name="connsiteX60" fmla="*/ 2376040 w 4735194"/>
                          <a:gd name="connsiteY60" fmla="*/ 3201590 h 3763984"/>
                          <a:gd name="connsiteX61" fmla="*/ 1396468 w 4735194"/>
                          <a:gd name="connsiteY61" fmla="*/ 3746822 h 3763984"/>
                          <a:gd name="connsiteX62" fmla="*/ 1092419 w 4735194"/>
                          <a:gd name="connsiteY62" fmla="*/ 3727773 h 3763984"/>
                          <a:gd name="connsiteX63" fmla="*/ 0 w 4735194"/>
                          <a:gd name="connsiteY63" fmla="*/ 3175323 h 3763984"/>
                          <a:gd name="connsiteX64" fmla="*/ 0 w 4735194"/>
                          <a:gd name="connsiteY64" fmla="*/ 1835355 h 3763984"/>
                          <a:gd name="connsiteX65" fmla="*/ 1227656 w 4735194"/>
                          <a:gd name="connsiteY65" fmla="*/ 1183021 h 3763984"/>
                          <a:gd name="connsiteX66" fmla="*/ 1229420 w 4735194"/>
                          <a:gd name="connsiteY66" fmla="*/ 0 h 3763984"/>
                          <a:gd name="connsiteX0" fmla="*/ 4622659 w 4735194"/>
                          <a:gd name="connsiteY0" fmla="*/ 1918241 h 3763984"/>
                          <a:gd name="connsiteX1" fmla="*/ 3641193 w 4735194"/>
                          <a:gd name="connsiteY1" fmla="*/ 2420805 h 3763984"/>
                          <a:gd name="connsiteX2" fmla="*/ 3641193 w 4735194"/>
                          <a:gd name="connsiteY2" fmla="*/ 3662799 h 3763984"/>
                          <a:gd name="connsiteX3" fmla="*/ 3642917 w 4735194"/>
                          <a:gd name="connsiteY3" fmla="*/ 3662622 h 3763984"/>
                          <a:gd name="connsiteX4" fmla="*/ 3704108 w 4735194"/>
                          <a:gd name="connsiteY4" fmla="*/ 3644096 h 3763984"/>
                          <a:gd name="connsiteX5" fmla="*/ 4626714 w 4735194"/>
                          <a:gd name="connsiteY5" fmla="*/ 3135656 h 3763984"/>
                          <a:gd name="connsiteX6" fmla="*/ 4626714 w 4735194"/>
                          <a:gd name="connsiteY6" fmla="*/ 1920567 h 3763984"/>
                          <a:gd name="connsiteX7" fmla="*/ 4622659 w 4735194"/>
                          <a:gd name="connsiteY7" fmla="*/ 1918241 h 3763984"/>
                          <a:gd name="connsiteX8" fmla="*/ 2298559 w 4735194"/>
                          <a:gd name="connsiteY8" fmla="*/ 1918241 h 3763984"/>
                          <a:gd name="connsiteX9" fmla="*/ 1317093 w 4735194"/>
                          <a:gd name="connsiteY9" fmla="*/ 2420805 h 3763984"/>
                          <a:gd name="connsiteX10" fmla="*/ 1317093 w 4735194"/>
                          <a:gd name="connsiteY10" fmla="*/ 3662799 h 3763984"/>
                          <a:gd name="connsiteX11" fmla="*/ 1318817 w 4735194"/>
                          <a:gd name="connsiteY11" fmla="*/ 3662622 h 3763984"/>
                          <a:gd name="connsiteX12" fmla="*/ 1380008 w 4735194"/>
                          <a:gd name="connsiteY12" fmla="*/ 3644096 h 3763984"/>
                          <a:gd name="connsiteX13" fmla="*/ 2302614 w 4735194"/>
                          <a:gd name="connsiteY13" fmla="*/ 3135656 h 3763984"/>
                          <a:gd name="connsiteX14" fmla="*/ 2302614 w 4735194"/>
                          <a:gd name="connsiteY14" fmla="*/ 1920567 h 3763984"/>
                          <a:gd name="connsiteX15" fmla="*/ 2298559 w 4735194"/>
                          <a:gd name="connsiteY15" fmla="*/ 1918241 h 3763984"/>
                          <a:gd name="connsiteX16" fmla="*/ 2440853 w 4735194"/>
                          <a:gd name="connsiteY16" fmla="*/ 1908014 h 3763984"/>
                          <a:gd name="connsiteX17" fmla="*/ 2428033 w 4735194"/>
                          <a:gd name="connsiteY17" fmla="*/ 1914715 h 3763984"/>
                          <a:gd name="connsiteX18" fmla="*/ 2428033 w 4735194"/>
                          <a:gd name="connsiteY18" fmla="*/ 3127038 h 3763984"/>
                          <a:gd name="connsiteX19" fmla="*/ 3426272 w 4735194"/>
                          <a:gd name="connsiteY19" fmla="*/ 3626862 h 3763984"/>
                          <a:gd name="connsiteX20" fmla="*/ 3450692 w 4735194"/>
                          <a:gd name="connsiteY20" fmla="*/ 3636317 h 3763984"/>
                          <a:gd name="connsiteX21" fmla="*/ 3450692 w 4735194"/>
                          <a:gd name="connsiteY21" fmla="*/ 2425105 h 3763984"/>
                          <a:gd name="connsiteX22" fmla="*/ 2440853 w 4735194"/>
                          <a:gd name="connsiteY22" fmla="*/ 1908014 h 3763984"/>
                          <a:gd name="connsiteX23" fmla="*/ 116753 w 4735194"/>
                          <a:gd name="connsiteY23" fmla="*/ 1908014 h 3763984"/>
                          <a:gd name="connsiteX24" fmla="*/ 103933 w 4735194"/>
                          <a:gd name="connsiteY24" fmla="*/ 1914715 h 3763984"/>
                          <a:gd name="connsiteX25" fmla="*/ 103933 w 4735194"/>
                          <a:gd name="connsiteY25" fmla="*/ 3127038 h 3763984"/>
                          <a:gd name="connsiteX26" fmla="*/ 1102172 w 4735194"/>
                          <a:gd name="connsiteY26" fmla="*/ 3626862 h 3763984"/>
                          <a:gd name="connsiteX27" fmla="*/ 1126592 w 4735194"/>
                          <a:gd name="connsiteY27" fmla="*/ 3636317 h 3763984"/>
                          <a:gd name="connsiteX28" fmla="*/ 1126592 w 4735194"/>
                          <a:gd name="connsiteY28" fmla="*/ 2425105 h 3763984"/>
                          <a:gd name="connsiteX29" fmla="*/ 116753 w 4735194"/>
                          <a:gd name="connsiteY29" fmla="*/ 1908014 h 3763984"/>
                          <a:gd name="connsiteX30" fmla="*/ 3565533 w 4735194"/>
                          <a:gd name="connsiteY30" fmla="*/ 1320097 h 3763984"/>
                          <a:gd name="connsiteX31" fmla="*/ 2546139 w 4735194"/>
                          <a:gd name="connsiteY31" fmla="*/ 1852977 h 3763984"/>
                          <a:gd name="connsiteX32" fmla="*/ 3480777 w 4735194"/>
                          <a:gd name="connsiteY32" fmla="*/ 2331562 h 3763984"/>
                          <a:gd name="connsiteX33" fmla="*/ 3602710 w 4735194"/>
                          <a:gd name="connsiteY33" fmla="*/ 2331562 h 3763984"/>
                          <a:gd name="connsiteX34" fmla="*/ 4522310 w 4735194"/>
                          <a:gd name="connsiteY34" fmla="*/ 1860677 h 3763984"/>
                          <a:gd name="connsiteX35" fmla="*/ 4508078 w 4735194"/>
                          <a:gd name="connsiteY35" fmla="*/ 1852513 h 3763984"/>
                          <a:gd name="connsiteX36" fmla="*/ 3565533 w 4735194"/>
                          <a:gd name="connsiteY36" fmla="*/ 1320097 h 3763984"/>
                          <a:gd name="connsiteX37" fmla="*/ 1241433 w 4735194"/>
                          <a:gd name="connsiteY37" fmla="*/ 1320097 h 3763984"/>
                          <a:gd name="connsiteX38" fmla="*/ 222039 w 4735194"/>
                          <a:gd name="connsiteY38" fmla="*/ 1852977 h 3763984"/>
                          <a:gd name="connsiteX39" fmla="*/ 1156677 w 4735194"/>
                          <a:gd name="connsiteY39" fmla="*/ 2331562 h 3763984"/>
                          <a:gd name="connsiteX40" fmla="*/ 1278610 w 4735194"/>
                          <a:gd name="connsiteY40" fmla="*/ 2331562 h 3763984"/>
                          <a:gd name="connsiteX41" fmla="*/ 2198210 w 4735194"/>
                          <a:gd name="connsiteY41" fmla="*/ 1860677 h 3763984"/>
                          <a:gd name="connsiteX42" fmla="*/ 2183978 w 4735194"/>
                          <a:gd name="connsiteY42" fmla="*/ 1852513 h 3763984"/>
                          <a:gd name="connsiteX43" fmla="*/ 1241433 w 4735194"/>
                          <a:gd name="connsiteY43" fmla="*/ 1320097 h 3763984"/>
                          <a:gd name="connsiteX44" fmla="*/ 1229420 w 4735194"/>
                          <a:gd name="connsiteY44" fmla="*/ 0 h 3763984"/>
                          <a:gd name="connsiteX45" fmla="*/ 2330596 w 4735194"/>
                          <a:gd name="connsiteY45" fmla="*/ 564091 h 3763984"/>
                          <a:gd name="connsiteX46" fmla="*/ 2330691 w 4735194"/>
                          <a:gd name="connsiteY46" fmla="*/ 1723100 h 3763984"/>
                          <a:gd name="connsiteX47" fmla="*/ 2369072 w 4735194"/>
                          <a:gd name="connsiteY47" fmla="*/ 1784183 h 3763984"/>
                          <a:gd name="connsiteX48" fmla="*/ 2412016 w 4735194"/>
                          <a:gd name="connsiteY48" fmla="*/ 1723234 h 3763984"/>
                          <a:gd name="connsiteX49" fmla="*/ 2408194 w 4735194"/>
                          <a:gd name="connsiteY49" fmla="*/ 564952 h 3763984"/>
                          <a:gd name="connsiteX50" fmla="*/ 3563998 w 4735194"/>
                          <a:gd name="connsiteY50" fmla="*/ 0 h 3763984"/>
                          <a:gd name="connsiteX51" fmla="*/ 3563653 w 4735194"/>
                          <a:gd name="connsiteY51" fmla="*/ 1175497 h 3763984"/>
                          <a:gd name="connsiteX52" fmla="*/ 4600389 w 4735194"/>
                          <a:gd name="connsiteY52" fmla="*/ 1766603 h 3763984"/>
                          <a:gd name="connsiteX53" fmla="*/ 4649951 w 4735194"/>
                          <a:gd name="connsiteY53" fmla="*/ 1795318 h 3763984"/>
                          <a:gd name="connsiteX54" fmla="*/ 4651097 w 4735194"/>
                          <a:gd name="connsiteY54" fmla="*/ 1794731 h 3763984"/>
                          <a:gd name="connsiteX55" fmla="*/ 4652008 w 4735194"/>
                          <a:gd name="connsiteY55" fmla="*/ 1796510 h 3763984"/>
                          <a:gd name="connsiteX56" fmla="*/ 4730218 w 4735194"/>
                          <a:gd name="connsiteY56" fmla="*/ 1841823 h 3763984"/>
                          <a:gd name="connsiteX57" fmla="*/ 4730218 w 4735194"/>
                          <a:gd name="connsiteY57" fmla="*/ 3184848 h 3763984"/>
                          <a:gd name="connsiteX58" fmla="*/ 3720568 w 4735194"/>
                          <a:gd name="connsiteY58" fmla="*/ 3746822 h 3763984"/>
                          <a:gd name="connsiteX59" fmla="*/ 3416519 w 4735194"/>
                          <a:gd name="connsiteY59" fmla="*/ 3727773 h 3763984"/>
                          <a:gd name="connsiteX60" fmla="*/ 2376040 w 4735194"/>
                          <a:gd name="connsiteY60" fmla="*/ 3201590 h 3763984"/>
                          <a:gd name="connsiteX61" fmla="*/ 1396468 w 4735194"/>
                          <a:gd name="connsiteY61" fmla="*/ 3746822 h 3763984"/>
                          <a:gd name="connsiteX62" fmla="*/ 1092419 w 4735194"/>
                          <a:gd name="connsiteY62" fmla="*/ 3727773 h 3763984"/>
                          <a:gd name="connsiteX63" fmla="*/ 0 w 4735194"/>
                          <a:gd name="connsiteY63" fmla="*/ 3175323 h 3763984"/>
                          <a:gd name="connsiteX64" fmla="*/ 0 w 4735194"/>
                          <a:gd name="connsiteY64" fmla="*/ 1835355 h 3763984"/>
                          <a:gd name="connsiteX65" fmla="*/ 1227656 w 4735194"/>
                          <a:gd name="connsiteY65" fmla="*/ 1183021 h 3763984"/>
                          <a:gd name="connsiteX66" fmla="*/ 1229420 w 4735194"/>
                          <a:gd name="connsiteY66" fmla="*/ 0 h 3763984"/>
                          <a:gd name="connsiteX0" fmla="*/ 4622659 w 4735194"/>
                          <a:gd name="connsiteY0" fmla="*/ 1918241 h 3763984"/>
                          <a:gd name="connsiteX1" fmla="*/ 3641193 w 4735194"/>
                          <a:gd name="connsiteY1" fmla="*/ 2420805 h 3763984"/>
                          <a:gd name="connsiteX2" fmla="*/ 3641193 w 4735194"/>
                          <a:gd name="connsiteY2" fmla="*/ 3662799 h 3763984"/>
                          <a:gd name="connsiteX3" fmla="*/ 3642917 w 4735194"/>
                          <a:gd name="connsiteY3" fmla="*/ 3662622 h 3763984"/>
                          <a:gd name="connsiteX4" fmla="*/ 3704108 w 4735194"/>
                          <a:gd name="connsiteY4" fmla="*/ 3644096 h 3763984"/>
                          <a:gd name="connsiteX5" fmla="*/ 4626714 w 4735194"/>
                          <a:gd name="connsiteY5" fmla="*/ 3135656 h 3763984"/>
                          <a:gd name="connsiteX6" fmla="*/ 4626714 w 4735194"/>
                          <a:gd name="connsiteY6" fmla="*/ 1920567 h 3763984"/>
                          <a:gd name="connsiteX7" fmla="*/ 4622659 w 4735194"/>
                          <a:gd name="connsiteY7" fmla="*/ 1918241 h 3763984"/>
                          <a:gd name="connsiteX8" fmla="*/ 2298559 w 4735194"/>
                          <a:gd name="connsiteY8" fmla="*/ 1918241 h 3763984"/>
                          <a:gd name="connsiteX9" fmla="*/ 1317093 w 4735194"/>
                          <a:gd name="connsiteY9" fmla="*/ 2420805 h 3763984"/>
                          <a:gd name="connsiteX10" fmla="*/ 1317093 w 4735194"/>
                          <a:gd name="connsiteY10" fmla="*/ 3662799 h 3763984"/>
                          <a:gd name="connsiteX11" fmla="*/ 1318817 w 4735194"/>
                          <a:gd name="connsiteY11" fmla="*/ 3662622 h 3763984"/>
                          <a:gd name="connsiteX12" fmla="*/ 1380008 w 4735194"/>
                          <a:gd name="connsiteY12" fmla="*/ 3644096 h 3763984"/>
                          <a:gd name="connsiteX13" fmla="*/ 2302614 w 4735194"/>
                          <a:gd name="connsiteY13" fmla="*/ 3135656 h 3763984"/>
                          <a:gd name="connsiteX14" fmla="*/ 2302614 w 4735194"/>
                          <a:gd name="connsiteY14" fmla="*/ 1920567 h 3763984"/>
                          <a:gd name="connsiteX15" fmla="*/ 2298559 w 4735194"/>
                          <a:gd name="connsiteY15" fmla="*/ 1918241 h 3763984"/>
                          <a:gd name="connsiteX16" fmla="*/ 2440853 w 4735194"/>
                          <a:gd name="connsiteY16" fmla="*/ 1908014 h 3763984"/>
                          <a:gd name="connsiteX17" fmla="*/ 2428033 w 4735194"/>
                          <a:gd name="connsiteY17" fmla="*/ 1914715 h 3763984"/>
                          <a:gd name="connsiteX18" fmla="*/ 2428033 w 4735194"/>
                          <a:gd name="connsiteY18" fmla="*/ 3127038 h 3763984"/>
                          <a:gd name="connsiteX19" fmla="*/ 3426272 w 4735194"/>
                          <a:gd name="connsiteY19" fmla="*/ 3626862 h 3763984"/>
                          <a:gd name="connsiteX20" fmla="*/ 3450692 w 4735194"/>
                          <a:gd name="connsiteY20" fmla="*/ 3636317 h 3763984"/>
                          <a:gd name="connsiteX21" fmla="*/ 3450692 w 4735194"/>
                          <a:gd name="connsiteY21" fmla="*/ 2425105 h 3763984"/>
                          <a:gd name="connsiteX22" fmla="*/ 2440853 w 4735194"/>
                          <a:gd name="connsiteY22" fmla="*/ 1908014 h 3763984"/>
                          <a:gd name="connsiteX23" fmla="*/ 116753 w 4735194"/>
                          <a:gd name="connsiteY23" fmla="*/ 1908014 h 3763984"/>
                          <a:gd name="connsiteX24" fmla="*/ 103933 w 4735194"/>
                          <a:gd name="connsiteY24" fmla="*/ 1914715 h 3763984"/>
                          <a:gd name="connsiteX25" fmla="*/ 103933 w 4735194"/>
                          <a:gd name="connsiteY25" fmla="*/ 3127038 h 3763984"/>
                          <a:gd name="connsiteX26" fmla="*/ 1102172 w 4735194"/>
                          <a:gd name="connsiteY26" fmla="*/ 3626862 h 3763984"/>
                          <a:gd name="connsiteX27" fmla="*/ 1126592 w 4735194"/>
                          <a:gd name="connsiteY27" fmla="*/ 3636317 h 3763984"/>
                          <a:gd name="connsiteX28" fmla="*/ 1126592 w 4735194"/>
                          <a:gd name="connsiteY28" fmla="*/ 2425105 h 3763984"/>
                          <a:gd name="connsiteX29" fmla="*/ 116753 w 4735194"/>
                          <a:gd name="connsiteY29" fmla="*/ 1908014 h 3763984"/>
                          <a:gd name="connsiteX30" fmla="*/ 3565533 w 4735194"/>
                          <a:gd name="connsiteY30" fmla="*/ 1320097 h 3763984"/>
                          <a:gd name="connsiteX31" fmla="*/ 2546139 w 4735194"/>
                          <a:gd name="connsiteY31" fmla="*/ 1852977 h 3763984"/>
                          <a:gd name="connsiteX32" fmla="*/ 3480777 w 4735194"/>
                          <a:gd name="connsiteY32" fmla="*/ 2331562 h 3763984"/>
                          <a:gd name="connsiteX33" fmla="*/ 3602710 w 4735194"/>
                          <a:gd name="connsiteY33" fmla="*/ 2331562 h 3763984"/>
                          <a:gd name="connsiteX34" fmla="*/ 4522310 w 4735194"/>
                          <a:gd name="connsiteY34" fmla="*/ 1860677 h 3763984"/>
                          <a:gd name="connsiteX35" fmla="*/ 4508078 w 4735194"/>
                          <a:gd name="connsiteY35" fmla="*/ 1852513 h 3763984"/>
                          <a:gd name="connsiteX36" fmla="*/ 3565533 w 4735194"/>
                          <a:gd name="connsiteY36" fmla="*/ 1320097 h 3763984"/>
                          <a:gd name="connsiteX37" fmla="*/ 1241433 w 4735194"/>
                          <a:gd name="connsiteY37" fmla="*/ 1320097 h 3763984"/>
                          <a:gd name="connsiteX38" fmla="*/ 222039 w 4735194"/>
                          <a:gd name="connsiteY38" fmla="*/ 1852977 h 3763984"/>
                          <a:gd name="connsiteX39" fmla="*/ 1156677 w 4735194"/>
                          <a:gd name="connsiteY39" fmla="*/ 2331562 h 3763984"/>
                          <a:gd name="connsiteX40" fmla="*/ 1278610 w 4735194"/>
                          <a:gd name="connsiteY40" fmla="*/ 2331562 h 3763984"/>
                          <a:gd name="connsiteX41" fmla="*/ 2198210 w 4735194"/>
                          <a:gd name="connsiteY41" fmla="*/ 1860677 h 3763984"/>
                          <a:gd name="connsiteX42" fmla="*/ 2183978 w 4735194"/>
                          <a:gd name="connsiteY42" fmla="*/ 1852513 h 3763984"/>
                          <a:gd name="connsiteX43" fmla="*/ 1241433 w 4735194"/>
                          <a:gd name="connsiteY43" fmla="*/ 1320097 h 3763984"/>
                          <a:gd name="connsiteX44" fmla="*/ 1229420 w 4735194"/>
                          <a:gd name="connsiteY44" fmla="*/ 0 h 3763984"/>
                          <a:gd name="connsiteX45" fmla="*/ 2330596 w 4735194"/>
                          <a:gd name="connsiteY45" fmla="*/ 564091 h 3763984"/>
                          <a:gd name="connsiteX46" fmla="*/ 2330691 w 4735194"/>
                          <a:gd name="connsiteY46" fmla="*/ 1723100 h 3763984"/>
                          <a:gd name="connsiteX47" fmla="*/ 2369072 w 4735194"/>
                          <a:gd name="connsiteY47" fmla="*/ 1784183 h 3763984"/>
                          <a:gd name="connsiteX48" fmla="*/ 2409382 w 4735194"/>
                          <a:gd name="connsiteY48" fmla="*/ 1723234 h 3763984"/>
                          <a:gd name="connsiteX49" fmla="*/ 2408194 w 4735194"/>
                          <a:gd name="connsiteY49" fmla="*/ 564952 h 3763984"/>
                          <a:gd name="connsiteX50" fmla="*/ 3563998 w 4735194"/>
                          <a:gd name="connsiteY50" fmla="*/ 0 h 3763984"/>
                          <a:gd name="connsiteX51" fmla="*/ 3563653 w 4735194"/>
                          <a:gd name="connsiteY51" fmla="*/ 1175497 h 3763984"/>
                          <a:gd name="connsiteX52" fmla="*/ 4600389 w 4735194"/>
                          <a:gd name="connsiteY52" fmla="*/ 1766603 h 3763984"/>
                          <a:gd name="connsiteX53" fmla="*/ 4649951 w 4735194"/>
                          <a:gd name="connsiteY53" fmla="*/ 1795318 h 3763984"/>
                          <a:gd name="connsiteX54" fmla="*/ 4651097 w 4735194"/>
                          <a:gd name="connsiteY54" fmla="*/ 1794731 h 3763984"/>
                          <a:gd name="connsiteX55" fmla="*/ 4652008 w 4735194"/>
                          <a:gd name="connsiteY55" fmla="*/ 1796510 h 3763984"/>
                          <a:gd name="connsiteX56" fmla="*/ 4730218 w 4735194"/>
                          <a:gd name="connsiteY56" fmla="*/ 1841823 h 3763984"/>
                          <a:gd name="connsiteX57" fmla="*/ 4730218 w 4735194"/>
                          <a:gd name="connsiteY57" fmla="*/ 3184848 h 3763984"/>
                          <a:gd name="connsiteX58" fmla="*/ 3720568 w 4735194"/>
                          <a:gd name="connsiteY58" fmla="*/ 3746822 h 3763984"/>
                          <a:gd name="connsiteX59" fmla="*/ 3416519 w 4735194"/>
                          <a:gd name="connsiteY59" fmla="*/ 3727773 h 3763984"/>
                          <a:gd name="connsiteX60" fmla="*/ 2376040 w 4735194"/>
                          <a:gd name="connsiteY60" fmla="*/ 3201590 h 3763984"/>
                          <a:gd name="connsiteX61" fmla="*/ 1396468 w 4735194"/>
                          <a:gd name="connsiteY61" fmla="*/ 3746822 h 3763984"/>
                          <a:gd name="connsiteX62" fmla="*/ 1092419 w 4735194"/>
                          <a:gd name="connsiteY62" fmla="*/ 3727773 h 3763984"/>
                          <a:gd name="connsiteX63" fmla="*/ 0 w 4735194"/>
                          <a:gd name="connsiteY63" fmla="*/ 3175323 h 3763984"/>
                          <a:gd name="connsiteX64" fmla="*/ 0 w 4735194"/>
                          <a:gd name="connsiteY64" fmla="*/ 1835355 h 3763984"/>
                          <a:gd name="connsiteX65" fmla="*/ 1227656 w 4735194"/>
                          <a:gd name="connsiteY65" fmla="*/ 1183021 h 3763984"/>
                          <a:gd name="connsiteX66" fmla="*/ 1229420 w 4735194"/>
                          <a:gd name="connsiteY66" fmla="*/ 0 h 3763984"/>
                          <a:gd name="connsiteX0" fmla="*/ 4622659 w 4735194"/>
                          <a:gd name="connsiteY0" fmla="*/ 1918241 h 3763984"/>
                          <a:gd name="connsiteX1" fmla="*/ 3641193 w 4735194"/>
                          <a:gd name="connsiteY1" fmla="*/ 2420805 h 3763984"/>
                          <a:gd name="connsiteX2" fmla="*/ 3641193 w 4735194"/>
                          <a:gd name="connsiteY2" fmla="*/ 3662799 h 3763984"/>
                          <a:gd name="connsiteX3" fmla="*/ 3642917 w 4735194"/>
                          <a:gd name="connsiteY3" fmla="*/ 3662622 h 3763984"/>
                          <a:gd name="connsiteX4" fmla="*/ 3704108 w 4735194"/>
                          <a:gd name="connsiteY4" fmla="*/ 3644096 h 3763984"/>
                          <a:gd name="connsiteX5" fmla="*/ 4626714 w 4735194"/>
                          <a:gd name="connsiteY5" fmla="*/ 3135656 h 3763984"/>
                          <a:gd name="connsiteX6" fmla="*/ 4626714 w 4735194"/>
                          <a:gd name="connsiteY6" fmla="*/ 1920567 h 3763984"/>
                          <a:gd name="connsiteX7" fmla="*/ 4622659 w 4735194"/>
                          <a:gd name="connsiteY7" fmla="*/ 1918241 h 3763984"/>
                          <a:gd name="connsiteX8" fmla="*/ 2298559 w 4735194"/>
                          <a:gd name="connsiteY8" fmla="*/ 1918241 h 3763984"/>
                          <a:gd name="connsiteX9" fmla="*/ 1317093 w 4735194"/>
                          <a:gd name="connsiteY9" fmla="*/ 2420805 h 3763984"/>
                          <a:gd name="connsiteX10" fmla="*/ 1317093 w 4735194"/>
                          <a:gd name="connsiteY10" fmla="*/ 3662799 h 3763984"/>
                          <a:gd name="connsiteX11" fmla="*/ 1318817 w 4735194"/>
                          <a:gd name="connsiteY11" fmla="*/ 3662622 h 3763984"/>
                          <a:gd name="connsiteX12" fmla="*/ 1380008 w 4735194"/>
                          <a:gd name="connsiteY12" fmla="*/ 3644096 h 3763984"/>
                          <a:gd name="connsiteX13" fmla="*/ 2302614 w 4735194"/>
                          <a:gd name="connsiteY13" fmla="*/ 3135656 h 3763984"/>
                          <a:gd name="connsiteX14" fmla="*/ 2302614 w 4735194"/>
                          <a:gd name="connsiteY14" fmla="*/ 1920567 h 3763984"/>
                          <a:gd name="connsiteX15" fmla="*/ 2298559 w 4735194"/>
                          <a:gd name="connsiteY15" fmla="*/ 1918241 h 3763984"/>
                          <a:gd name="connsiteX16" fmla="*/ 2440853 w 4735194"/>
                          <a:gd name="connsiteY16" fmla="*/ 1908014 h 3763984"/>
                          <a:gd name="connsiteX17" fmla="*/ 2428033 w 4735194"/>
                          <a:gd name="connsiteY17" fmla="*/ 1914715 h 3763984"/>
                          <a:gd name="connsiteX18" fmla="*/ 2428033 w 4735194"/>
                          <a:gd name="connsiteY18" fmla="*/ 3127038 h 3763984"/>
                          <a:gd name="connsiteX19" fmla="*/ 3426272 w 4735194"/>
                          <a:gd name="connsiteY19" fmla="*/ 3626862 h 3763984"/>
                          <a:gd name="connsiteX20" fmla="*/ 3450692 w 4735194"/>
                          <a:gd name="connsiteY20" fmla="*/ 3636317 h 3763984"/>
                          <a:gd name="connsiteX21" fmla="*/ 3450692 w 4735194"/>
                          <a:gd name="connsiteY21" fmla="*/ 2425105 h 3763984"/>
                          <a:gd name="connsiteX22" fmla="*/ 2440853 w 4735194"/>
                          <a:gd name="connsiteY22" fmla="*/ 1908014 h 3763984"/>
                          <a:gd name="connsiteX23" fmla="*/ 116753 w 4735194"/>
                          <a:gd name="connsiteY23" fmla="*/ 1908014 h 3763984"/>
                          <a:gd name="connsiteX24" fmla="*/ 103933 w 4735194"/>
                          <a:gd name="connsiteY24" fmla="*/ 1914715 h 3763984"/>
                          <a:gd name="connsiteX25" fmla="*/ 103933 w 4735194"/>
                          <a:gd name="connsiteY25" fmla="*/ 3127038 h 3763984"/>
                          <a:gd name="connsiteX26" fmla="*/ 1102172 w 4735194"/>
                          <a:gd name="connsiteY26" fmla="*/ 3626862 h 3763984"/>
                          <a:gd name="connsiteX27" fmla="*/ 1126592 w 4735194"/>
                          <a:gd name="connsiteY27" fmla="*/ 3636317 h 3763984"/>
                          <a:gd name="connsiteX28" fmla="*/ 1126592 w 4735194"/>
                          <a:gd name="connsiteY28" fmla="*/ 2425105 h 3763984"/>
                          <a:gd name="connsiteX29" fmla="*/ 116753 w 4735194"/>
                          <a:gd name="connsiteY29" fmla="*/ 1908014 h 3763984"/>
                          <a:gd name="connsiteX30" fmla="*/ 3565533 w 4735194"/>
                          <a:gd name="connsiteY30" fmla="*/ 1320097 h 3763984"/>
                          <a:gd name="connsiteX31" fmla="*/ 2546139 w 4735194"/>
                          <a:gd name="connsiteY31" fmla="*/ 1852977 h 3763984"/>
                          <a:gd name="connsiteX32" fmla="*/ 3480777 w 4735194"/>
                          <a:gd name="connsiteY32" fmla="*/ 2331562 h 3763984"/>
                          <a:gd name="connsiteX33" fmla="*/ 3602710 w 4735194"/>
                          <a:gd name="connsiteY33" fmla="*/ 2331562 h 3763984"/>
                          <a:gd name="connsiteX34" fmla="*/ 4522310 w 4735194"/>
                          <a:gd name="connsiteY34" fmla="*/ 1860677 h 3763984"/>
                          <a:gd name="connsiteX35" fmla="*/ 4508078 w 4735194"/>
                          <a:gd name="connsiteY35" fmla="*/ 1852513 h 3763984"/>
                          <a:gd name="connsiteX36" fmla="*/ 3565533 w 4735194"/>
                          <a:gd name="connsiteY36" fmla="*/ 1320097 h 3763984"/>
                          <a:gd name="connsiteX37" fmla="*/ 1241433 w 4735194"/>
                          <a:gd name="connsiteY37" fmla="*/ 1320097 h 3763984"/>
                          <a:gd name="connsiteX38" fmla="*/ 222039 w 4735194"/>
                          <a:gd name="connsiteY38" fmla="*/ 1852977 h 3763984"/>
                          <a:gd name="connsiteX39" fmla="*/ 1156677 w 4735194"/>
                          <a:gd name="connsiteY39" fmla="*/ 2331562 h 3763984"/>
                          <a:gd name="connsiteX40" fmla="*/ 1278610 w 4735194"/>
                          <a:gd name="connsiteY40" fmla="*/ 2331562 h 3763984"/>
                          <a:gd name="connsiteX41" fmla="*/ 2198210 w 4735194"/>
                          <a:gd name="connsiteY41" fmla="*/ 1860677 h 3763984"/>
                          <a:gd name="connsiteX42" fmla="*/ 2183978 w 4735194"/>
                          <a:gd name="connsiteY42" fmla="*/ 1852513 h 3763984"/>
                          <a:gd name="connsiteX43" fmla="*/ 1241433 w 4735194"/>
                          <a:gd name="connsiteY43" fmla="*/ 1320097 h 3763984"/>
                          <a:gd name="connsiteX44" fmla="*/ 1229420 w 4735194"/>
                          <a:gd name="connsiteY44" fmla="*/ 0 h 3763984"/>
                          <a:gd name="connsiteX45" fmla="*/ 2330596 w 4735194"/>
                          <a:gd name="connsiteY45" fmla="*/ 564091 h 3763984"/>
                          <a:gd name="connsiteX46" fmla="*/ 2330691 w 4735194"/>
                          <a:gd name="connsiteY46" fmla="*/ 1723100 h 3763984"/>
                          <a:gd name="connsiteX47" fmla="*/ 2369072 w 4735194"/>
                          <a:gd name="connsiteY47" fmla="*/ 1765750 h 3763984"/>
                          <a:gd name="connsiteX48" fmla="*/ 2409382 w 4735194"/>
                          <a:gd name="connsiteY48" fmla="*/ 1723234 h 3763984"/>
                          <a:gd name="connsiteX49" fmla="*/ 2408194 w 4735194"/>
                          <a:gd name="connsiteY49" fmla="*/ 564952 h 3763984"/>
                          <a:gd name="connsiteX50" fmla="*/ 3563998 w 4735194"/>
                          <a:gd name="connsiteY50" fmla="*/ 0 h 3763984"/>
                          <a:gd name="connsiteX51" fmla="*/ 3563653 w 4735194"/>
                          <a:gd name="connsiteY51" fmla="*/ 1175497 h 3763984"/>
                          <a:gd name="connsiteX52" fmla="*/ 4600389 w 4735194"/>
                          <a:gd name="connsiteY52" fmla="*/ 1766603 h 3763984"/>
                          <a:gd name="connsiteX53" fmla="*/ 4649951 w 4735194"/>
                          <a:gd name="connsiteY53" fmla="*/ 1795318 h 3763984"/>
                          <a:gd name="connsiteX54" fmla="*/ 4651097 w 4735194"/>
                          <a:gd name="connsiteY54" fmla="*/ 1794731 h 3763984"/>
                          <a:gd name="connsiteX55" fmla="*/ 4652008 w 4735194"/>
                          <a:gd name="connsiteY55" fmla="*/ 1796510 h 3763984"/>
                          <a:gd name="connsiteX56" fmla="*/ 4730218 w 4735194"/>
                          <a:gd name="connsiteY56" fmla="*/ 1841823 h 3763984"/>
                          <a:gd name="connsiteX57" fmla="*/ 4730218 w 4735194"/>
                          <a:gd name="connsiteY57" fmla="*/ 3184848 h 3763984"/>
                          <a:gd name="connsiteX58" fmla="*/ 3720568 w 4735194"/>
                          <a:gd name="connsiteY58" fmla="*/ 3746822 h 3763984"/>
                          <a:gd name="connsiteX59" fmla="*/ 3416519 w 4735194"/>
                          <a:gd name="connsiteY59" fmla="*/ 3727773 h 3763984"/>
                          <a:gd name="connsiteX60" fmla="*/ 2376040 w 4735194"/>
                          <a:gd name="connsiteY60" fmla="*/ 3201590 h 3763984"/>
                          <a:gd name="connsiteX61" fmla="*/ 1396468 w 4735194"/>
                          <a:gd name="connsiteY61" fmla="*/ 3746822 h 3763984"/>
                          <a:gd name="connsiteX62" fmla="*/ 1092419 w 4735194"/>
                          <a:gd name="connsiteY62" fmla="*/ 3727773 h 3763984"/>
                          <a:gd name="connsiteX63" fmla="*/ 0 w 4735194"/>
                          <a:gd name="connsiteY63" fmla="*/ 3175323 h 3763984"/>
                          <a:gd name="connsiteX64" fmla="*/ 0 w 4735194"/>
                          <a:gd name="connsiteY64" fmla="*/ 1835355 h 3763984"/>
                          <a:gd name="connsiteX65" fmla="*/ 1227656 w 4735194"/>
                          <a:gd name="connsiteY65" fmla="*/ 1183021 h 3763984"/>
                          <a:gd name="connsiteX66" fmla="*/ 1229420 w 4735194"/>
                          <a:gd name="connsiteY66" fmla="*/ 0 h 3763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35194" h="3763984">
                            <a:moveTo>
                              <a:pt x="4622659" y="1918241"/>
                            </a:moveTo>
                            <a:lnTo>
                              <a:pt x="3641193" y="2420805"/>
                            </a:lnTo>
                            <a:lnTo>
                              <a:pt x="3641193" y="3662799"/>
                            </a:lnTo>
                            <a:lnTo>
                              <a:pt x="3642917" y="3662622"/>
                            </a:lnTo>
                            <a:cubicBezTo>
                              <a:pt x="3663417" y="3658176"/>
                              <a:pt x="3683542" y="3651731"/>
                              <a:pt x="3704108" y="3644096"/>
                            </a:cubicBezTo>
                            <a:lnTo>
                              <a:pt x="4626714" y="3135656"/>
                            </a:lnTo>
                            <a:cubicBezTo>
                              <a:pt x="4629615" y="2532420"/>
                              <a:pt x="4635304" y="2326572"/>
                              <a:pt x="4626714" y="1920567"/>
                            </a:cubicBezTo>
                            <a:lnTo>
                              <a:pt x="4622659" y="1918241"/>
                            </a:lnTo>
                            <a:close/>
                            <a:moveTo>
                              <a:pt x="2298559" y="1918241"/>
                            </a:moveTo>
                            <a:lnTo>
                              <a:pt x="1317093" y="2420805"/>
                            </a:lnTo>
                            <a:lnTo>
                              <a:pt x="1317093" y="3662799"/>
                            </a:lnTo>
                            <a:lnTo>
                              <a:pt x="1318817" y="3662622"/>
                            </a:lnTo>
                            <a:cubicBezTo>
                              <a:pt x="1339317" y="3658176"/>
                              <a:pt x="1359442" y="3651731"/>
                              <a:pt x="1380008" y="3644096"/>
                            </a:cubicBezTo>
                            <a:lnTo>
                              <a:pt x="2302614" y="3135656"/>
                            </a:lnTo>
                            <a:cubicBezTo>
                              <a:pt x="2305515" y="2532420"/>
                              <a:pt x="2311204" y="2326572"/>
                              <a:pt x="2302614" y="1920567"/>
                            </a:cubicBezTo>
                            <a:lnTo>
                              <a:pt x="2298559" y="1918241"/>
                            </a:lnTo>
                            <a:close/>
                            <a:moveTo>
                              <a:pt x="2440853" y="1908014"/>
                            </a:moveTo>
                            <a:lnTo>
                              <a:pt x="2428033" y="1914715"/>
                            </a:lnTo>
                            <a:lnTo>
                              <a:pt x="2428033" y="3127038"/>
                            </a:lnTo>
                            <a:lnTo>
                              <a:pt x="3426272" y="3626862"/>
                            </a:lnTo>
                            <a:lnTo>
                              <a:pt x="3450692" y="3636317"/>
                            </a:lnTo>
                            <a:lnTo>
                              <a:pt x="3450692" y="2425105"/>
                            </a:lnTo>
                            <a:lnTo>
                              <a:pt x="2440853" y="1908014"/>
                            </a:lnTo>
                            <a:close/>
                            <a:moveTo>
                              <a:pt x="116753" y="1908014"/>
                            </a:moveTo>
                            <a:lnTo>
                              <a:pt x="103933" y="1914715"/>
                            </a:lnTo>
                            <a:lnTo>
                              <a:pt x="103933" y="3127038"/>
                            </a:lnTo>
                            <a:lnTo>
                              <a:pt x="1102172" y="3626862"/>
                            </a:lnTo>
                            <a:lnTo>
                              <a:pt x="1126592" y="3636317"/>
                            </a:lnTo>
                            <a:lnTo>
                              <a:pt x="1126592" y="2425105"/>
                            </a:lnTo>
                            <a:lnTo>
                              <a:pt x="116753" y="1908014"/>
                            </a:lnTo>
                            <a:close/>
                            <a:moveTo>
                              <a:pt x="3565533" y="1320097"/>
                            </a:moveTo>
                            <a:lnTo>
                              <a:pt x="2546139" y="1852977"/>
                            </a:lnTo>
                            <a:lnTo>
                              <a:pt x="3480777" y="2331562"/>
                            </a:lnTo>
                            <a:lnTo>
                              <a:pt x="3602710" y="2331562"/>
                            </a:lnTo>
                            <a:lnTo>
                              <a:pt x="4522310" y="1860677"/>
                            </a:lnTo>
                            <a:lnTo>
                              <a:pt x="4508078" y="1852513"/>
                            </a:lnTo>
                            <a:cubicBezTo>
                              <a:pt x="3953917" y="1534301"/>
                              <a:pt x="3963477" y="1535106"/>
                              <a:pt x="3565533" y="1320097"/>
                            </a:cubicBezTo>
                            <a:close/>
                            <a:moveTo>
                              <a:pt x="1241433" y="1320097"/>
                            </a:moveTo>
                            <a:lnTo>
                              <a:pt x="222039" y="1852977"/>
                            </a:lnTo>
                            <a:lnTo>
                              <a:pt x="1156677" y="2331562"/>
                            </a:lnTo>
                            <a:lnTo>
                              <a:pt x="1278610" y="2331562"/>
                            </a:lnTo>
                            <a:lnTo>
                              <a:pt x="2198210" y="1860677"/>
                            </a:lnTo>
                            <a:lnTo>
                              <a:pt x="2183978" y="1852513"/>
                            </a:lnTo>
                            <a:cubicBezTo>
                              <a:pt x="1629817" y="1534301"/>
                              <a:pt x="1639377" y="1535106"/>
                              <a:pt x="1241433" y="1320097"/>
                            </a:cubicBezTo>
                            <a:close/>
                            <a:moveTo>
                              <a:pt x="1229420" y="0"/>
                            </a:moveTo>
                            <a:lnTo>
                              <a:pt x="2330596" y="564091"/>
                            </a:lnTo>
                            <a:cubicBezTo>
                              <a:pt x="2332000" y="975921"/>
                              <a:pt x="2333055" y="1489469"/>
                              <a:pt x="2330691" y="1723100"/>
                            </a:cubicBezTo>
                            <a:lnTo>
                              <a:pt x="2369072" y="1765750"/>
                            </a:lnTo>
                            <a:lnTo>
                              <a:pt x="2409382" y="1723234"/>
                            </a:lnTo>
                            <a:cubicBezTo>
                              <a:pt x="2408441" y="1446733"/>
                              <a:pt x="2407556" y="1155439"/>
                              <a:pt x="2408194" y="564952"/>
                            </a:cubicBezTo>
                            <a:lnTo>
                              <a:pt x="3563998" y="0"/>
                            </a:lnTo>
                            <a:cubicBezTo>
                              <a:pt x="3566531" y="379142"/>
                              <a:pt x="3562090" y="836295"/>
                              <a:pt x="3563653" y="1175497"/>
                            </a:cubicBezTo>
                            <a:cubicBezTo>
                              <a:pt x="3999141" y="1413144"/>
                              <a:pt x="3993945" y="1414887"/>
                              <a:pt x="4600389" y="1766603"/>
                            </a:cubicBezTo>
                            <a:lnTo>
                              <a:pt x="4649951" y="1795318"/>
                            </a:lnTo>
                            <a:lnTo>
                              <a:pt x="4651097" y="1794731"/>
                            </a:lnTo>
                            <a:lnTo>
                              <a:pt x="4652008" y="1796510"/>
                            </a:lnTo>
                            <a:lnTo>
                              <a:pt x="4730218" y="1841823"/>
                            </a:lnTo>
                            <a:cubicBezTo>
                              <a:pt x="4739618" y="2290576"/>
                              <a:pt x="4733393" y="2518098"/>
                              <a:pt x="4730218" y="3184848"/>
                            </a:cubicBezTo>
                            <a:lnTo>
                              <a:pt x="3720568" y="3746822"/>
                            </a:lnTo>
                            <a:cubicBezTo>
                              <a:pt x="3654143" y="3772222"/>
                              <a:pt x="3501994" y="3772223"/>
                              <a:pt x="3416519" y="3727773"/>
                            </a:cubicBezTo>
                            <a:lnTo>
                              <a:pt x="2376040" y="3201590"/>
                            </a:lnTo>
                            <a:lnTo>
                              <a:pt x="1396468" y="3746822"/>
                            </a:lnTo>
                            <a:cubicBezTo>
                              <a:pt x="1330043" y="3772222"/>
                              <a:pt x="1177894" y="3772223"/>
                              <a:pt x="1092419" y="3727773"/>
                            </a:cubicBezTo>
                            <a:lnTo>
                              <a:pt x="0" y="3175323"/>
                            </a:lnTo>
                            <a:lnTo>
                              <a:pt x="0" y="1835355"/>
                            </a:lnTo>
                            <a:lnTo>
                              <a:pt x="1227656" y="1183021"/>
                            </a:lnTo>
                            <a:cubicBezTo>
                              <a:pt x="1228244" y="778148"/>
                              <a:pt x="1228833" y="396974"/>
                              <a:pt x="1229420" y="0"/>
                            </a:cubicBezTo>
                            <a:close/>
                          </a:path>
                        </a:pathLst>
                      </a:custGeom>
                      <a:grp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p>
                    </p:txBody>
                  </p:sp>
                  <p:sp>
                    <p:nvSpPr>
                      <p:cNvPr id="61" name="Freeform 60"/>
                      <p:cNvSpPr/>
                      <p:nvPr/>
                    </p:nvSpPr>
                    <p:spPr>
                      <a:xfrm>
                        <a:off x="2332435" y="1559210"/>
                        <a:ext cx="2102964" cy="1060444"/>
                      </a:xfrm>
                      <a:custGeom>
                        <a:avLst/>
                        <a:gdLst>
                          <a:gd name="connsiteX0" fmla="*/ 1008718 w 1922828"/>
                          <a:gd name="connsiteY0" fmla="*/ 0 h 993897"/>
                          <a:gd name="connsiteX1" fmla="*/ 1922828 w 1922828"/>
                          <a:gd name="connsiteY1" fmla="*/ 534174 h 993897"/>
                          <a:gd name="connsiteX2" fmla="*/ 1029837 w 1922828"/>
                          <a:gd name="connsiteY2" fmla="*/ 992176 h 993897"/>
                          <a:gd name="connsiteX3" fmla="*/ 922640 w 1922828"/>
                          <a:gd name="connsiteY3" fmla="*/ 992969 h 993897"/>
                          <a:gd name="connsiteX4" fmla="*/ 0 w 1922828"/>
                          <a:gd name="connsiteY4" fmla="*/ 505113 h 993897"/>
                          <a:gd name="connsiteX0" fmla="*/ 1008718 w 1922828"/>
                          <a:gd name="connsiteY0" fmla="*/ 0 h 1005345"/>
                          <a:gd name="connsiteX1" fmla="*/ 1922828 w 1922828"/>
                          <a:gd name="connsiteY1" fmla="*/ 534174 h 1005345"/>
                          <a:gd name="connsiteX2" fmla="*/ 998087 w 1922828"/>
                          <a:gd name="connsiteY2" fmla="*/ 1004876 h 1005345"/>
                          <a:gd name="connsiteX3" fmla="*/ 922640 w 1922828"/>
                          <a:gd name="connsiteY3" fmla="*/ 992969 h 1005345"/>
                          <a:gd name="connsiteX4" fmla="*/ 0 w 1922828"/>
                          <a:gd name="connsiteY4" fmla="*/ 505113 h 1005345"/>
                          <a:gd name="connsiteX5" fmla="*/ 1008718 w 1922828"/>
                          <a:gd name="connsiteY5" fmla="*/ 0 h 1005345"/>
                          <a:gd name="connsiteX0" fmla="*/ 1008718 w 1922828"/>
                          <a:gd name="connsiteY0" fmla="*/ 0 h 1005615"/>
                          <a:gd name="connsiteX1" fmla="*/ 1922828 w 1922828"/>
                          <a:gd name="connsiteY1" fmla="*/ 534174 h 1005615"/>
                          <a:gd name="connsiteX2" fmla="*/ 998087 w 1922828"/>
                          <a:gd name="connsiteY2" fmla="*/ 1004876 h 1005615"/>
                          <a:gd name="connsiteX3" fmla="*/ 935340 w 1922828"/>
                          <a:gd name="connsiteY3" fmla="*/ 999319 h 1005615"/>
                          <a:gd name="connsiteX4" fmla="*/ 0 w 1922828"/>
                          <a:gd name="connsiteY4" fmla="*/ 505113 h 1005615"/>
                          <a:gd name="connsiteX5" fmla="*/ 1008718 w 1922828"/>
                          <a:gd name="connsiteY5" fmla="*/ 0 h 1005615"/>
                          <a:gd name="connsiteX0" fmla="*/ 1008718 w 1922828"/>
                          <a:gd name="connsiteY0" fmla="*/ 0 h 1017920"/>
                          <a:gd name="connsiteX1" fmla="*/ 1922828 w 1922828"/>
                          <a:gd name="connsiteY1" fmla="*/ 534174 h 1017920"/>
                          <a:gd name="connsiteX2" fmla="*/ 972687 w 1922828"/>
                          <a:gd name="connsiteY2" fmla="*/ 1017576 h 1017920"/>
                          <a:gd name="connsiteX3" fmla="*/ 935340 w 1922828"/>
                          <a:gd name="connsiteY3" fmla="*/ 999319 h 1017920"/>
                          <a:gd name="connsiteX4" fmla="*/ 0 w 1922828"/>
                          <a:gd name="connsiteY4" fmla="*/ 505113 h 1017920"/>
                          <a:gd name="connsiteX5" fmla="*/ 1008718 w 1922828"/>
                          <a:gd name="connsiteY5" fmla="*/ 0 h 1017920"/>
                          <a:gd name="connsiteX0" fmla="*/ 1008758 w 1922868"/>
                          <a:gd name="connsiteY0" fmla="*/ 0 h 1017576"/>
                          <a:gd name="connsiteX1" fmla="*/ 1922868 w 1922868"/>
                          <a:gd name="connsiteY1" fmla="*/ 534174 h 1017576"/>
                          <a:gd name="connsiteX2" fmla="*/ 972727 w 1922868"/>
                          <a:gd name="connsiteY2" fmla="*/ 1017576 h 1017576"/>
                          <a:gd name="connsiteX3" fmla="*/ 40 w 1922868"/>
                          <a:gd name="connsiteY3" fmla="*/ 505113 h 1017576"/>
                          <a:gd name="connsiteX4" fmla="*/ 1008758 w 1922868"/>
                          <a:gd name="connsiteY4" fmla="*/ 0 h 1017576"/>
                          <a:gd name="connsiteX0" fmla="*/ 1008757 w 1922867"/>
                          <a:gd name="connsiteY0" fmla="*/ 0 h 1017576"/>
                          <a:gd name="connsiteX1" fmla="*/ 1922867 w 1922867"/>
                          <a:gd name="connsiteY1" fmla="*/ 534174 h 1017576"/>
                          <a:gd name="connsiteX2" fmla="*/ 972726 w 1922867"/>
                          <a:gd name="connsiteY2" fmla="*/ 1017576 h 1017576"/>
                          <a:gd name="connsiteX3" fmla="*/ 39 w 1922867"/>
                          <a:gd name="connsiteY3" fmla="*/ 505113 h 1017576"/>
                          <a:gd name="connsiteX4" fmla="*/ 1008757 w 1922867"/>
                          <a:gd name="connsiteY4" fmla="*/ 0 h 1017576"/>
                          <a:gd name="connsiteX0" fmla="*/ 1008718 w 1922828"/>
                          <a:gd name="connsiteY0" fmla="*/ 0 h 1017576"/>
                          <a:gd name="connsiteX1" fmla="*/ 1922828 w 1922828"/>
                          <a:gd name="connsiteY1" fmla="*/ 534174 h 1017576"/>
                          <a:gd name="connsiteX2" fmla="*/ 972687 w 1922828"/>
                          <a:gd name="connsiteY2" fmla="*/ 1017576 h 1017576"/>
                          <a:gd name="connsiteX3" fmla="*/ 0 w 1922828"/>
                          <a:gd name="connsiteY3" fmla="*/ 505113 h 1017576"/>
                          <a:gd name="connsiteX4" fmla="*/ 1008718 w 1922828"/>
                          <a:gd name="connsiteY4" fmla="*/ 0 h 1017576"/>
                          <a:gd name="connsiteX0" fmla="*/ 1008718 w 1922828"/>
                          <a:gd name="connsiteY0" fmla="*/ 0 h 1017576"/>
                          <a:gd name="connsiteX1" fmla="*/ 1922828 w 1922828"/>
                          <a:gd name="connsiteY1" fmla="*/ 534174 h 1017576"/>
                          <a:gd name="connsiteX2" fmla="*/ 972687 w 1922828"/>
                          <a:gd name="connsiteY2" fmla="*/ 1017576 h 1017576"/>
                          <a:gd name="connsiteX3" fmla="*/ 0 w 1922828"/>
                          <a:gd name="connsiteY3" fmla="*/ 505113 h 1017576"/>
                          <a:gd name="connsiteX4" fmla="*/ 1008718 w 1922828"/>
                          <a:gd name="connsiteY4" fmla="*/ 0 h 1017576"/>
                          <a:gd name="connsiteX0" fmla="*/ 1008718 w 1922828"/>
                          <a:gd name="connsiteY0" fmla="*/ 0 h 1017576"/>
                          <a:gd name="connsiteX1" fmla="*/ 1922828 w 1922828"/>
                          <a:gd name="connsiteY1" fmla="*/ 534174 h 1017576"/>
                          <a:gd name="connsiteX2" fmla="*/ 972687 w 1922828"/>
                          <a:gd name="connsiteY2" fmla="*/ 1017576 h 1017576"/>
                          <a:gd name="connsiteX3" fmla="*/ 0 w 1922828"/>
                          <a:gd name="connsiteY3" fmla="*/ 505113 h 1017576"/>
                          <a:gd name="connsiteX4" fmla="*/ 1008718 w 1922828"/>
                          <a:gd name="connsiteY4" fmla="*/ 0 h 1017576"/>
                          <a:gd name="connsiteX0" fmla="*/ 1008718 w 1922828"/>
                          <a:gd name="connsiteY0" fmla="*/ 0 h 1026729"/>
                          <a:gd name="connsiteX1" fmla="*/ 1922828 w 1922828"/>
                          <a:gd name="connsiteY1" fmla="*/ 534174 h 1026729"/>
                          <a:gd name="connsiteX2" fmla="*/ 946560 w 1922828"/>
                          <a:gd name="connsiteY2" fmla="*/ 1026729 h 1026729"/>
                          <a:gd name="connsiteX3" fmla="*/ 0 w 1922828"/>
                          <a:gd name="connsiteY3" fmla="*/ 505113 h 1026729"/>
                          <a:gd name="connsiteX4" fmla="*/ 1008718 w 1922828"/>
                          <a:gd name="connsiteY4" fmla="*/ 0 h 1026729"/>
                          <a:gd name="connsiteX0" fmla="*/ 1008718 w 1922828"/>
                          <a:gd name="connsiteY0" fmla="*/ 0 h 1026729"/>
                          <a:gd name="connsiteX1" fmla="*/ 1922828 w 1922828"/>
                          <a:gd name="connsiteY1" fmla="*/ 534174 h 1026729"/>
                          <a:gd name="connsiteX2" fmla="*/ 942206 w 1922828"/>
                          <a:gd name="connsiteY2" fmla="*/ 1026729 h 1026729"/>
                          <a:gd name="connsiteX3" fmla="*/ 0 w 1922828"/>
                          <a:gd name="connsiteY3" fmla="*/ 505113 h 1026729"/>
                          <a:gd name="connsiteX4" fmla="*/ 1008718 w 1922828"/>
                          <a:gd name="connsiteY4" fmla="*/ 0 h 1026729"/>
                          <a:gd name="connsiteX0" fmla="*/ 943097 w 1922828"/>
                          <a:gd name="connsiteY0" fmla="*/ 0 h 1026729"/>
                          <a:gd name="connsiteX1" fmla="*/ 1922828 w 1922828"/>
                          <a:gd name="connsiteY1" fmla="*/ 534174 h 1026729"/>
                          <a:gd name="connsiteX2" fmla="*/ 942206 w 1922828"/>
                          <a:gd name="connsiteY2" fmla="*/ 1026729 h 1026729"/>
                          <a:gd name="connsiteX3" fmla="*/ 0 w 1922828"/>
                          <a:gd name="connsiteY3" fmla="*/ 505113 h 1026729"/>
                          <a:gd name="connsiteX4" fmla="*/ 943097 w 1922828"/>
                          <a:gd name="connsiteY4" fmla="*/ 0 h 1026729"/>
                          <a:gd name="connsiteX0" fmla="*/ 923653 w 1922828"/>
                          <a:gd name="connsiteY0" fmla="*/ 0 h 1026729"/>
                          <a:gd name="connsiteX1" fmla="*/ 1922828 w 1922828"/>
                          <a:gd name="connsiteY1" fmla="*/ 534174 h 1026729"/>
                          <a:gd name="connsiteX2" fmla="*/ 942206 w 1922828"/>
                          <a:gd name="connsiteY2" fmla="*/ 1026729 h 1026729"/>
                          <a:gd name="connsiteX3" fmla="*/ 0 w 1922828"/>
                          <a:gd name="connsiteY3" fmla="*/ 505113 h 1026729"/>
                          <a:gd name="connsiteX4" fmla="*/ 923653 w 1922828"/>
                          <a:gd name="connsiteY4" fmla="*/ 0 h 1026729"/>
                          <a:gd name="connsiteX0" fmla="*/ 940666 w 1922828"/>
                          <a:gd name="connsiteY0" fmla="*/ 0 h 1019065"/>
                          <a:gd name="connsiteX1" fmla="*/ 1922828 w 1922828"/>
                          <a:gd name="connsiteY1" fmla="*/ 526510 h 1019065"/>
                          <a:gd name="connsiteX2" fmla="*/ 942206 w 1922828"/>
                          <a:gd name="connsiteY2" fmla="*/ 1019065 h 1019065"/>
                          <a:gd name="connsiteX3" fmla="*/ 0 w 1922828"/>
                          <a:gd name="connsiteY3" fmla="*/ 497449 h 1019065"/>
                          <a:gd name="connsiteX4" fmla="*/ 940666 w 1922828"/>
                          <a:gd name="connsiteY4" fmla="*/ 0 h 1019065"/>
                          <a:gd name="connsiteX0" fmla="*/ 940666 w 1922828"/>
                          <a:gd name="connsiteY0" fmla="*/ 0 h 1019065"/>
                          <a:gd name="connsiteX1" fmla="*/ 1922828 w 1922828"/>
                          <a:gd name="connsiteY1" fmla="*/ 526510 h 1019065"/>
                          <a:gd name="connsiteX2" fmla="*/ 942206 w 1922828"/>
                          <a:gd name="connsiteY2" fmla="*/ 1019065 h 1019065"/>
                          <a:gd name="connsiteX3" fmla="*/ 0 w 1922828"/>
                          <a:gd name="connsiteY3" fmla="*/ 497449 h 1019065"/>
                          <a:gd name="connsiteX4" fmla="*/ 940666 w 1922828"/>
                          <a:gd name="connsiteY4" fmla="*/ 0 h 1019065"/>
                          <a:gd name="connsiteX0" fmla="*/ 940666 w 1922828"/>
                          <a:gd name="connsiteY0" fmla="*/ 0 h 1019065"/>
                          <a:gd name="connsiteX1" fmla="*/ 1922828 w 1922828"/>
                          <a:gd name="connsiteY1" fmla="*/ 526510 h 1019065"/>
                          <a:gd name="connsiteX2" fmla="*/ 942206 w 1922828"/>
                          <a:gd name="connsiteY2" fmla="*/ 1019065 h 1019065"/>
                          <a:gd name="connsiteX3" fmla="*/ 0 w 1922828"/>
                          <a:gd name="connsiteY3" fmla="*/ 497449 h 1019065"/>
                          <a:gd name="connsiteX4" fmla="*/ 940666 w 1922828"/>
                          <a:gd name="connsiteY4" fmla="*/ 0 h 1019065"/>
                          <a:gd name="connsiteX0" fmla="*/ 940666 w 1922828"/>
                          <a:gd name="connsiteY0" fmla="*/ 0 h 1019065"/>
                          <a:gd name="connsiteX1" fmla="*/ 1922828 w 1922828"/>
                          <a:gd name="connsiteY1" fmla="*/ 526510 h 1019065"/>
                          <a:gd name="connsiteX2" fmla="*/ 942206 w 1922828"/>
                          <a:gd name="connsiteY2" fmla="*/ 1019065 h 1019065"/>
                          <a:gd name="connsiteX3" fmla="*/ 0 w 1922828"/>
                          <a:gd name="connsiteY3" fmla="*/ 497449 h 1019065"/>
                          <a:gd name="connsiteX4" fmla="*/ 940666 w 1922828"/>
                          <a:gd name="connsiteY4" fmla="*/ 0 h 1019065"/>
                          <a:gd name="connsiteX0" fmla="*/ 940666 w 1922828"/>
                          <a:gd name="connsiteY0" fmla="*/ 0 h 1019065"/>
                          <a:gd name="connsiteX1" fmla="*/ 1922828 w 1922828"/>
                          <a:gd name="connsiteY1" fmla="*/ 526510 h 1019065"/>
                          <a:gd name="connsiteX2" fmla="*/ 942206 w 1922828"/>
                          <a:gd name="connsiteY2" fmla="*/ 1019065 h 1019065"/>
                          <a:gd name="connsiteX3" fmla="*/ 0 w 1922828"/>
                          <a:gd name="connsiteY3" fmla="*/ 497449 h 1019065"/>
                          <a:gd name="connsiteX4" fmla="*/ 940666 w 1922828"/>
                          <a:gd name="connsiteY4" fmla="*/ 0 h 1019065"/>
                          <a:gd name="connsiteX0" fmla="*/ 940666 w 1922828"/>
                          <a:gd name="connsiteY0" fmla="*/ 0 h 1019065"/>
                          <a:gd name="connsiteX1" fmla="*/ 1922828 w 1922828"/>
                          <a:gd name="connsiteY1" fmla="*/ 526510 h 1019065"/>
                          <a:gd name="connsiteX2" fmla="*/ 942206 w 1922828"/>
                          <a:gd name="connsiteY2" fmla="*/ 1019065 h 1019065"/>
                          <a:gd name="connsiteX3" fmla="*/ 0 w 1922828"/>
                          <a:gd name="connsiteY3" fmla="*/ 497449 h 1019065"/>
                          <a:gd name="connsiteX4" fmla="*/ 940666 w 1922828"/>
                          <a:gd name="connsiteY4" fmla="*/ 0 h 1019065"/>
                          <a:gd name="connsiteX0" fmla="*/ 940666 w 1922828"/>
                          <a:gd name="connsiteY0" fmla="*/ 0 h 1019065"/>
                          <a:gd name="connsiteX1" fmla="*/ 1922828 w 1922828"/>
                          <a:gd name="connsiteY1" fmla="*/ 526510 h 1019065"/>
                          <a:gd name="connsiteX2" fmla="*/ 942206 w 1922828"/>
                          <a:gd name="connsiteY2" fmla="*/ 1019065 h 1019065"/>
                          <a:gd name="connsiteX3" fmla="*/ 0 w 1922828"/>
                          <a:gd name="connsiteY3" fmla="*/ 525815 h 1019065"/>
                          <a:gd name="connsiteX4" fmla="*/ 940666 w 1922828"/>
                          <a:gd name="connsiteY4" fmla="*/ 0 h 1019065"/>
                          <a:gd name="connsiteX0" fmla="*/ 940666 w 1922828"/>
                          <a:gd name="connsiteY0" fmla="*/ 0 h 1019065"/>
                          <a:gd name="connsiteX1" fmla="*/ 1922828 w 1922828"/>
                          <a:gd name="connsiteY1" fmla="*/ 526510 h 1019065"/>
                          <a:gd name="connsiteX2" fmla="*/ 942206 w 1922828"/>
                          <a:gd name="connsiteY2" fmla="*/ 1019065 h 1019065"/>
                          <a:gd name="connsiteX3" fmla="*/ 0 w 1922828"/>
                          <a:gd name="connsiteY3" fmla="*/ 525815 h 1019065"/>
                          <a:gd name="connsiteX4" fmla="*/ 940666 w 1922828"/>
                          <a:gd name="connsiteY4" fmla="*/ 0 h 101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2828" h="1019065">
                            <a:moveTo>
                              <a:pt x="940666" y="0"/>
                            </a:moveTo>
                            <a:lnTo>
                              <a:pt x="1922828" y="526510"/>
                            </a:lnTo>
                            <a:lnTo>
                              <a:pt x="942206" y="1019065"/>
                            </a:lnTo>
                            <a:lnTo>
                              <a:pt x="0" y="525815"/>
                            </a:lnTo>
                            <a:lnTo>
                              <a:pt x="940666" y="0"/>
                            </a:lnTo>
                            <a:close/>
                          </a:path>
                        </a:pathLst>
                      </a:custGeom>
                      <a:grp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p>
                    </p:txBody>
                  </p:sp>
                </p:grpSp>
              </p:grpSp>
              <p:grpSp>
                <p:nvGrpSpPr>
                  <p:cNvPr id="14" name="Group 13"/>
                  <p:cNvGrpSpPr/>
                  <p:nvPr/>
                </p:nvGrpSpPr>
                <p:grpSpPr>
                  <a:xfrm>
                    <a:off x="3002905" y="2164547"/>
                    <a:ext cx="706207" cy="713266"/>
                    <a:chOff x="3069075" y="2231376"/>
                    <a:chExt cx="573885" cy="579621"/>
                  </a:xfrm>
                </p:grpSpPr>
                <p:grpSp>
                  <p:nvGrpSpPr>
                    <p:cNvPr id="48" name="Group 47"/>
                    <p:cNvGrpSpPr/>
                    <p:nvPr/>
                  </p:nvGrpSpPr>
                  <p:grpSpPr>
                    <a:xfrm>
                      <a:off x="3069075" y="2231376"/>
                      <a:ext cx="573885" cy="579621"/>
                      <a:chOff x="184644" y="2284066"/>
                      <a:chExt cx="1452815" cy="1452812"/>
                    </a:xfrm>
                  </p:grpSpPr>
                  <p:grpSp>
                    <p:nvGrpSpPr>
                      <p:cNvPr id="54" name="Group 53"/>
                      <p:cNvGrpSpPr/>
                      <p:nvPr/>
                    </p:nvGrpSpPr>
                    <p:grpSpPr>
                      <a:xfrm>
                        <a:off x="184644" y="2284066"/>
                        <a:ext cx="1452815" cy="1452812"/>
                        <a:chOff x="924992" y="2114551"/>
                        <a:chExt cx="1232848" cy="1232846"/>
                      </a:xfrm>
                    </p:grpSpPr>
                    <p:sp>
                      <p:nvSpPr>
                        <p:cNvPr id="56" name="Oval 55"/>
                        <p:cNvSpPr/>
                        <p:nvPr/>
                      </p:nvSpPr>
                      <p:spPr>
                        <a:xfrm>
                          <a:off x="924992" y="2114551"/>
                          <a:ext cx="1232848" cy="1232846"/>
                        </a:xfrm>
                        <a:prstGeom prst="ellipse">
                          <a:avLst/>
                        </a:prstGeom>
                        <a:solidFill>
                          <a:sysClr val="window" lastClr="FFFFFF">
                            <a:lumMod val="95000"/>
                          </a:sysClr>
                        </a:solidFill>
                        <a:ln w="12700" cap="flat" cmpd="sng" algn="ctr">
                          <a:noFill/>
                          <a:prstDash val="solid"/>
                          <a:miter lim="800000"/>
                        </a:ln>
                        <a:effectLst>
                          <a:outerShdw blurRad="76200" dist="25400" dir="2700000" sx="101000" sy="101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57" name="Oval 56"/>
                        <p:cNvSpPr/>
                        <p:nvPr/>
                      </p:nvSpPr>
                      <p:spPr>
                        <a:xfrm>
                          <a:off x="1034527" y="2224087"/>
                          <a:ext cx="1013776" cy="1013774"/>
                        </a:xfrm>
                        <a:prstGeom prst="ellipse">
                          <a:avLst/>
                        </a:prstGeom>
                        <a:gradFill>
                          <a:gsLst>
                            <a:gs pos="0">
                              <a:srgbClr val="93D998"/>
                            </a:gs>
                            <a:gs pos="100000">
                              <a:srgbClr val="64C96B"/>
                            </a:gs>
                          </a:gsLst>
                          <a:path path="circle">
                            <a:fillToRect l="50000" t="50000" r="50000" b="50000"/>
                          </a:path>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55" name="Tåre 106"/>
                      <p:cNvSpPr/>
                      <p:nvPr/>
                    </p:nvSpPr>
                    <p:spPr bwMode="auto">
                      <a:xfrm>
                        <a:off x="384732" y="2428903"/>
                        <a:ext cx="1052639" cy="1039481"/>
                      </a:xfrm>
                      <a:prstGeom prst="ellipse">
                        <a:avLst/>
                      </a:prstGeom>
                      <a:gradFill flip="none" rotWithShape="1">
                        <a:gsLst>
                          <a:gs pos="45000">
                            <a:srgbClr val="FFFFFF">
                              <a:lumMod val="40000"/>
                              <a:lumOff val="60000"/>
                              <a:alpha val="0"/>
                            </a:srgbClr>
                          </a:gs>
                          <a:gs pos="100000">
                            <a:srgbClr val="FFFCF9">
                              <a:alpha val="75000"/>
                            </a:srgbClr>
                          </a:gs>
                        </a:gsLst>
                        <a:lin ang="16200000" scaled="1"/>
                        <a:tileRect/>
                      </a:gradFill>
                      <a:ln w="9525" cap="flat" cmpd="sng" algn="ctr">
                        <a:noFill/>
                        <a:prstDash val="soli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ctr" defTabSz="914400" rtl="0" eaLnBrk="1" fontAlgn="auto" latinLnBrk="0" hangingPunct="1">
                          <a:lnSpc>
                            <a:spcPct val="100000"/>
                          </a:lnSpc>
                          <a:spcBef>
                            <a:spcPts val="0"/>
                          </a:spcBef>
                          <a:spcAft>
                            <a:spcPts val="0"/>
                          </a:spcAft>
                          <a:buClrTx/>
                          <a:buSzTx/>
                          <a:buFont typeface="+mj-lt"/>
                          <a:buAutoNum type="arabicPeriod"/>
                          <a:tabLst/>
                          <a:defRPr/>
                        </a:pPr>
                        <a:endParaRPr kumimoji="0" lang="da-DK" sz="1800" b="0"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endParaRPr>
                      </a:p>
                    </p:txBody>
                  </p:sp>
                </p:grpSp>
                <p:grpSp>
                  <p:nvGrpSpPr>
                    <p:cNvPr id="49" name="Group 48"/>
                    <p:cNvGrpSpPr/>
                    <p:nvPr/>
                  </p:nvGrpSpPr>
                  <p:grpSpPr>
                    <a:xfrm>
                      <a:off x="3258343" y="2433739"/>
                      <a:ext cx="195336" cy="174886"/>
                      <a:chOff x="7352478" y="1412711"/>
                      <a:chExt cx="845488" cy="756966"/>
                    </a:xfrm>
                    <a:solidFill>
                      <a:sysClr val="window" lastClr="FFFFFF"/>
                    </a:solidFill>
                  </p:grpSpPr>
                  <p:sp>
                    <p:nvSpPr>
                      <p:cNvPr id="50" name="Rectangle 1"/>
                      <p:cNvSpPr/>
                      <p:nvPr/>
                    </p:nvSpPr>
                    <p:spPr>
                      <a:xfrm>
                        <a:off x="7579293" y="1412711"/>
                        <a:ext cx="618673" cy="331756"/>
                      </a:xfrm>
                      <a:custGeom>
                        <a:avLst/>
                        <a:gdLst>
                          <a:gd name="connsiteX0" fmla="*/ 0 w 4516017"/>
                          <a:gd name="connsiteY0" fmla="*/ 0 h 2612572"/>
                          <a:gd name="connsiteX1" fmla="*/ 4516017 w 4516017"/>
                          <a:gd name="connsiteY1" fmla="*/ 0 h 2612572"/>
                          <a:gd name="connsiteX2" fmla="*/ 4516017 w 4516017"/>
                          <a:gd name="connsiteY2" fmla="*/ 2612572 h 2612572"/>
                          <a:gd name="connsiteX3" fmla="*/ 0 w 4516017"/>
                          <a:gd name="connsiteY3" fmla="*/ 2612572 h 2612572"/>
                          <a:gd name="connsiteX4" fmla="*/ 0 w 4516017"/>
                          <a:gd name="connsiteY4" fmla="*/ 0 h 2612572"/>
                          <a:gd name="connsiteX0" fmla="*/ 0 w 4516017"/>
                          <a:gd name="connsiteY0" fmla="*/ 37322 h 2649894"/>
                          <a:gd name="connsiteX1" fmla="*/ 3638940 w 4516017"/>
                          <a:gd name="connsiteY1" fmla="*/ 0 h 2649894"/>
                          <a:gd name="connsiteX2" fmla="*/ 4516017 w 4516017"/>
                          <a:gd name="connsiteY2" fmla="*/ 2649894 h 2649894"/>
                          <a:gd name="connsiteX3" fmla="*/ 0 w 4516017"/>
                          <a:gd name="connsiteY3" fmla="*/ 2649894 h 2649894"/>
                          <a:gd name="connsiteX4" fmla="*/ 0 w 4516017"/>
                          <a:gd name="connsiteY4" fmla="*/ 37322 h 2649894"/>
                          <a:gd name="connsiteX0" fmla="*/ 0 w 4453264"/>
                          <a:gd name="connsiteY0" fmla="*/ 37322 h 2649894"/>
                          <a:gd name="connsiteX1" fmla="*/ 3638940 w 4453264"/>
                          <a:gd name="connsiteY1" fmla="*/ 0 h 2649894"/>
                          <a:gd name="connsiteX2" fmla="*/ 4453264 w 4453264"/>
                          <a:gd name="connsiteY2" fmla="*/ 1457588 h 2649894"/>
                          <a:gd name="connsiteX3" fmla="*/ 0 w 4453264"/>
                          <a:gd name="connsiteY3" fmla="*/ 2649894 h 2649894"/>
                          <a:gd name="connsiteX4" fmla="*/ 0 w 4453264"/>
                          <a:gd name="connsiteY4" fmla="*/ 37322 h 2649894"/>
                          <a:gd name="connsiteX0" fmla="*/ 0 w 4453264"/>
                          <a:gd name="connsiteY0" fmla="*/ 0 h 2612572"/>
                          <a:gd name="connsiteX1" fmla="*/ 3576188 w 4453264"/>
                          <a:gd name="connsiteY1" fmla="*/ 25431 h 2612572"/>
                          <a:gd name="connsiteX2" fmla="*/ 4453264 w 4453264"/>
                          <a:gd name="connsiteY2" fmla="*/ 1420266 h 2612572"/>
                          <a:gd name="connsiteX3" fmla="*/ 0 w 4453264"/>
                          <a:gd name="connsiteY3" fmla="*/ 2612572 h 2612572"/>
                          <a:gd name="connsiteX4" fmla="*/ 0 w 4453264"/>
                          <a:gd name="connsiteY4" fmla="*/ 0 h 2612572"/>
                          <a:gd name="connsiteX0" fmla="*/ 0 w 4471193"/>
                          <a:gd name="connsiteY0" fmla="*/ 0 h 2612572"/>
                          <a:gd name="connsiteX1" fmla="*/ 3576188 w 4471193"/>
                          <a:gd name="connsiteY1" fmla="*/ 25431 h 2612572"/>
                          <a:gd name="connsiteX2" fmla="*/ 4471193 w 4471193"/>
                          <a:gd name="connsiteY2" fmla="*/ 1007890 h 2612572"/>
                          <a:gd name="connsiteX3" fmla="*/ 0 w 4471193"/>
                          <a:gd name="connsiteY3" fmla="*/ 2612572 h 2612572"/>
                          <a:gd name="connsiteX4" fmla="*/ 0 w 4471193"/>
                          <a:gd name="connsiteY4" fmla="*/ 0 h 2612572"/>
                          <a:gd name="connsiteX0" fmla="*/ 0 w 4471193"/>
                          <a:gd name="connsiteY0" fmla="*/ 0 h 2612572"/>
                          <a:gd name="connsiteX1" fmla="*/ 3637873 w 4471193"/>
                          <a:gd name="connsiteY1" fmla="*/ 94374 h 2612572"/>
                          <a:gd name="connsiteX2" fmla="*/ 4471193 w 4471193"/>
                          <a:gd name="connsiteY2" fmla="*/ 1007890 h 2612572"/>
                          <a:gd name="connsiteX3" fmla="*/ 0 w 4471193"/>
                          <a:gd name="connsiteY3" fmla="*/ 2612572 h 2612572"/>
                          <a:gd name="connsiteX4" fmla="*/ 0 w 4471193"/>
                          <a:gd name="connsiteY4" fmla="*/ 0 h 2612572"/>
                          <a:gd name="connsiteX0" fmla="*/ 0 w 4394993"/>
                          <a:gd name="connsiteY0" fmla="*/ 0 h 2612572"/>
                          <a:gd name="connsiteX1" fmla="*/ 3637873 w 4394993"/>
                          <a:gd name="connsiteY1" fmla="*/ 94374 h 2612572"/>
                          <a:gd name="connsiteX2" fmla="*/ 4394993 w 4394993"/>
                          <a:gd name="connsiteY2" fmla="*/ 913547 h 2612572"/>
                          <a:gd name="connsiteX3" fmla="*/ 0 w 4394993"/>
                          <a:gd name="connsiteY3" fmla="*/ 2612572 h 2612572"/>
                          <a:gd name="connsiteX4" fmla="*/ 0 w 4394993"/>
                          <a:gd name="connsiteY4" fmla="*/ 0 h 2612572"/>
                          <a:gd name="connsiteX0" fmla="*/ 0 w 4394993"/>
                          <a:gd name="connsiteY0" fmla="*/ 0 h 2612572"/>
                          <a:gd name="connsiteX1" fmla="*/ 3645131 w 4394993"/>
                          <a:gd name="connsiteY1" fmla="*/ 94374 h 2612572"/>
                          <a:gd name="connsiteX2" fmla="*/ 4394993 w 4394993"/>
                          <a:gd name="connsiteY2" fmla="*/ 913547 h 2612572"/>
                          <a:gd name="connsiteX3" fmla="*/ 0 w 4394993"/>
                          <a:gd name="connsiteY3" fmla="*/ 2612572 h 2612572"/>
                          <a:gd name="connsiteX4" fmla="*/ 0 w 4394993"/>
                          <a:gd name="connsiteY4" fmla="*/ 0 h 2612572"/>
                          <a:gd name="connsiteX0" fmla="*/ 0 w 4394993"/>
                          <a:gd name="connsiteY0" fmla="*/ 0 h 2612572"/>
                          <a:gd name="connsiteX1" fmla="*/ 2698102 w 4394993"/>
                          <a:gd name="connsiteY1" fmla="*/ 71535 h 2612572"/>
                          <a:gd name="connsiteX2" fmla="*/ 3645131 w 4394993"/>
                          <a:gd name="connsiteY2" fmla="*/ 94374 h 2612572"/>
                          <a:gd name="connsiteX3" fmla="*/ 4394993 w 4394993"/>
                          <a:gd name="connsiteY3" fmla="*/ 913547 h 2612572"/>
                          <a:gd name="connsiteX4" fmla="*/ 0 w 4394993"/>
                          <a:gd name="connsiteY4" fmla="*/ 2612572 h 2612572"/>
                          <a:gd name="connsiteX5" fmla="*/ 0 w 4394993"/>
                          <a:gd name="connsiteY5" fmla="*/ 0 h 2612572"/>
                          <a:gd name="connsiteX0" fmla="*/ 0 w 4394993"/>
                          <a:gd name="connsiteY0" fmla="*/ 0 h 2612572"/>
                          <a:gd name="connsiteX1" fmla="*/ 3158930 w 4394993"/>
                          <a:gd name="connsiteY1" fmla="*/ 60650 h 2612572"/>
                          <a:gd name="connsiteX2" fmla="*/ 3645131 w 4394993"/>
                          <a:gd name="connsiteY2" fmla="*/ 94374 h 2612572"/>
                          <a:gd name="connsiteX3" fmla="*/ 4394993 w 4394993"/>
                          <a:gd name="connsiteY3" fmla="*/ 913547 h 2612572"/>
                          <a:gd name="connsiteX4" fmla="*/ 0 w 4394993"/>
                          <a:gd name="connsiteY4" fmla="*/ 2612572 h 2612572"/>
                          <a:gd name="connsiteX5" fmla="*/ 0 w 4394993"/>
                          <a:gd name="connsiteY5" fmla="*/ 0 h 2612572"/>
                          <a:gd name="connsiteX0" fmla="*/ 0 w 4394993"/>
                          <a:gd name="connsiteY0" fmla="*/ 0 h 2612572"/>
                          <a:gd name="connsiteX1" fmla="*/ 2306217 w 4394993"/>
                          <a:gd name="connsiteY1" fmla="*/ 46135 h 2612572"/>
                          <a:gd name="connsiteX2" fmla="*/ 3158930 w 4394993"/>
                          <a:gd name="connsiteY2" fmla="*/ 60650 h 2612572"/>
                          <a:gd name="connsiteX3" fmla="*/ 3645131 w 4394993"/>
                          <a:gd name="connsiteY3" fmla="*/ 94374 h 2612572"/>
                          <a:gd name="connsiteX4" fmla="*/ 4394993 w 4394993"/>
                          <a:gd name="connsiteY4" fmla="*/ 913547 h 2612572"/>
                          <a:gd name="connsiteX5" fmla="*/ 0 w 4394993"/>
                          <a:gd name="connsiteY5" fmla="*/ 2612572 h 2612572"/>
                          <a:gd name="connsiteX6" fmla="*/ 0 w 4394993"/>
                          <a:gd name="connsiteY6" fmla="*/ 0 h 2612572"/>
                          <a:gd name="connsiteX0" fmla="*/ 0 w 4394993"/>
                          <a:gd name="connsiteY0" fmla="*/ 0 h 2612572"/>
                          <a:gd name="connsiteX1" fmla="*/ 2679960 w 4394993"/>
                          <a:gd name="connsiteY1" fmla="*/ 292878 h 2612572"/>
                          <a:gd name="connsiteX2" fmla="*/ 3158930 w 4394993"/>
                          <a:gd name="connsiteY2" fmla="*/ 60650 h 2612572"/>
                          <a:gd name="connsiteX3" fmla="*/ 3645131 w 4394993"/>
                          <a:gd name="connsiteY3" fmla="*/ 94374 h 2612572"/>
                          <a:gd name="connsiteX4" fmla="*/ 4394993 w 4394993"/>
                          <a:gd name="connsiteY4" fmla="*/ 913547 h 2612572"/>
                          <a:gd name="connsiteX5" fmla="*/ 0 w 4394993"/>
                          <a:gd name="connsiteY5" fmla="*/ 2612572 h 2612572"/>
                          <a:gd name="connsiteX6" fmla="*/ 0 w 4394993"/>
                          <a:gd name="connsiteY6" fmla="*/ 0 h 2612572"/>
                          <a:gd name="connsiteX0" fmla="*/ 0 w 4394993"/>
                          <a:gd name="connsiteY0" fmla="*/ 0 h 2612572"/>
                          <a:gd name="connsiteX1" fmla="*/ 2679960 w 4394993"/>
                          <a:gd name="connsiteY1" fmla="*/ 292878 h 2612572"/>
                          <a:gd name="connsiteX2" fmla="*/ 3158930 w 4394993"/>
                          <a:gd name="connsiteY2" fmla="*/ 60650 h 2612572"/>
                          <a:gd name="connsiteX3" fmla="*/ 3645131 w 4394993"/>
                          <a:gd name="connsiteY3" fmla="*/ 94374 h 2612572"/>
                          <a:gd name="connsiteX4" fmla="*/ 4394993 w 4394993"/>
                          <a:gd name="connsiteY4" fmla="*/ 913547 h 2612572"/>
                          <a:gd name="connsiteX5" fmla="*/ 0 w 4394993"/>
                          <a:gd name="connsiteY5" fmla="*/ 2612572 h 2612572"/>
                          <a:gd name="connsiteX6" fmla="*/ 0 w 4394993"/>
                          <a:gd name="connsiteY6" fmla="*/ 0 h 2612572"/>
                          <a:gd name="connsiteX0" fmla="*/ 0 w 4394993"/>
                          <a:gd name="connsiteY0" fmla="*/ 9251 h 2621823"/>
                          <a:gd name="connsiteX1" fmla="*/ 2679960 w 4394993"/>
                          <a:gd name="connsiteY1" fmla="*/ 302129 h 2621823"/>
                          <a:gd name="connsiteX2" fmla="*/ 3158930 w 4394993"/>
                          <a:gd name="connsiteY2" fmla="*/ 69901 h 2621823"/>
                          <a:gd name="connsiteX3" fmla="*/ 3645131 w 4394993"/>
                          <a:gd name="connsiteY3" fmla="*/ 103625 h 2621823"/>
                          <a:gd name="connsiteX4" fmla="*/ 4394993 w 4394993"/>
                          <a:gd name="connsiteY4" fmla="*/ 922798 h 2621823"/>
                          <a:gd name="connsiteX5" fmla="*/ 0 w 4394993"/>
                          <a:gd name="connsiteY5" fmla="*/ 2621823 h 2621823"/>
                          <a:gd name="connsiteX6" fmla="*/ 0 w 4394993"/>
                          <a:gd name="connsiteY6" fmla="*/ 9251 h 2621823"/>
                          <a:gd name="connsiteX0" fmla="*/ 0 w 4394993"/>
                          <a:gd name="connsiteY0" fmla="*/ 21038 h 2633610"/>
                          <a:gd name="connsiteX1" fmla="*/ 2679960 w 4394993"/>
                          <a:gd name="connsiteY1" fmla="*/ 313916 h 2633610"/>
                          <a:gd name="connsiteX2" fmla="*/ 3158930 w 4394993"/>
                          <a:gd name="connsiteY2" fmla="*/ 81688 h 2633610"/>
                          <a:gd name="connsiteX3" fmla="*/ 3645131 w 4394993"/>
                          <a:gd name="connsiteY3" fmla="*/ 115412 h 2633610"/>
                          <a:gd name="connsiteX4" fmla="*/ 4394993 w 4394993"/>
                          <a:gd name="connsiteY4" fmla="*/ 934585 h 2633610"/>
                          <a:gd name="connsiteX5" fmla="*/ 0 w 4394993"/>
                          <a:gd name="connsiteY5" fmla="*/ 2633610 h 2633610"/>
                          <a:gd name="connsiteX6" fmla="*/ 0 w 4394993"/>
                          <a:gd name="connsiteY6" fmla="*/ 21038 h 2633610"/>
                          <a:gd name="connsiteX0" fmla="*/ 0 w 4394993"/>
                          <a:gd name="connsiteY0" fmla="*/ 16214 h 2628786"/>
                          <a:gd name="connsiteX1" fmla="*/ 2679960 w 4394993"/>
                          <a:gd name="connsiteY1" fmla="*/ 309092 h 2628786"/>
                          <a:gd name="connsiteX2" fmla="*/ 3158930 w 4394993"/>
                          <a:gd name="connsiteY2" fmla="*/ 76864 h 2628786"/>
                          <a:gd name="connsiteX3" fmla="*/ 3645131 w 4394993"/>
                          <a:gd name="connsiteY3" fmla="*/ 110588 h 2628786"/>
                          <a:gd name="connsiteX4" fmla="*/ 4394993 w 4394993"/>
                          <a:gd name="connsiteY4" fmla="*/ 929761 h 2628786"/>
                          <a:gd name="connsiteX5" fmla="*/ 0 w 4394993"/>
                          <a:gd name="connsiteY5" fmla="*/ 2628786 h 2628786"/>
                          <a:gd name="connsiteX6" fmla="*/ 0 w 4394993"/>
                          <a:gd name="connsiteY6" fmla="*/ 16214 h 2628786"/>
                          <a:gd name="connsiteX0" fmla="*/ 0 w 4394993"/>
                          <a:gd name="connsiteY0" fmla="*/ 21436 h 2634008"/>
                          <a:gd name="connsiteX1" fmla="*/ 2679960 w 4394993"/>
                          <a:gd name="connsiteY1" fmla="*/ 314314 h 2634008"/>
                          <a:gd name="connsiteX2" fmla="*/ 3148045 w 4394993"/>
                          <a:gd name="connsiteY2" fmla="*/ 74829 h 2634008"/>
                          <a:gd name="connsiteX3" fmla="*/ 3645131 w 4394993"/>
                          <a:gd name="connsiteY3" fmla="*/ 115810 h 2634008"/>
                          <a:gd name="connsiteX4" fmla="*/ 4394993 w 4394993"/>
                          <a:gd name="connsiteY4" fmla="*/ 934983 h 2634008"/>
                          <a:gd name="connsiteX5" fmla="*/ 0 w 4394993"/>
                          <a:gd name="connsiteY5" fmla="*/ 2634008 h 2634008"/>
                          <a:gd name="connsiteX6" fmla="*/ 0 w 4394993"/>
                          <a:gd name="connsiteY6" fmla="*/ 21436 h 2634008"/>
                          <a:gd name="connsiteX0" fmla="*/ 0 w 4394993"/>
                          <a:gd name="connsiteY0" fmla="*/ 21436 h 2634008"/>
                          <a:gd name="connsiteX1" fmla="*/ 2679960 w 4394993"/>
                          <a:gd name="connsiteY1" fmla="*/ 314314 h 2634008"/>
                          <a:gd name="connsiteX2" fmla="*/ 3148045 w 4394993"/>
                          <a:gd name="connsiteY2" fmla="*/ 74829 h 2634008"/>
                          <a:gd name="connsiteX3" fmla="*/ 3645131 w 4394993"/>
                          <a:gd name="connsiteY3" fmla="*/ 115810 h 2634008"/>
                          <a:gd name="connsiteX4" fmla="*/ 4394993 w 4394993"/>
                          <a:gd name="connsiteY4" fmla="*/ 934983 h 2634008"/>
                          <a:gd name="connsiteX5" fmla="*/ 0 w 4394993"/>
                          <a:gd name="connsiteY5" fmla="*/ 2634008 h 2634008"/>
                          <a:gd name="connsiteX6" fmla="*/ 0 w 4394993"/>
                          <a:gd name="connsiteY6" fmla="*/ 21436 h 2634008"/>
                          <a:gd name="connsiteX0" fmla="*/ 0 w 4394993"/>
                          <a:gd name="connsiteY0" fmla="*/ 18213 h 2630785"/>
                          <a:gd name="connsiteX1" fmla="*/ 2679960 w 4394993"/>
                          <a:gd name="connsiteY1" fmla="*/ 311091 h 2630785"/>
                          <a:gd name="connsiteX2" fmla="*/ 3148045 w 4394993"/>
                          <a:gd name="connsiteY2" fmla="*/ 71606 h 2630785"/>
                          <a:gd name="connsiteX3" fmla="*/ 3645131 w 4394993"/>
                          <a:gd name="connsiteY3" fmla="*/ 112587 h 2630785"/>
                          <a:gd name="connsiteX4" fmla="*/ 4394993 w 4394993"/>
                          <a:gd name="connsiteY4" fmla="*/ 931760 h 2630785"/>
                          <a:gd name="connsiteX5" fmla="*/ 0 w 4394993"/>
                          <a:gd name="connsiteY5" fmla="*/ 2630785 h 2630785"/>
                          <a:gd name="connsiteX6" fmla="*/ 0 w 4394993"/>
                          <a:gd name="connsiteY6" fmla="*/ 18213 h 2630785"/>
                          <a:gd name="connsiteX0" fmla="*/ 0 w 4394993"/>
                          <a:gd name="connsiteY0" fmla="*/ 29361 h 2641933"/>
                          <a:gd name="connsiteX1" fmla="*/ 2679960 w 4394993"/>
                          <a:gd name="connsiteY1" fmla="*/ 322239 h 2641933"/>
                          <a:gd name="connsiteX2" fmla="*/ 3148045 w 4394993"/>
                          <a:gd name="connsiteY2" fmla="*/ 82754 h 2641933"/>
                          <a:gd name="connsiteX3" fmla="*/ 3645131 w 4394993"/>
                          <a:gd name="connsiteY3" fmla="*/ 123735 h 2641933"/>
                          <a:gd name="connsiteX4" fmla="*/ 4394993 w 4394993"/>
                          <a:gd name="connsiteY4" fmla="*/ 942908 h 2641933"/>
                          <a:gd name="connsiteX5" fmla="*/ 0 w 4394993"/>
                          <a:gd name="connsiteY5" fmla="*/ 2641933 h 2641933"/>
                          <a:gd name="connsiteX6" fmla="*/ 0 w 4394993"/>
                          <a:gd name="connsiteY6" fmla="*/ 29361 h 2641933"/>
                          <a:gd name="connsiteX0" fmla="*/ 0 w 4394993"/>
                          <a:gd name="connsiteY0" fmla="*/ 21450 h 2634022"/>
                          <a:gd name="connsiteX1" fmla="*/ 2679960 w 4394993"/>
                          <a:gd name="connsiteY1" fmla="*/ 314328 h 2634022"/>
                          <a:gd name="connsiteX2" fmla="*/ 3148045 w 4394993"/>
                          <a:gd name="connsiteY2" fmla="*/ 74843 h 2634022"/>
                          <a:gd name="connsiteX3" fmla="*/ 3670531 w 4394993"/>
                          <a:gd name="connsiteY3" fmla="*/ 141224 h 2634022"/>
                          <a:gd name="connsiteX4" fmla="*/ 4394993 w 4394993"/>
                          <a:gd name="connsiteY4" fmla="*/ 934997 h 2634022"/>
                          <a:gd name="connsiteX5" fmla="*/ 0 w 4394993"/>
                          <a:gd name="connsiteY5" fmla="*/ 2634022 h 2634022"/>
                          <a:gd name="connsiteX6" fmla="*/ 0 w 4394993"/>
                          <a:gd name="connsiteY6" fmla="*/ 21450 h 2634022"/>
                          <a:gd name="connsiteX0" fmla="*/ 0 w 4394993"/>
                          <a:gd name="connsiteY0" fmla="*/ 21450 h 2634022"/>
                          <a:gd name="connsiteX1" fmla="*/ 2679960 w 4394993"/>
                          <a:gd name="connsiteY1" fmla="*/ 314328 h 2634022"/>
                          <a:gd name="connsiteX2" fmla="*/ 3148045 w 4394993"/>
                          <a:gd name="connsiteY2" fmla="*/ 74843 h 2634022"/>
                          <a:gd name="connsiteX3" fmla="*/ 3670531 w 4394993"/>
                          <a:gd name="connsiteY3" fmla="*/ 141224 h 2634022"/>
                          <a:gd name="connsiteX4" fmla="*/ 4394993 w 4394993"/>
                          <a:gd name="connsiteY4" fmla="*/ 934997 h 2634022"/>
                          <a:gd name="connsiteX5" fmla="*/ 3859245 w 4394993"/>
                          <a:gd name="connsiteY5" fmla="*/ 1130756 h 2634022"/>
                          <a:gd name="connsiteX6" fmla="*/ 0 w 4394993"/>
                          <a:gd name="connsiteY6" fmla="*/ 2634022 h 2634022"/>
                          <a:gd name="connsiteX7" fmla="*/ 0 w 4394993"/>
                          <a:gd name="connsiteY7" fmla="*/ 21450 h 2634022"/>
                          <a:gd name="connsiteX0" fmla="*/ 0 w 4465217"/>
                          <a:gd name="connsiteY0" fmla="*/ 21450 h 2634022"/>
                          <a:gd name="connsiteX1" fmla="*/ 2679960 w 4465217"/>
                          <a:gd name="connsiteY1" fmla="*/ 314328 h 2634022"/>
                          <a:gd name="connsiteX2" fmla="*/ 3148045 w 4465217"/>
                          <a:gd name="connsiteY2" fmla="*/ 74843 h 2634022"/>
                          <a:gd name="connsiteX3" fmla="*/ 3670531 w 4465217"/>
                          <a:gd name="connsiteY3" fmla="*/ 141224 h 2634022"/>
                          <a:gd name="connsiteX4" fmla="*/ 4394993 w 4465217"/>
                          <a:gd name="connsiteY4" fmla="*/ 934997 h 2634022"/>
                          <a:gd name="connsiteX5" fmla="*/ 4465217 w 4465217"/>
                          <a:gd name="connsiteY5" fmla="*/ 1348470 h 2634022"/>
                          <a:gd name="connsiteX6" fmla="*/ 0 w 4465217"/>
                          <a:gd name="connsiteY6" fmla="*/ 2634022 h 2634022"/>
                          <a:gd name="connsiteX7" fmla="*/ 0 w 4465217"/>
                          <a:gd name="connsiteY7" fmla="*/ 21450 h 2634022"/>
                          <a:gd name="connsiteX0" fmla="*/ 0 w 4465217"/>
                          <a:gd name="connsiteY0" fmla="*/ 21450 h 2634022"/>
                          <a:gd name="connsiteX1" fmla="*/ 2679960 w 4465217"/>
                          <a:gd name="connsiteY1" fmla="*/ 314328 h 2634022"/>
                          <a:gd name="connsiteX2" fmla="*/ 3148045 w 4465217"/>
                          <a:gd name="connsiteY2" fmla="*/ 74843 h 2634022"/>
                          <a:gd name="connsiteX3" fmla="*/ 3670531 w 4465217"/>
                          <a:gd name="connsiteY3" fmla="*/ 141224 h 2634022"/>
                          <a:gd name="connsiteX4" fmla="*/ 4394993 w 4465217"/>
                          <a:gd name="connsiteY4" fmla="*/ 934997 h 2634022"/>
                          <a:gd name="connsiteX5" fmla="*/ 4465217 w 4465217"/>
                          <a:gd name="connsiteY5" fmla="*/ 1348470 h 2634022"/>
                          <a:gd name="connsiteX6" fmla="*/ 3296817 w 4465217"/>
                          <a:gd name="connsiteY6" fmla="*/ 1678671 h 2634022"/>
                          <a:gd name="connsiteX7" fmla="*/ 0 w 4465217"/>
                          <a:gd name="connsiteY7" fmla="*/ 2634022 h 2634022"/>
                          <a:gd name="connsiteX8" fmla="*/ 0 w 4465217"/>
                          <a:gd name="connsiteY8" fmla="*/ 21450 h 2634022"/>
                          <a:gd name="connsiteX0" fmla="*/ 0 w 4465217"/>
                          <a:gd name="connsiteY0" fmla="*/ 21450 h 2634022"/>
                          <a:gd name="connsiteX1" fmla="*/ 2679960 w 4465217"/>
                          <a:gd name="connsiteY1" fmla="*/ 314328 h 2634022"/>
                          <a:gd name="connsiteX2" fmla="*/ 3148045 w 4465217"/>
                          <a:gd name="connsiteY2" fmla="*/ 74843 h 2634022"/>
                          <a:gd name="connsiteX3" fmla="*/ 3670531 w 4465217"/>
                          <a:gd name="connsiteY3" fmla="*/ 141224 h 2634022"/>
                          <a:gd name="connsiteX4" fmla="*/ 4394993 w 4465217"/>
                          <a:gd name="connsiteY4" fmla="*/ 934997 h 2634022"/>
                          <a:gd name="connsiteX5" fmla="*/ 4465217 w 4465217"/>
                          <a:gd name="connsiteY5" fmla="*/ 1348470 h 2634022"/>
                          <a:gd name="connsiteX6" fmla="*/ 4171303 w 4465217"/>
                          <a:gd name="connsiteY6" fmla="*/ 1689557 h 2634022"/>
                          <a:gd name="connsiteX7" fmla="*/ 0 w 4465217"/>
                          <a:gd name="connsiteY7" fmla="*/ 2634022 h 2634022"/>
                          <a:gd name="connsiteX8" fmla="*/ 0 w 4465217"/>
                          <a:gd name="connsiteY8" fmla="*/ 21450 h 2634022"/>
                          <a:gd name="connsiteX0" fmla="*/ 0 w 4487666"/>
                          <a:gd name="connsiteY0" fmla="*/ 21450 h 2634022"/>
                          <a:gd name="connsiteX1" fmla="*/ 2679960 w 4487666"/>
                          <a:gd name="connsiteY1" fmla="*/ 314328 h 2634022"/>
                          <a:gd name="connsiteX2" fmla="*/ 3148045 w 4487666"/>
                          <a:gd name="connsiteY2" fmla="*/ 74843 h 2634022"/>
                          <a:gd name="connsiteX3" fmla="*/ 3670531 w 4487666"/>
                          <a:gd name="connsiteY3" fmla="*/ 141224 h 2634022"/>
                          <a:gd name="connsiteX4" fmla="*/ 4394993 w 4487666"/>
                          <a:gd name="connsiteY4" fmla="*/ 934997 h 2634022"/>
                          <a:gd name="connsiteX5" fmla="*/ 4465217 w 4487666"/>
                          <a:gd name="connsiteY5" fmla="*/ 1348470 h 2634022"/>
                          <a:gd name="connsiteX6" fmla="*/ 4171303 w 4487666"/>
                          <a:gd name="connsiteY6" fmla="*/ 1689557 h 2634022"/>
                          <a:gd name="connsiteX7" fmla="*/ 0 w 4487666"/>
                          <a:gd name="connsiteY7" fmla="*/ 2634022 h 2634022"/>
                          <a:gd name="connsiteX8" fmla="*/ 0 w 4487666"/>
                          <a:gd name="connsiteY8" fmla="*/ 21450 h 2634022"/>
                          <a:gd name="connsiteX0" fmla="*/ 0 w 4494029"/>
                          <a:gd name="connsiteY0" fmla="*/ 21450 h 2634022"/>
                          <a:gd name="connsiteX1" fmla="*/ 2679960 w 4494029"/>
                          <a:gd name="connsiteY1" fmla="*/ 314328 h 2634022"/>
                          <a:gd name="connsiteX2" fmla="*/ 3148045 w 4494029"/>
                          <a:gd name="connsiteY2" fmla="*/ 74843 h 2634022"/>
                          <a:gd name="connsiteX3" fmla="*/ 3670531 w 4494029"/>
                          <a:gd name="connsiteY3" fmla="*/ 141224 h 2634022"/>
                          <a:gd name="connsiteX4" fmla="*/ 4394993 w 4494029"/>
                          <a:gd name="connsiteY4" fmla="*/ 934997 h 2634022"/>
                          <a:gd name="connsiteX5" fmla="*/ 4465217 w 4494029"/>
                          <a:gd name="connsiteY5" fmla="*/ 1348470 h 2634022"/>
                          <a:gd name="connsiteX6" fmla="*/ 4171303 w 4494029"/>
                          <a:gd name="connsiteY6" fmla="*/ 1689557 h 2634022"/>
                          <a:gd name="connsiteX7" fmla="*/ 0 w 4494029"/>
                          <a:gd name="connsiteY7" fmla="*/ 2634022 h 2634022"/>
                          <a:gd name="connsiteX8" fmla="*/ 0 w 4494029"/>
                          <a:gd name="connsiteY8"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0 w 4497210"/>
                          <a:gd name="connsiteY7" fmla="*/ 2634022 h 2634022"/>
                          <a:gd name="connsiteX8" fmla="*/ 0 w 4497210"/>
                          <a:gd name="connsiteY8"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0 w 4497210"/>
                          <a:gd name="connsiteY7" fmla="*/ 2634022 h 2634022"/>
                          <a:gd name="connsiteX8" fmla="*/ 0 w 4497210"/>
                          <a:gd name="connsiteY8"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2843243 w 4497210"/>
                          <a:gd name="connsiteY7" fmla="*/ 1987099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96703 w 4497210"/>
                          <a:gd name="connsiteY6" fmla="*/ 1700443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96703 w 4497210"/>
                          <a:gd name="connsiteY6" fmla="*/ 1700443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96703 w 4497210"/>
                          <a:gd name="connsiteY6" fmla="*/ 1700443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38646 w 4497210"/>
                          <a:gd name="connsiteY6" fmla="*/ 17149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38646 w 4497210"/>
                          <a:gd name="connsiteY6" fmla="*/ 17149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38646 w 4497210"/>
                          <a:gd name="connsiteY6" fmla="*/ 17149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5904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514529 w 4497210"/>
                          <a:gd name="connsiteY8" fmla="*/ 23572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429441 w 4497210"/>
                          <a:gd name="connsiteY9" fmla="*/ 2481746 h 2634022"/>
                          <a:gd name="connsiteX10" fmla="*/ 0 w 4497210"/>
                          <a:gd name="connsiteY10" fmla="*/ 2634022 h 2634022"/>
                          <a:gd name="connsiteX11" fmla="*/ 0 w 4497210"/>
                          <a:gd name="connsiteY11"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24513 w 4497210"/>
                          <a:gd name="connsiteY9" fmla="*/ 1396658 h 2634022"/>
                          <a:gd name="connsiteX10" fmla="*/ 0 w 4497210"/>
                          <a:gd name="connsiteY10" fmla="*/ 2634022 h 2634022"/>
                          <a:gd name="connsiteX11" fmla="*/ 0 w 4497210"/>
                          <a:gd name="connsiteY11"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0 w 4497210"/>
                          <a:gd name="connsiteY10" fmla="*/ 2634022 h 2634022"/>
                          <a:gd name="connsiteX11" fmla="*/ 0 w 4497210"/>
                          <a:gd name="connsiteY11"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1824413 w 4497210"/>
                          <a:gd name="connsiteY10" fmla="*/ 1763942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371785 w 4497210"/>
                          <a:gd name="connsiteY11" fmla="*/ 1777658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422077 w 4497210"/>
                          <a:gd name="connsiteY11" fmla="*/ 1261022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422077 w 4497210"/>
                          <a:gd name="connsiteY11" fmla="*/ 1261022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422077 w 4497210"/>
                          <a:gd name="connsiteY11" fmla="*/ 1261022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10113 w 4497210"/>
                          <a:gd name="connsiteY11" fmla="*/ 122444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380929 w 4497210"/>
                          <a:gd name="connsiteY12" fmla="*/ 1288454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380929 w 4497210"/>
                          <a:gd name="connsiteY12" fmla="*/ 1288454 h 2634022"/>
                          <a:gd name="connsiteX13" fmla="*/ 0 w 4497210"/>
                          <a:gd name="connsiteY13" fmla="*/ 2634022 h 2634022"/>
                          <a:gd name="connsiteX14" fmla="*/ 0 w 4497210"/>
                          <a:gd name="connsiteY14" fmla="*/ 21450 h 2634022"/>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0 w 4497210"/>
                          <a:gd name="connsiteY14"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0 w 4497210"/>
                          <a:gd name="connsiteY14"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0 w 4497210"/>
                          <a:gd name="connsiteY14"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210497 w 4497210"/>
                          <a:gd name="connsiteY14" fmla="*/ 904406 h 2435306"/>
                          <a:gd name="connsiteX15" fmla="*/ 0 w 4497210"/>
                          <a:gd name="connsiteY15"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45905 w 4497210"/>
                          <a:gd name="connsiteY14" fmla="*/ 1393610 h 2435306"/>
                          <a:gd name="connsiteX15" fmla="*/ 0 w 4497210"/>
                          <a:gd name="connsiteY15" fmla="*/ 21450 h 2435306"/>
                          <a:gd name="connsiteX0" fmla="*/ 42359 w 4539569"/>
                          <a:gd name="connsiteY0" fmla="*/ 21450 h 2435306"/>
                          <a:gd name="connsiteX1" fmla="*/ 2722319 w 4539569"/>
                          <a:gd name="connsiteY1" fmla="*/ 314328 h 2435306"/>
                          <a:gd name="connsiteX2" fmla="*/ 3190404 w 4539569"/>
                          <a:gd name="connsiteY2" fmla="*/ 74843 h 2435306"/>
                          <a:gd name="connsiteX3" fmla="*/ 3712890 w 4539569"/>
                          <a:gd name="connsiteY3" fmla="*/ 141224 h 2435306"/>
                          <a:gd name="connsiteX4" fmla="*/ 4437352 w 4539569"/>
                          <a:gd name="connsiteY4" fmla="*/ 934997 h 2435306"/>
                          <a:gd name="connsiteX5" fmla="*/ 4507576 w 4539569"/>
                          <a:gd name="connsiteY5" fmla="*/ 1348470 h 2435306"/>
                          <a:gd name="connsiteX6" fmla="*/ 4191891 w 4539569"/>
                          <a:gd name="connsiteY6" fmla="*/ 1725842 h 2435306"/>
                          <a:gd name="connsiteX7" fmla="*/ 3992317 w 4539569"/>
                          <a:gd name="connsiteY7" fmla="*/ 2324556 h 2435306"/>
                          <a:gd name="connsiteX8" fmla="*/ 3705659 w 4539569"/>
                          <a:gd name="connsiteY8" fmla="*/ 2408013 h 2435306"/>
                          <a:gd name="connsiteX9" fmla="*/ 2648584 w 4539569"/>
                          <a:gd name="connsiteY9" fmla="*/ 1401230 h 2435306"/>
                          <a:gd name="connsiteX10" fmla="*/ 2182240 w 4539569"/>
                          <a:gd name="connsiteY10" fmla="*/ 1302170 h 2435306"/>
                          <a:gd name="connsiteX11" fmla="*/ 1775332 w 4539569"/>
                          <a:gd name="connsiteY11" fmla="*/ 1247306 h 2435306"/>
                          <a:gd name="connsiteX12" fmla="*/ 1423288 w 4539569"/>
                          <a:gd name="connsiteY12" fmla="*/ 1288454 h 2435306"/>
                          <a:gd name="connsiteX13" fmla="*/ 481271 w 4539569"/>
                          <a:gd name="connsiteY13" fmla="*/ 1833922 h 2435306"/>
                          <a:gd name="connsiteX14" fmla="*/ 88264 w 4539569"/>
                          <a:gd name="connsiteY14" fmla="*/ 1393610 h 2435306"/>
                          <a:gd name="connsiteX15" fmla="*/ 42359 w 4539569"/>
                          <a:gd name="connsiteY15" fmla="*/ 21450 h 2435306"/>
                          <a:gd name="connsiteX0" fmla="*/ 55431 w 4552641"/>
                          <a:gd name="connsiteY0" fmla="*/ 21450 h 2435306"/>
                          <a:gd name="connsiteX1" fmla="*/ 2735391 w 4552641"/>
                          <a:gd name="connsiteY1" fmla="*/ 314328 h 2435306"/>
                          <a:gd name="connsiteX2" fmla="*/ 3203476 w 4552641"/>
                          <a:gd name="connsiteY2" fmla="*/ 74843 h 2435306"/>
                          <a:gd name="connsiteX3" fmla="*/ 3725962 w 4552641"/>
                          <a:gd name="connsiteY3" fmla="*/ 141224 h 2435306"/>
                          <a:gd name="connsiteX4" fmla="*/ 4450424 w 4552641"/>
                          <a:gd name="connsiteY4" fmla="*/ 934997 h 2435306"/>
                          <a:gd name="connsiteX5" fmla="*/ 4520648 w 4552641"/>
                          <a:gd name="connsiteY5" fmla="*/ 1348470 h 2435306"/>
                          <a:gd name="connsiteX6" fmla="*/ 4204963 w 4552641"/>
                          <a:gd name="connsiteY6" fmla="*/ 1725842 h 2435306"/>
                          <a:gd name="connsiteX7" fmla="*/ 4005389 w 4552641"/>
                          <a:gd name="connsiteY7" fmla="*/ 2324556 h 2435306"/>
                          <a:gd name="connsiteX8" fmla="*/ 3718731 w 4552641"/>
                          <a:gd name="connsiteY8" fmla="*/ 2408013 h 2435306"/>
                          <a:gd name="connsiteX9" fmla="*/ 2661656 w 4552641"/>
                          <a:gd name="connsiteY9" fmla="*/ 1401230 h 2435306"/>
                          <a:gd name="connsiteX10" fmla="*/ 2195312 w 4552641"/>
                          <a:gd name="connsiteY10" fmla="*/ 1302170 h 2435306"/>
                          <a:gd name="connsiteX11" fmla="*/ 1788404 w 4552641"/>
                          <a:gd name="connsiteY11" fmla="*/ 1247306 h 2435306"/>
                          <a:gd name="connsiteX12" fmla="*/ 1436360 w 4552641"/>
                          <a:gd name="connsiteY12" fmla="*/ 1288454 h 2435306"/>
                          <a:gd name="connsiteX13" fmla="*/ 494343 w 4552641"/>
                          <a:gd name="connsiteY13" fmla="*/ 1833922 h 2435306"/>
                          <a:gd name="connsiteX14" fmla="*/ 101336 w 4552641"/>
                          <a:gd name="connsiteY14" fmla="*/ 1393610 h 2435306"/>
                          <a:gd name="connsiteX15" fmla="*/ 55431 w 4552641"/>
                          <a:gd name="connsiteY15" fmla="*/ 21450 h 2435306"/>
                          <a:gd name="connsiteX0" fmla="*/ 49771 w 4546981"/>
                          <a:gd name="connsiteY0" fmla="*/ 21450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49771 w 4546981"/>
                          <a:gd name="connsiteY15" fmla="*/ 21450 h 2435306"/>
                          <a:gd name="connsiteX0" fmla="*/ 1508239 w 4546981"/>
                          <a:gd name="connsiteY0" fmla="*/ 332346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508239 w 4546981"/>
                          <a:gd name="connsiteY15" fmla="*/ 332346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32610 w 4527384"/>
                          <a:gd name="connsiteY0" fmla="*/ 483222 h 2435306"/>
                          <a:gd name="connsiteX1" fmla="*/ 2710134 w 4527384"/>
                          <a:gd name="connsiteY1" fmla="*/ 314328 h 2435306"/>
                          <a:gd name="connsiteX2" fmla="*/ 3178219 w 4527384"/>
                          <a:gd name="connsiteY2" fmla="*/ 74843 h 2435306"/>
                          <a:gd name="connsiteX3" fmla="*/ 3700705 w 4527384"/>
                          <a:gd name="connsiteY3" fmla="*/ 141224 h 2435306"/>
                          <a:gd name="connsiteX4" fmla="*/ 4425167 w 4527384"/>
                          <a:gd name="connsiteY4" fmla="*/ 934997 h 2435306"/>
                          <a:gd name="connsiteX5" fmla="*/ 4495391 w 4527384"/>
                          <a:gd name="connsiteY5" fmla="*/ 1348470 h 2435306"/>
                          <a:gd name="connsiteX6" fmla="*/ 4179706 w 4527384"/>
                          <a:gd name="connsiteY6" fmla="*/ 1725842 h 2435306"/>
                          <a:gd name="connsiteX7" fmla="*/ 3980132 w 4527384"/>
                          <a:gd name="connsiteY7" fmla="*/ 2324556 h 2435306"/>
                          <a:gd name="connsiteX8" fmla="*/ 3693474 w 4527384"/>
                          <a:gd name="connsiteY8" fmla="*/ 2408013 h 2435306"/>
                          <a:gd name="connsiteX9" fmla="*/ 2636399 w 4527384"/>
                          <a:gd name="connsiteY9" fmla="*/ 1401230 h 2435306"/>
                          <a:gd name="connsiteX10" fmla="*/ 2170055 w 4527384"/>
                          <a:gd name="connsiteY10" fmla="*/ 1302170 h 2435306"/>
                          <a:gd name="connsiteX11" fmla="*/ 1763147 w 4527384"/>
                          <a:gd name="connsiteY11" fmla="*/ 1247306 h 2435306"/>
                          <a:gd name="connsiteX12" fmla="*/ 1411103 w 4527384"/>
                          <a:gd name="connsiteY12" fmla="*/ 1288454 h 2435306"/>
                          <a:gd name="connsiteX13" fmla="*/ 469086 w 4527384"/>
                          <a:gd name="connsiteY13" fmla="*/ 1833922 h 2435306"/>
                          <a:gd name="connsiteX14" fmla="*/ 98939 w 4527384"/>
                          <a:gd name="connsiteY14" fmla="*/ 1347890 h 2435306"/>
                          <a:gd name="connsiteX15" fmla="*/ 1232610 w 4527384"/>
                          <a:gd name="connsiteY15" fmla="*/ 483222 h 2435306"/>
                          <a:gd name="connsiteX0" fmla="*/ 1247947 w 4542721"/>
                          <a:gd name="connsiteY0" fmla="*/ 483222 h 2435306"/>
                          <a:gd name="connsiteX1" fmla="*/ 2725471 w 4542721"/>
                          <a:gd name="connsiteY1" fmla="*/ 314328 h 2435306"/>
                          <a:gd name="connsiteX2" fmla="*/ 3193556 w 4542721"/>
                          <a:gd name="connsiteY2" fmla="*/ 74843 h 2435306"/>
                          <a:gd name="connsiteX3" fmla="*/ 3716042 w 4542721"/>
                          <a:gd name="connsiteY3" fmla="*/ 141224 h 2435306"/>
                          <a:gd name="connsiteX4" fmla="*/ 4440504 w 4542721"/>
                          <a:gd name="connsiteY4" fmla="*/ 934997 h 2435306"/>
                          <a:gd name="connsiteX5" fmla="*/ 4510728 w 4542721"/>
                          <a:gd name="connsiteY5" fmla="*/ 1348470 h 2435306"/>
                          <a:gd name="connsiteX6" fmla="*/ 4195043 w 4542721"/>
                          <a:gd name="connsiteY6" fmla="*/ 1725842 h 2435306"/>
                          <a:gd name="connsiteX7" fmla="*/ 3995469 w 4542721"/>
                          <a:gd name="connsiteY7" fmla="*/ 2324556 h 2435306"/>
                          <a:gd name="connsiteX8" fmla="*/ 3708811 w 4542721"/>
                          <a:gd name="connsiteY8" fmla="*/ 2408013 h 2435306"/>
                          <a:gd name="connsiteX9" fmla="*/ 2651736 w 4542721"/>
                          <a:gd name="connsiteY9" fmla="*/ 1401230 h 2435306"/>
                          <a:gd name="connsiteX10" fmla="*/ 2185392 w 4542721"/>
                          <a:gd name="connsiteY10" fmla="*/ 1302170 h 2435306"/>
                          <a:gd name="connsiteX11" fmla="*/ 1778484 w 4542721"/>
                          <a:gd name="connsiteY11" fmla="*/ 1247306 h 2435306"/>
                          <a:gd name="connsiteX12" fmla="*/ 1426440 w 4542721"/>
                          <a:gd name="connsiteY12" fmla="*/ 1288454 h 2435306"/>
                          <a:gd name="connsiteX13" fmla="*/ 484423 w 4542721"/>
                          <a:gd name="connsiteY13" fmla="*/ 1833922 h 2435306"/>
                          <a:gd name="connsiteX14" fmla="*/ 114276 w 4542721"/>
                          <a:gd name="connsiteY14" fmla="*/ 1347890 h 2435306"/>
                          <a:gd name="connsiteX15" fmla="*/ 1247947 w 4542721"/>
                          <a:gd name="connsiteY15" fmla="*/ 483222 h 2435306"/>
                          <a:gd name="connsiteX0" fmla="*/ 1246681 w 4541455"/>
                          <a:gd name="connsiteY0" fmla="*/ 483222 h 2435306"/>
                          <a:gd name="connsiteX1" fmla="*/ 2724205 w 4541455"/>
                          <a:gd name="connsiteY1" fmla="*/ 314328 h 2435306"/>
                          <a:gd name="connsiteX2" fmla="*/ 3192290 w 4541455"/>
                          <a:gd name="connsiteY2" fmla="*/ 74843 h 2435306"/>
                          <a:gd name="connsiteX3" fmla="*/ 3714776 w 4541455"/>
                          <a:gd name="connsiteY3" fmla="*/ 141224 h 2435306"/>
                          <a:gd name="connsiteX4" fmla="*/ 4439238 w 4541455"/>
                          <a:gd name="connsiteY4" fmla="*/ 934997 h 2435306"/>
                          <a:gd name="connsiteX5" fmla="*/ 4509462 w 4541455"/>
                          <a:gd name="connsiteY5" fmla="*/ 1348470 h 2435306"/>
                          <a:gd name="connsiteX6" fmla="*/ 4193777 w 4541455"/>
                          <a:gd name="connsiteY6" fmla="*/ 1725842 h 2435306"/>
                          <a:gd name="connsiteX7" fmla="*/ 3994203 w 4541455"/>
                          <a:gd name="connsiteY7" fmla="*/ 2324556 h 2435306"/>
                          <a:gd name="connsiteX8" fmla="*/ 3707545 w 4541455"/>
                          <a:gd name="connsiteY8" fmla="*/ 2408013 h 2435306"/>
                          <a:gd name="connsiteX9" fmla="*/ 2650470 w 4541455"/>
                          <a:gd name="connsiteY9" fmla="*/ 1401230 h 2435306"/>
                          <a:gd name="connsiteX10" fmla="*/ 2184126 w 4541455"/>
                          <a:gd name="connsiteY10" fmla="*/ 1302170 h 2435306"/>
                          <a:gd name="connsiteX11" fmla="*/ 1777218 w 4541455"/>
                          <a:gd name="connsiteY11" fmla="*/ 1247306 h 2435306"/>
                          <a:gd name="connsiteX12" fmla="*/ 1425174 w 4541455"/>
                          <a:gd name="connsiteY12" fmla="*/ 1288454 h 2435306"/>
                          <a:gd name="connsiteX13" fmla="*/ 483157 w 4541455"/>
                          <a:gd name="connsiteY13" fmla="*/ 1833922 h 2435306"/>
                          <a:gd name="connsiteX14" fmla="*/ 113010 w 4541455"/>
                          <a:gd name="connsiteY14" fmla="*/ 1347890 h 2435306"/>
                          <a:gd name="connsiteX15" fmla="*/ 1246681 w 4541455"/>
                          <a:gd name="connsiteY15" fmla="*/ 483222 h 243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41455" h="2435306">
                            <a:moveTo>
                              <a:pt x="1246681" y="483222"/>
                            </a:moveTo>
                            <a:cubicBezTo>
                              <a:pt x="1835201" y="52020"/>
                              <a:pt x="2396289" y="311190"/>
                              <a:pt x="2724205" y="314328"/>
                            </a:cubicBezTo>
                            <a:cubicBezTo>
                              <a:pt x="2960062" y="331262"/>
                              <a:pt x="3047147" y="170395"/>
                              <a:pt x="3192290" y="74843"/>
                            </a:cubicBezTo>
                            <a:cubicBezTo>
                              <a:pt x="3383386" y="-77202"/>
                              <a:pt x="3592623" y="32011"/>
                              <a:pt x="3714776" y="141224"/>
                            </a:cubicBezTo>
                            <a:lnTo>
                              <a:pt x="4439238" y="934997"/>
                            </a:lnTo>
                            <a:cubicBezTo>
                              <a:pt x="4506189" y="1003878"/>
                              <a:pt x="4587654" y="1116304"/>
                              <a:pt x="4509462" y="1348470"/>
                            </a:cubicBezTo>
                            <a:cubicBezTo>
                              <a:pt x="4436891" y="1483937"/>
                              <a:pt x="4280862" y="1633916"/>
                              <a:pt x="4193777" y="1725842"/>
                            </a:cubicBezTo>
                            <a:cubicBezTo>
                              <a:pt x="4115158" y="1959280"/>
                              <a:pt x="4076451" y="2116518"/>
                              <a:pt x="3994203" y="2324556"/>
                            </a:cubicBezTo>
                            <a:cubicBezTo>
                              <a:pt x="3956707" y="2399546"/>
                              <a:pt x="3850270" y="2478166"/>
                              <a:pt x="3707545" y="2408013"/>
                            </a:cubicBezTo>
                            <a:lnTo>
                              <a:pt x="2650470" y="1401230"/>
                            </a:lnTo>
                            <a:cubicBezTo>
                              <a:pt x="2581890" y="1340778"/>
                              <a:pt x="2463018" y="1243750"/>
                              <a:pt x="2184126" y="1302170"/>
                            </a:cubicBezTo>
                            <a:cubicBezTo>
                              <a:pt x="2066778" y="1309282"/>
                              <a:pt x="1983720" y="1304456"/>
                              <a:pt x="1777218" y="1247306"/>
                            </a:cubicBezTo>
                            <a:cubicBezTo>
                              <a:pt x="1726164" y="1217588"/>
                              <a:pt x="1655329" y="1154109"/>
                              <a:pt x="1425174" y="1288454"/>
                            </a:cubicBezTo>
                            <a:cubicBezTo>
                              <a:pt x="932860" y="1563241"/>
                              <a:pt x="756015" y="1710011"/>
                              <a:pt x="483157" y="1833922"/>
                            </a:cubicBezTo>
                            <a:cubicBezTo>
                              <a:pt x="246999" y="1938611"/>
                              <a:pt x="-213188" y="1691257"/>
                              <a:pt x="113010" y="1347890"/>
                            </a:cubicBezTo>
                            <a:lnTo>
                              <a:pt x="1246681" y="483222"/>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1" name="Rectangle 2"/>
                      <p:cNvSpPr/>
                      <p:nvPr/>
                    </p:nvSpPr>
                    <p:spPr>
                      <a:xfrm>
                        <a:off x="7352478" y="1414236"/>
                        <a:ext cx="385353" cy="383102"/>
                      </a:xfrm>
                      <a:custGeom>
                        <a:avLst/>
                        <a:gdLst>
                          <a:gd name="connsiteX0" fmla="*/ 0 w 2013626"/>
                          <a:gd name="connsiteY0" fmla="*/ 0 h 1327826"/>
                          <a:gd name="connsiteX1" fmla="*/ 2013626 w 2013626"/>
                          <a:gd name="connsiteY1" fmla="*/ 0 h 1327826"/>
                          <a:gd name="connsiteX2" fmla="*/ 2013626 w 2013626"/>
                          <a:gd name="connsiteY2" fmla="*/ 1327826 h 1327826"/>
                          <a:gd name="connsiteX3" fmla="*/ 0 w 2013626"/>
                          <a:gd name="connsiteY3" fmla="*/ 1327826 h 1327826"/>
                          <a:gd name="connsiteX4" fmla="*/ 0 w 2013626"/>
                          <a:gd name="connsiteY4" fmla="*/ 0 h 1327826"/>
                          <a:gd name="connsiteX0" fmla="*/ 311285 w 2324911"/>
                          <a:gd name="connsiteY0" fmla="*/ 0 h 1347281"/>
                          <a:gd name="connsiteX1" fmla="*/ 2324911 w 2324911"/>
                          <a:gd name="connsiteY1" fmla="*/ 0 h 1347281"/>
                          <a:gd name="connsiteX2" fmla="*/ 2324911 w 2324911"/>
                          <a:gd name="connsiteY2" fmla="*/ 1327826 h 1347281"/>
                          <a:gd name="connsiteX3" fmla="*/ 0 w 2324911"/>
                          <a:gd name="connsiteY3" fmla="*/ 1347281 h 1347281"/>
                          <a:gd name="connsiteX4" fmla="*/ 311285 w 2324911"/>
                          <a:gd name="connsiteY4" fmla="*/ 0 h 1347281"/>
                          <a:gd name="connsiteX0" fmla="*/ 38911 w 2324911"/>
                          <a:gd name="connsiteY0" fmla="*/ 768486 h 1347281"/>
                          <a:gd name="connsiteX1" fmla="*/ 2324911 w 2324911"/>
                          <a:gd name="connsiteY1" fmla="*/ 0 h 1347281"/>
                          <a:gd name="connsiteX2" fmla="*/ 2324911 w 2324911"/>
                          <a:gd name="connsiteY2" fmla="*/ 1327826 h 1347281"/>
                          <a:gd name="connsiteX3" fmla="*/ 0 w 2324911"/>
                          <a:gd name="connsiteY3" fmla="*/ 1347281 h 1347281"/>
                          <a:gd name="connsiteX4" fmla="*/ 38911 w 2324911"/>
                          <a:gd name="connsiteY4" fmla="*/ 768486 h 1347281"/>
                          <a:gd name="connsiteX0" fmla="*/ 38911 w 2324911"/>
                          <a:gd name="connsiteY0" fmla="*/ 972767 h 1551562"/>
                          <a:gd name="connsiteX1" fmla="*/ 928992 w 2324911"/>
                          <a:gd name="connsiteY1" fmla="*/ 0 h 1551562"/>
                          <a:gd name="connsiteX2" fmla="*/ 2324911 w 2324911"/>
                          <a:gd name="connsiteY2" fmla="*/ 1532107 h 1551562"/>
                          <a:gd name="connsiteX3" fmla="*/ 0 w 2324911"/>
                          <a:gd name="connsiteY3" fmla="*/ 1551562 h 1551562"/>
                          <a:gd name="connsiteX4" fmla="*/ 38911 w 2324911"/>
                          <a:gd name="connsiteY4" fmla="*/ 972767 h 1551562"/>
                          <a:gd name="connsiteX0" fmla="*/ 38911 w 1585609"/>
                          <a:gd name="connsiteY0" fmla="*/ 982494 h 1561289"/>
                          <a:gd name="connsiteX1" fmla="*/ 928992 w 1585609"/>
                          <a:gd name="connsiteY1" fmla="*/ 9727 h 1561289"/>
                          <a:gd name="connsiteX2" fmla="*/ 1585609 w 1585609"/>
                          <a:gd name="connsiteY2" fmla="*/ 0 h 1561289"/>
                          <a:gd name="connsiteX3" fmla="*/ 0 w 1585609"/>
                          <a:gd name="connsiteY3" fmla="*/ 1561289 h 1561289"/>
                          <a:gd name="connsiteX4" fmla="*/ 38911 w 1585609"/>
                          <a:gd name="connsiteY4" fmla="*/ 982494 h 1561289"/>
                          <a:gd name="connsiteX0" fmla="*/ 38911 w 1585609"/>
                          <a:gd name="connsiteY0" fmla="*/ 982494 h 1561289"/>
                          <a:gd name="connsiteX1" fmla="*/ 928992 w 1585609"/>
                          <a:gd name="connsiteY1" fmla="*/ 9727 h 1561289"/>
                          <a:gd name="connsiteX2" fmla="*/ 1585609 w 1585609"/>
                          <a:gd name="connsiteY2" fmla="*/ 0 h 1561289"/>
                          <a:gd name="connsiteX3" fmla="*/ 1181912 w 1585609"/>
                          <a:gd name="connsiteY3" fmla="*/ 384243 h 1561289"/>
                          <a:gd name="connsiteX4" fmla="*/ 0 w 1585609"/>
                          <a:gd name="connsiteY4" fmla="*/ 1561289 h 1561289"/>
                          <a:gd name="connsiteX5" fmla="*/ 38911 w 1585609"/>
                          <a:gd name="connsiteY5"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0 w 2490282"/>
                          <a:gd name="connsiteY4" fmla="*/ 1561289 h 1561289"/>
                          <a:gd name="connsiteX5" fmla="*/ 38911 w 2490282"/>
                          <a:gd name="connsiteY5"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347281 w 2490282"/>
                          <a:gd name="connsiteY4" fmla="*/ 792805 h 1561289"/>
                          <a:gd name="connsiteX5" fmla="*/ 0 w 2490282"/>
                          <a:gd name="connsiteY5" fmla="*/ 1561289 h 1561289"/>
                          <a:gd name="connsiteX6" fmla="*/ 38911 w 2490282"/>
                          <a:gd name="connsiteY6"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488332 w 2490282"/>
                          <a:gd name="connsiteY4" fmla="*/ 355060 h 1561289"/>
                          <a:gd name="connsiteX5" fmla="*/ 0 w 2490282"/>
                          <a:gd name="connsiteY5" fmla="*/ 1561289 h 1561289"/>
                          <a:gd name="connsiteX6" fmla="*/ 38911 w 2490282"/>
                          <a:gd name="connsiteY6"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488332 w 2490282"/>
                          <a:gd name="connsiteY4" fmla="*/ 355060 h 1561289"/>
                          <a:gd name="connsiteX5" fmla="*/ 787940 w 2490282"/>
                          <a:gd name="connsiteY5" fmla="*/ 914401 h 1561289"/>
                          <a:gd name="connsiteX6" fmla="*/ 0 w 2490282"/>
                          <a:gd name="connsiteY6" fmla="*/ 1561289 h 1561289"/>
                          <a:gd name="connsiteX7" fmla="*/ 38911 w 2490282"/>
                          <a:gd name="connsiteY7"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488332 w 2490282"/>
                          <a:gd name="connsiteY4" fmla="*/ 355060 h 1561289"/>
                          <a:gd name="connsiteX5" fmla="*/ 1070042 w 2490282"/>
                          <a:gd name="connsiteY5" fmla="*/ 306422 h 1561289"/>
                          <a:gd name="connsiteX6" fmla="*/ 0 w 2490282"/>
                          <a:gd name="connsiteY6" fmla="*/ 1561289 h 1561289"/>
                          <a:gd name="connsiteX7" fmla="*/ 38911 w 2490282"/>
                          <a:gd name="connsiteY7" fmla="*/ 982494 h 1561289"/>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0 w 2504874"/>
                          <a:gd name="connsiteY6" fmla="*/ 1532106 h 1532106"/>
                          <a:gd name="connsiteX7" fmla="*/ 53503 w 2504874"/>
                          <a:gd name="connsiteY7" fmla="*/ 982494 h 1532106"/>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252920 w 2504874"/>
                          <a:gd name="connsiteY6" fmla="*/ 1245141 h 1532106"/>
                          <a:gd name="connsiteX7" fmla="*/ 0 w 2504874"/>
                          <a:gd name="connsiteY7" fmla="*/ 1532106 h 1532106"/>
                          <a:gd name="connsiteX8" fmla="*/ 53503 w 2504874"/>
                          <a:gd name="connsiteY8" fmla="*/ 982494 h 1532106"/>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355060 w 2504874"/>
                          <a:gd name="connsiteY6" fmla="*/ 1425102 h 1532106"/>
                          <a:gd name="connsiteX7" fmla="*/ 0 w 2504874"/>
                          <a:gd name="connsiteY7" fmla="*/ 1532106 h 1532106"/>
                          <a:gd name="connsiteX8" fmla="*/ 53503 w 2504874"/>
                          <a:gd name="connsiteY8" fmla="*/ 982494 h 1532106"/>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355060 w 2504874"/>
                          <a:gd name="connsiteY6" fmla="*/ 1118680 h 1532106"/>
                          <a:gd name="connsiteX7" fmla="*/ 0 w 2504874"/>
                          <a:gd name="connsiteY7" fmla="*/ 1532106 h 1532106"/>
                          <a:gd name="connsiteX8" fmla="*/ 53503 w 2504874"/>
                          <a:gd name="connsiteY8" fmla="*/ 982494 h 1532106"/>
                          <a:gd name="connsiteX0" fmla="*/ 93644 w 2545015"/>
                          <a:gd name="connsiteY0" fmla="*/ 982494 h 1532106"/>
                          <a:gd name="connsiteX1" fmla="*/ 983725 w 2545015"/>
                          <a:gd name="connsiteY1" fmla="*/ 9727 h 1532106"/>
                          <a:gd name="connsiteX2" fmla="*/ 1640342 w 2545015"/>
                          <a:gd name="connsiteY2" fmla="*/ 0 h 1532106"/>
                          <a:gd name="connsiteX3" fmla="*/ 2545015 w 2545015"/>
                          <a:gd name="connsiteY3" fmla="*/ 131323 h 1532106"/>
                          <a:gd name="connsiteX4" fmla="*/ 1543065 w 2545015"/>
                          <a:gd name="connsiteY4" fmla="*/ 355060 h 1532106"/>
                          <a:gd name="connsiteX5" fmla="*/ 1124775 w 2545015"/>
                          <a:gd name="connsiteY5" fmla="*/ 306422 h 1532106"/>
                          <a:gd name="connsiteX6" fmla="*/ 395201 w 2545015"/>
                          <a:gd name="connsiteY6" fmla="*/ 1118680 h 1532106"/>
                          <a:gd name="connsiteX7" fmla="*/ 40141 w 2545015"/>
                          <a:gd name="connsiteY7" fmla="*/ 1532106 h 1532106"/>
                          <a:gd name="connsiteX8" fmla="*/ 93644 w 2545015"/>
                          <a:gd name="connsiteY8" fmla="*/ 982494 h 1532106"/>
                          <a:gd name="connsiteX0" fmla="*/ 96072 w 2547443"/>
                          <a:gd name="connsiteY0" fmla="*/ 982494 h 1532106"/>
                          <a:gd name="connsiteX1" fmla="*/ 986153 w 2547443"/>
                          <a:gd name="connsiteY1" fmla="*/ 9727 h 1532106"/>
                          <a:gd name="connsiteX2" fmla="*/ 1642770 w 2547443"/>
                          <a:gd name="connsiteY2" fmla="*/ 0 h 1532106"/>
                          <a:gd name="connsiteX3" fmla="*/ 2547443 w 2547443"/>
                          <a:gd name="connsiteY3" fmla="*/ 131323 h 1532106"/>
                          <a:gd name="connsiteX4" fmla="*/ 1545493 w 2547443"/>
                          <a:gd name="connsiteY4" fmla="*/ 355060 h 1532106"/>
                          <a:gd name="connsiteX5" fmla="*/ 1127203 w 2547443"/>
                          <a:gd name="connsiteY5" fmla="*/ 306422 h 1532106"/>
                          <a:gd name="connsiteX6" fmla="*/ 397629 w 2547443"/>
                          <a:gd name="connsiteY6" fmla="*/ 1118680 h 1532106"/>
                          <a:gd name="connsiteX7" fmla="*/ 42569 w 2547443"/>
                          <a:gd name="connsiteY7" fmla="*/ 1532106 h 1532106"/>
                          <a:gd name="connsiteX8" fmla="*/ 96072 w 2547443"/>
                          <a:gd name="connsiteY8" fmla="*/ 982494 h 1532106"/>
                          <a:gd name="connsiteX0" fmla="*/ 96072 w 2547443"/>
                          <a:gd name="connsiteY0" fmla="*/ 982494 h 1677790"/>
                          <a:gd name="connsiteX1" fmla="*/ 986153 w 2547443"/>
                          <a:gd name="connsiteY1" fmla="*/ 9727 h 1677790"/>
                          <a:gd name="connsiteX2" fmla="*/ 1642770 w 2547443"/>
                          <a:gd name="connsiteY2" fmla="*/ 0 h 1677790"/>
                          <a:gd name="connsiteX3" fmla="*/ 2547443 w 2547443"/>
                          <a:gd name="connsiteY3" fmla="*/ 131323 h 1677790"/>
                          <a:gd name="connsiteX4" fmla="*/ 1545493 w 2547443"/>
                          <a:gd name="connsiteY4" fmla="*/ 355060 h 1677790"/>
                          <a:gd name="connsiteX5" fmla="*/ 1127203 w 2547443"/>
                          <a:gd name="connsiteY5" fmla="*/ 306422 h 1677790"/>
                          <a:gd name="connsiteX6" fmla="*/ 397629 w 2547443"/>
                          <a:gd name="connsiteY6" fmla="*/ 1118680 h 1677790"/>
                          <a:gd name="connsiteX7" fmla="*/ 42569 w 2547443"/>
                          <a:gd name="connsiteY7" fmla="*/ 1532106 h 1677790"/>
                          <a:gd name="connsiteX8" fmla="*/ 96072 w 2547443"/>
                          <a:gd name="connsiteY8" fmla="*/ 982494 h 1677790"/>
                          <a:gd name="connsiteX0" fmla="*/ 96072 w 2547443"/>
                          <a:gd name="connsiteY0" fmla="*/ 982494 h 1552660"/>
                          <a:gd name="connsiteX1" fmla="*/ 986153 w 2547443"/>
                          <a:gd name="connsiteY1" fmla="*/ 9727 h 1552660"/>
                          <a:gd name="connsiteX2" fmla="*/ 1642770 w 2547443"/>
                          <a:gd name="connsiteY2" fmla="*/ 0 h 1552660"/>
                          <a:gd name="connsiteX3" fmla="*/ 2547443 w 2547443"/>
                          <a:gd name="connsiteY3" fmla="*/ 131323 h 1552660"/>
                          <a:gd name="connsiteX4" fmla="*/ 1545493 w 2547443"/>
                          <a:gd name="connsiteY4" fmla="*/ 355060 h 1552660"/>
                          <a:gd name="connsiteX5" fmla="*/ 1127203 w 2547443"/>
                          <a:gd name="connsiteY5" fmla="*/ 306422 h 1552660"/>
                          <a:gd name="connsiteX6" fmla="*/ 397629 w 2547443"/>
                          <a:gd name="connsiteY6" fmla="*/ 1118680 h 1552660"/>
                          <a:gd name="connsiteX7" fmla="*/ 344128 w 2547443"/>
                          <a:gd name="connsiteY7" fmla="*/ 1405647 h 1552660"/>
                          <a:gd name="connsiteX8" fmla="*/ 42569 w 2547443"/>
                          <a:gd name="connsiteY8" fmla="*/ 1532106 h 1552660"/>
                          <a:gd name="connsiteX9" fmla="*/ 96072 w 2547443"/>
                          <a:gd name="connsiteY9" fmla="*/ 982494 h 1552660"/>
                          <a:gd name="connsiteX0" fmla="*/ 96072 w 2547443"/>
                          <a:gd name="connsiteY0" fmla="*/ 982494 h 1554370"/>
                          <a:gd name="connsiteX1" fmla="*/ 986153 w 2547443"/>
                          <a:gd name="connsiteY1" fmla="*/ 9727 h 1554370"/>
                          <a:gd name="connsiteX2" fmla="*/ 1642770 w 2547443"/>
                          <a:gd name="connsiteY2" fmla="*/ 0 h 1554370"/>
                          <a:gd name="connsiteX3" fmla="*/ 2547443 w 2547443"/>
                          <a:gd name="connsiteY3" fmla="*/ 131323 h 1554370"/>
                          <a:gd name="connsiteX4" fmla="*/ 1545493 w 2547443"/>
                          <a:gd name="connsiteY4" fmla="*/ 355060 h 1554370"/>
                          <a:gd name="connsiteX5" fmla="*/ 1127203 w 2547443"/>
                          <a:gd name="connsiteY5" fmla="*/ 306422 h 1554370"/>
                          <a:gd name="connsiteX6" fmla="*/ 397629 w 2547443"/>
                          <a:gd name="connsiteY6" fmla="*/ 1118680 h 1554370"/>
                          <a:gd name="connsiteX7" fmla="*/ 378175 w 2547443"/>
                          <a:gd name="connsiteY7" fmla="*/ 1420238 h 1554370"/>
                          <a:gd name="connsiteX8" fmla="*/ 42569 w 2547443"/>
                          <a:gd name="connsiteY8" fmla="*/ 1532106 h 1554370"/>
                          <a:gd name="connsiteX9" fmla="*/ 96072 w 2547443"/>
                          <a:gd name="connsiteY9" fmla="*/ 982494 h 1554370"/>
                          <a:gd name="connsiteX0" fmla="*/ 96072 w 2547443"/>
                          <a:gd name="connsiteY0" fmla="*/ 982494 h 1554370"/>
                          <a:gd name="connsiteX1" fmla="*/ 986153 w 2547443"/>
                          <a:gd name="connsiteY1" fmla="*/ 9727 h 1554370"/>
                          <a:gd name="connsiteX2" fmla="*/ 1642770 w 2547443"/>
                          <a:gd name="connsiteY2" fmla="*/ 0 h 1554370"/>
                          <a:gd name="connsiteX3" fmla="*/ 2547443 w 2547443"/>
                          <a:gd name="connsiteY3" fmla="*/ 131323 h 1554370"/>
                          <a:gd name="connsiteX4" fmla="*/ 1545493 w 2547443"/>
                          <a:gd name="connsiteY4" fmla="*/ 355060 h 1554370"/>
                          <a:gd name="connsiteX5" fmla="*/ 1127203 w 2547443"/>
                          <a:gd name="connsiteY5" fmla="*/ 306422 h 1554370"/>
                          <a:gd name="connsiteX6" fmla="*/ 397629 w 2547443"/>
                          <a:gd name="connsiteY6" fmla="*/ 1118680 h 1554370"/>
                          <a:gd name="connsiteX7" fmla="*/ 378175 w 2547443"/>
                          <a:gd name="connsiteY7" fmla="*/ 1420238 h 1554370"/>
                          <a:gd name="connsiteX8" fmla="*/ 42569 w 2547443"/>
                          <a:gd name="connsiteY8" fmla="*/ 1532106 h 1554370"/>
                          <a:gd name="connsiteX9" fmla="*/ 96072 w 2547443"/>
                          <a:gd name="connsiteY9" fmla="*/ 982494 h 1554370"/>
                          <a:gd name="connsiteX0" fmla="*/ 96072 w 2547443"/>
                          <a:gd name="connsiteY0" fmla="*/ 982494 h 1554370"/>
                          <a:gd name="connsiteX1" fmla="*/ 986153 w 2547443"/>
                          <a:gd name="connsiteY1" fmla="*/ 9727 h 1554370"/>
                          <a:gd name="connsiteX2" fmla="*/ 1642770 w 2547443"/>
                          <a:gd name="connsiteY2" fmla="*/ 0 h 1554370"/>
                          <a:gd name="connsiteX3" fmla="*/ 2547443 w 2547443"/>
                          <a:gd name="connsiteY3" fmla="*/ 131323 h 1554370"/>
                          <a:gd name="connsiteX4" fmla="*/ 1545493 w 2547443"/>
                          <a:gd name="connsiteY4" fmla="*/ 355060 h 1554370"/>
                          <a:gd name="connsiteX5" fmla="*/ 1127203 w 2547443"/>
                          <a:gd name="connsiteY5" fmla="*/ 306422 h 1554370"/>
                          <a:gd name="connsiteX6" fmla="*/ 397629 w 2547443"/>
                          <a:gd name="connsiteY6" fmla="*/ 1118680 h 1554370"/>
                          <a:gd name="connsiteX7" fmla="*/ 378175 w 2547443"/>
                          <a:gd name="connsiteY7" fmla="*/ 1420238 h 1554370"/>
                          <a:gd name="connsiteX8" fmla="*/ 42569 w 2547443"/>
                          <a:gd name="connsiteY8" fmla="*/ 1532106 h 1554370"/>
                          <a:gd name="connsiteX9" fmla="*/ 96072 w 2547443"/>
                          <a:gd name="connsiteY9" fmla="*/ 982494 h 1554370"/>
                          <a:gd name="connsiteX0" fmla="*/ 96072 w 2547443"/>
                          <a:gd name="connsiteY0" fmla="*/ 982494 h 1572098"/>
                          <a:gd name="connsiteX1" fmla="*/ 986153 w 2547443"/>
                          <a:gd name="connsiteY1" fmla="*/ 9727 h 1572098"/>
                          <a:gd name="connsiteX2" fmla="*/ 1642770 w 2547443"/>
                          <a:gd name="connsiteY2" fmla="*/ 0 h 1572098"/>
                          <a:gd name="connsiteX3" fmla="*/ 2547443 w 2547443"/>
                          <a:gd name="connsiteY3" fmla="*/ 131323 h 1572098"/>
                          <a:gd name="connsiteX4" fmla="*/ 1545493 w 2547443"/>
                          <a:gd name="connsiteY4" fmla="*/ 355060 h 1572098"/>
                          <a:gd name="connsiteX5" fmla="*/ 1127203 w 2547443"/>
                          <a:gd name="connsiteY5" fmla="*/ 306422 h 1572098"/>
                          <a:gd name="connsiteX6" fmla="*/ 397629 w 2547443"/>
                          <a:gd name="connsiteY6" fmla="*/ 1118680 h 1572098"/>
                          <a:gd name="connsiteX7" fmla="*/ 378175 w 2547443"/>
                          <a:gd name="connsiteY7" fmla="*/ 1420238 h 1572098"/>
                          <a:gd name="connsiteX8" fmla="*/ 246851 w 2547443"/>
                          <a:gd name="connsiteY8" fmla="*/ 1517516 h 1572098"/>
                          <a:gd name="connsiteX9" fmla="*/ 42569 w 2547443"/>
                          <a:gd name="connsiteY9" fmla="*/ 1532106 h 1572098"/>
                          <a:gd name="connsiteX10" fmla="*/ 96072 w 2547443"/>
                          <a:gd name="connsiteY10" fmla="*/ 982494 h 1572098"/>
                          <a:gd name="connsiteX0" fmla="*/ 96072 w 2547443"/>
                          <a:gd name="connsiteY0" fmla="*/ 982494 h 2135699"/>
                          <a:gd name="connsiteX1" fmla="*/ 986153 w 2547443"/>
                          <a:gd name="connsiteY1" fmla="*/ 9727 h 2135699"/>
                          <a:gd name="connsiteX2" fmla="*/ 1642770 w 2547443"/>
                          <a:gd name="connsiteY2" fmla="*/ 0 h 2135699"/>
                          <a:gd name="connsiteX3" fmla="*/ 2547443 w 2547443"/>
                          <a:gd name="connsiteY3" fmla="*/ 131323 h 2135699"/>
                          <a:gd name="connsiteX4" fmla="*/ 1545493 w 2547443"/>
                          <a:gd name="connsiteY4" fmla="*/ 355060 h 2135699"/>
                          <a:gd name="connsiteX5" fmla="*/ 1127203 w 2547443"/>
                          <a:gd name="connsiteY5" fmla="*/ 306422 h 2135699"/>
                          <a:gd name="connsiteX6" fmla="*/ 397629 w 2547443"/>
                          <a:gd name="connsiteY6" fmla="*/ 1118680 h 2135699"/>
                          <a:gd name="connsiteX7" fmla="*/ 378175 w 2547443"/>
                          <a:gd name="connsiteY7" fmla="*/ 1420238 h 2135699"/>
                          <a:gd name="connsiteX8" fmla="*/ 694323 w 2547443"/>
                          <a:gd name="connsiteY8" fmla="*/ 2135222 h 2135699"/>
                          <a:gd name="connsiteX9" fmla="*/ 42569 w 2547443"/>
                          <a:gd name="connsiteY9" fmla="*/ 1532106 h 2135699"/>
                          <a:gd name="connsiteX10" fmla="*/ 96072 w 2547443"/>
                          <a:gd name="connsiteY10" fmla="*/ 982494 h 2135699"/>
                          <a:gd name="connsiteX0" fmla="*/ 96072 w 2547443"/>
                          <a:gd name="connsiteY0" fmla="*/ 982494 h 2694798"/>
                          <a:gd name="connsiteX1" fmla="*/ 986153 w 2547443"/>
                          <a:gd name="connsiteY1" fmla="*/ 9727 h 2694798"/>
                          <a:gd name="connsiteX2" fmla="*/ 1642770 w 2547443"/>
                          <a:gd name="connsiteY2" fmla="*/ 0 h 2694798"/>
                          <a:gd name="connsiteX3" fmla="*/ 2547443 w 2547443"/>
                          <a:gd name="connsiteY3" fmla="*/ 131323 h 2694798"/>
                          <a:gd name="connsiteX4" fmla="*/ 1545493 w 2547443"/>
                          <a:gd name="connsiteY4" fmla="*/ 355060 h 2694798"/>
                          <a:gd name="connsiteX5" fmla="*/ 1127203 w 2547443"/>
                          <a:gd name="connsiteY5" fmla="*/ 306422 h 2694798"/>
                          <a:gd name="connsiteX6" fmla="*/ 397629 w 2547443"/>
                          <a:gd name="connsiteY6" fmla="*/ 1118680 h 2694798"/>
                          <a:gd name="connsiteX7" fmla="*/ 378175 w 2547443"/>
                          <a:gd name="connsiteY7" fmla="*/ 1420238 h 2694798"/>
                          <a:gd name="connsiteX8" fmla="*/ 694323 w 2547443"/>
                          <a:gd name="connsiteY8" fmla="*/ 2694562 h 2694798"/>
                          <a:gd name="connsiteX9" fmla="*/ 42569 w 2547443"/>
                          <a:gd name="connsiteY9" fmla="*/ 1532106 h 2694798"/>
                          <a:gd name="connsiteX10" fmla="*/ 96072 w 2547443"/>
                          <a:gd name="connsiteY10" fmla="*/ 982494 h 2694798"/>
                          <a:gd name="connsiteX0" fmla="*/ 96072 w 2547443"/>
                          <a:gd name="connsiteY0" fmla="*/ 982494 h 2765238"/>
                          <a:gd name="connsiteX1" fmla="*/ 986153 w 2547443"/>
                          <a:gd name="connsiteY1" fmla="*/ 9727 h 2765238"/>
                          <a:gd name="connsiteX2" fmla="*/ 1642770 w 2547443"/>
                          <a:gd name="connsiteY2" fmla="*/ 0 h 2765238"/>
                          <a:gd name="connsiteX3" fmla="*/ 2547443 w 2547443"/>
                          <a:gd name="connsiteY3" fmla="*/ 131323 h 2765238"/>
                          <a:gd name="connsiteX4" fmla="*/ 1545493 w 2547443"/>
                          <a:gd name="connsiteY4" fmla="*/ 355060 h 2765238"/>
                          <a:gd name="connsiteX5" fmla="*/ 1127203 w 2547443"/>
                          <a:gd name="connsiteY5" fmla="*/ 306422 h 2765238"/>
                          <a:gd name="connsiteX6" fmla="*/ 397629 w 2547443"/>
                          <a:gd name="connsiteY6" fmla="*/ 1118680 h 2765238"/>
                          <a:gd name="connsiteX7" fmla="*/ 378175 w 2547443"/>
                          <a:gd name="connsiteY7" fmla="*/ 1420238 h 2765238"/>
                          <a:gd name="connsiteX8" fmla="*/ 660277 w 2547443"/>
                          <a:gd name="connsiteY8" fmla="*/ 2504872 h 2765238"/>
                          <a:gd name="connsiteX9" fmla="*/ 694323 w 2547443"/>
                          <a:gd name="connsiteY9" fmla="*/ 2694562 h 2765238"/>
                          <a:gd name="connsiteX10" fmla="*/ 42569 w 2547443"/>
                          <a:gd name="connsiteY10" fmla="*/ 1532106 h 2765238"/>
                          <a:gd name="connsiteX11" fmla="*/ 96072 w 2547443"/>
                          <a:gd name="connsiteY11" fmla="*/ 982494 h 2765238"/>
                          <a:gd name="connsiteX0" fmla="*/ 96072 w 2547443"/>
                          <a:gd name="connsiteY0" fmla="*/ 982494 h 2765238"/>
                          <a:gd name="connsiteX1" fmla="*/ 986153 w 2547443"/>
                          <a:gd name="connsiteY1" fmla="*/ 9727 h 2765238"/>
                          <a:gd name="connsiteX2" fmla="*/ 1642770 w 2547443"/>
                          <a:gd name="connsiteY2" fmla="*/ 0 h 2765238"/>
                          <a:gd name="connsiteX3" fmla="*/ 2547443 w 2547443"/>
                          <a:gd name="connsiteY3" fmla="*/ 131323 h 2765238"/>
                          <a:gd name="connsiteX4" fmla="*/ 1545493 w 2547443"/>
                          <a:gd name="connsiteY4" fmla="*/ 355060 h 2765238"/>
                          <a:gd name="connsiteX5" fmla="*/ 1127203 w 2547443"/>
                          <a:gd name="connsiteY5" fmla="*/ 306422 h 2765238"/>
                          <a:gd name="connsiteX6" fmla="*/ 397629 w 2547443"/>
                          <a:gd name="connsiteY6" fmla="*/ 1118680 h 2765238"/>
                          <a:gd name="connsiteX7" fmla="*/ 378175 w 2547443"/>
                          <a:gd name="connsiteY7" fmla="*/ 1420238 h 2765238"/>
                          <a:gd name="connsiteX8" fmla="*/ 913196 w 2547443"/>
                          <a:gd name="connsiteY8" fmla="*/ 2504872 h 2765238"/>
                          <a:gd name="connsiteX9" fmla="*/ 694323 w 2547443"/>
                          <a:gd name="connsiteY9" fmla="*/ 2694562 h 2765238"/>
                          <a:gd name="connsiteX10" fmla="*/ 42569 w 2547443"/>
                          <a:gd name="connsiteY10" fmla="*/ 1532106 h 2765238"/>
                          <a:gd name="connsiteX11" fmla="*/ 96072 w 2547443"/>
                          <a:gd name="connsiteY11" fmla="*/ 982494 h 2765238"/>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621366 w 2547443"/>
                          <a:gd name="connsiteY8" fmla="*/ 192121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383039 w 2547443"/>
                          <a:gd name="connsiteY11" fmla="*/ 2178995 h 2751446"/>
                          <a:gd name="connsiteX12" fmla="*/ 42569 w 2547443"/>
                          <a:gd name="connsiteY12" fmla="*/ 1532106 h 2751446"/>
                          <a:gd name="connsiteX13" fmla="*/ 96072 w 2547443"/>
                          <a:gd name="connsiteY13"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6814 w 2547443"/>
                          <a:gd name="connsiteY11" fmla="*/ 1969851 h 2751446"/>
                          <a:gd name="connsiteX12" fmla="*/ 42569 w 2547443"/>
                          <a:gd name="connsiteY12" fmla="*/ 1532106 h 2751446"/>
                          <a:gd name="connsiteX13" fmla="*/ 96072 w 2547443"/>
                          <a:gd name="connsiteY13"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6814 w 2547443"/>
                          <a:gd name="connsiteY11" fmla="*/ 1969851 h 2751446"/>
                          <a:gd name="connsiteX12" fmla="*/ 42569 w 2547443"/>
                          <a:gd name="connsiteY12" fmla="*/ 1532106 h 2751446"/>
                          <a:gd name="connsiteX13" fmla="*/ 96072 w 2547443"/>
                          <a:gd name="connsiteY13"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6814 w 2547443"/>
                          <a:gd name="connsiteY11" fmla="*/ 1969851 h 2751446"/>
                          <a:gd name="connsiteX12" fmla="*/ 42569 w 2547443"/>
                          <a:gd name="connsiteY12" fmla="*/ 1532106 h 2751446"/>
                          <a:gd name="connsiteX13" fmla="*/ 96072 w 2547443"/>
                          <a:gd name="connsiteY13" fmla="*/ 982494 h 2751446"/>
                          <a:gd name="connsiteX0" fmla="*/ 99995 w 2551366"/>
                          <a:gd name="connsiteY0" fmla="*/ 982494 h 2751446"/>
                          <a:gd name="connsiteX1" fmla="*/ 990076 w 2551366"/>
                          <a:gd name="connsiteY1" fmla="*/ 9727 h 2751446"/>
                          <a:gd name="connsiteX2" fmla="*/ 1646693 w 2551366"/>
                          <a:gd name="connsiteY2" fmla="*/ 0 h 2751446"/>
                          <a:gd name="connsiteX3" fmla="*/ 2551366 w 2551366"/>
                          <a:gd name="connsiteY3" fmla="*/ 131323 h 2751446"/>
                          <a:gd name="connsiteX4" fmla="*/ 1549416 w 2551366"/>
                          <a:gd name="connsiteY4" fmla="*/ 355060 h 2751446"/>
                          <a:gd name="connsiteX5" fmla="*/ 1131126 w 2551366"/>
                          <a:gd name="connsiteY5" fmla="*/ 306422 h 2751446"/>
                          <a:gd name="connsiteX6" fmla="*/ 401552 w 2551366"/>
                          <a:gd name="connsiteY6" fmla="*/ 1118680 h 2751446"/>
                          <a:gd name="connsiteX7" fmla="*/ 382098 w 2551366"/>
                          <a:gd name="connsiteY7" fmla="*/ 1420238 h 2751446"/>
                          <a:gd name="connsiteX8" fmla="*/ 742021 w 2551366"/>
                          <a:gd name="connsiteY8" fmla="*/ 1819072 h 2751446"/>
                          <a:gd name="connsiteX9" fmla="*/ 917119 w 2551366"/>
                          <a:gd name="connsiteY9" fmla="*/ 2504872 h 2751446"/>
                          <a:gd name="connsiteX10" fmla="*/ 698246 w 2551366"/>
                          <a:gd name="connsiteY10" fmla="*/ 2694562 h 2751446"/>
                          <a:gd name="connsiteX11" fmla="*/ 430737 w 2551366"/>
                          <a:gd name="connsiteY11" fmla="*/ 1969851 h 2751446"/>
                          <a:gd name="connsiteX12" fmla="*/ 41628 w 2551366"/>
                          <a:gd name="connsiteY12" fmla="*/ 1493195 h 2751446"/>
                          <a:gd name="connsiteX13" fmla="*/ 99995 w 2551366"/>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47743 w 2568372"/>
                          <a:gd name="connsiteY11" fmla="*/ 1969851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47743 w 2568372"/>
                          <a:gd name="connsiteY11" fmla="*/ 1969851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72062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72062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52606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52606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52606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08634"/>
                          <a:gd name="connsiteX1" fmla="*/ 1007082 w 2568372"/>
                          <a:gd name="connsiteY1" fmla="*/ 9727 h 2708634"/>
                          <a:gd name="connsiteX2" fmla="*/ 1663699 w 2568372"/>
                          <a:gd name="connsiteY2" fmla="*/ 0 h 2708634"/>
                          <a:gd name="connsiteX3" fmla="*/ 2568372 w 2568372"/>
                          <a:gd name="connsiteY3" fmla="*/ 131323 h 2708634"/>
                          <a:gd name="connsiteX4" fmla="*/ 1566422 w 2568372"/>
                          <a:gd name="connsiteY4" fmla="*/ 355060 h 2708634"/>
                          <a:gd name="connsiteX5" fmla="*/ 1148132 w 2568372"/>
                          <a:gd name="connsiteY5" fmla="*/ 306422 h 2708634"/>
                          <a:gd name="connsiteX6" fmla="*/ 418558 w 2568372"/>
                          <a:gd name="connsiteY6" fmla="*/ 1118680 h 2708634"/>
                          <a:gd name="connsiteX7" fmla="*/ 399104 w 2568372"/>
                          <a:gd name="connsiteY7" fmla="*/ 1420238 h 2708634"/>
                          <a:gd name="connsiteX8" fmla="*/ 759027 w 2568372"/>
                          <a:gd name="connsiteY8" fmla="*/ 1819072 h 2708634"/>
                          <a:gd name="connsiteX9" fmla="*/ 934125 w 2568372"/>
                          <a:gd name="connsiteY9" fmla="*/ 2504872 h 2708634"/>
                          <a:gd name="connsiteX10" fmla="*/ 715252 w 2568372"/>
                          <a:gd name="connsiteY10" fmla="*/ 2694562 h 2708634"/>
                          <a:gd name="connsiteX11" fmla="*/ 452606 w 2568372"/>
                          <a:gd name="connsiteY11" fmla="*/ 1935804 h 2708634"/>
                          <a:gd name="connsiteX12" fmla="*/ 58634 w 2568372"/>
                          <a:gd name="connsiteY12" fmla="*/ 1493195 h 2708634"/>
                          <a:gd name="connsiteX13" fmla="*/ 117001 w 2568372"/>
                          <a:gd name="connsiteY13" fmla="*/ 982494 h 2708634"/>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59027 w 2568372"/>
                          <a:gd name="connsiteY8" fmla="*/ 1819072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68755 w 2568372"/>
                          <a:gd name="connsiteY8" fmla="*/ 1809344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68755 w 2568372"/>
                          <a:gd name="connsiteY8" fmla="*/ 1809344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68755 w 2568372"/>
                          <a:gd name="connsiteY8" fmla="*/ 1809344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1079805 h 2803189"/>
                          <a:gd name="connsiteX1" fmla="*/ 1007082 w 2568372"/>
                          <a:gd name="connsiteY1" fmla="*/ 107038 h 2803189"/>
                          <a:gd name="connsiteX2" fmla="*/ 1663699 w 2568372"/>
                          <a:gd name="connsiteY2" fmla="*/ 97311 h 2803189"/>
                          <a:gd name="connsiteX3" fmla="*/ 2568372 w 2568372"/>
                          <a:gd name="connsiteY3" fmla="*/ 228634 h 2803189"/>
                          <a:gd name="connsiteX4" fmla="*/ 1566422 w 2568372"/>
                          <a:gd name="connsiteY4" fmla="*/ 452371 h 2803189"/>
                          <a:gd name="connsiteX5" fmla="*/ 1148132 w 2568372"/>
                          <a:gd name="connsiteY5" fmla="*/ 403733 h 2803189"/>
                          <a:gd name="connsiteX6" fmla="*/ 418558 w 2568372"/>
                          <a:gd name="connsiteY6" fmla="*/ 1215991 h 2803189"/>
                          <a:gd name="connsiteX7" fmla="*/ 399104 w 2568372"/>
                          <a:gd name="connsiteY7" fmla="*/ 1517549 h 2803189"/>
                          <a:gd name="connsiteX8" fmla="*/ 768755 w 2568372"/>
                          <a:gd name="connsiteY8" fmla="*/ 1906655 h 2803189"/>
                          <a:gd name="connsiteX9" fmla="*/ 934125 w 2568372"/>
                          <a:gd name="connsiteY9" fmla="*/ 2602183 h 2803189"/>
                          <a:gd name="connsiteX10" fmla="*/ 715252 w 2568372"/>
                          <a:gd name="connsiteY10" fmla="*/ 2791873 h 2803189"/>
                          <a:gd name="connsiteX11" fmla="*/ 452606 w 2568372"/>
                          <a:gd name="connsiteY11" fmla="*/ 2033115 h 2803189"/>
                          <a:gd name="connsiteX12" fmla="*/ 58634 w 2568372"/>
                          <a:gd name="connsiteY12" fmla="*/ 1590506 h 2803189"/>
                          <a:gd name="connsiteX13" fmla="*/ 117001 w 2568372"/>
                          <a:gd name="connsiteY13" fmla="*/ 1079805 h 2803189"/>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603282"/>
                          <a:gd name="connsiteY0" fmla="*/ 1091839 h 2815223"/>
                          <a:gd name="connsiteX1" fmla="*/ 1007082 w 2603282"/>
                          <a:gd name="connsiteY1" fmla="*/ 119072 h 2815223"/>
                          <a:gd name="connsiteX2" fmla="*/ 1663699 w 2603282"/>
                          <a:gd name="connsiteY2" fmla="*/ 109345 h 2815223"/>
                          <a:gd name="connsiteX3" fmla="*/ 2568372 w 2603282"/>
                          <a:gd name="connsiteY3" fmla="*/ 240668 h 2815223"/>
                          <a:gd name="connsiteX4" fmla="*/ 2334908 w 2603282"/>
                          <a:gd name="connsiteY4" fmla="*/ 483861 h 2815223"/>
                          <a:gd name="connsiteX5" fmla="*/ 1566422 w 2603282"/>
                          <a:gd name="connsiteY5" fmla="*/ 464405 h 2815223"/>
                          <a:gd name="connsiteX6" fmla="*/ 1148132 w 2603282"/>
                          <a:gd name="connsiteY6" fmla="*/ 415767 h 2815223"/>
                          <a:gd name="connsiteX7" fmla="*/ 418558 w 2603282"/>
                          <a:gd name="connsiteY7" fmla="*/ 1228025 h 2815223"/>
                          <a:gd name="connsiteX8" fmla="*/ 399104 w 2603282"/>
                          <a:gd name="connsiteY8" fmla="*/ 1529583 h 2815223"/>
                          <a:gd name="connsiteX9" fmla="*/ 768755 w 2603282"/>
                          <a:gd name="connsiteY9" fmla="*/ 1918689 h 2815223"/>
                          <a:gd name="connsiteX10" fmla="*/ 934125 w 2603282"/>
                          <a:gd name="connsiteY10" fmla="*/ 2614217 h 2815223"/>
                          <a:gd name="connsiteX11" fmla="*/ 715252 w 2603282"/>
                          <a:gd name="connsiteY11" fmla="*/ 2803907 h 2815223"/>
                          <a:gd name="connsiteX12" fmla="*/ 452606 w 2603282"/>
                          <a:gd name="connsiteY12" fmla="*/ 2045149 h 2815223"/>
                          <a:gd name="connsiteX13" fmla="*/ 58634 w 2603282"/>
                          <a:gd name="connsiteY13" fmla="*/ 1602540 h 2815223"/>
                          <a:gd name="connsiteX14" fmla="*/ 117001 w 2603282"/>
                          <a:gd name="connsiteY14" fmla="*/ 1091839 h 2815223"/>
                          <a:gd name="connsiteX0" fmla="*/ 117001 w 2704505"/>
                          <a:gd name="connsiteY0" fmla="*/ 1091839 h 2815223"/>
                          <a:gd name="connsiteX1" fmla="*/ 1007082 w 2704505"/>
                          <a:gd name="connsiteY1" fmla="*/ 119072 h 2815223"/>
                          <a:gd name="connsiteX2" fmla="*/ 1663699 w 2704505"/>
                          <a:gd name="connsiteY2" fmla="*/ 109345 h 2815223"/>
                          <a:gd name="connsiteX3" fmla="*/ 2568372 w 2704505"/>
                          <a:gd name="connsiteY3" fmla="*/ 240668 h 2815223"/>
                          <a:gd name="connsiteX4" fmla="*/ 2617010 w 2704505"/>
                          <a:gd name="connsiteY4" fmla="*/ 381721 h 2815223"/>
                          <a:gd name="connsiteX5" fmla="*/ 1566422 w 2704505"/>
                          <a:gd name="connsiteY5" fmla="*/ 464405 h 2815223"/>
                          <a:gd name="connsiteX6" fmla="*/ 1148132 w 2704505"/>
                          <a:gd name="connsiteY6" fmla="*/ 415767 h 2815223"/>
                          <a:gd name="connsiteX7" fmla="*/ 418558 w 2704505"/>
                          <a:gd name="connsiteY7" fmla="*/ 1228025 h 2815223"/>
                          <a:gd name="connsiteX8" fmla="*/ 399104 w 2704505"/>
                          <a:gd name="connsiteY8" fmla="*/ 1529583 h 2815223"/>
                          <a:gd name="connsiteX9" fmla="*/ 768755 w 2704505"/>
                          <a:gd name="connsiteY9" fmla="*/ 1918689 h 2815223"/>
                          <a:gd name="connsiteX10" fmla="*/ 934125 w 2704505"/>
                          <a:gd name="connsiteY10" fmla="*/ 2614217 h 2815223"/>
                          <a:gd name="connsiteX11" fmla="*/ 715252 w 2704505"/>
                          <a:gd name="connsiteY11" fmla="*/ 2803907 h 2815223"/>
                          <a:gd name="connsiteX12" fmla="*/ 452606 w 2704505"/>
                          <a:gd name="connsiteY12" fmla="*/ 2045149 h 2815223"/>
                          <a:gd name="connsiteX13" fmla="*/ 58634 w 2704505"/>
                          <a:gd name="connsiteY13" fmla="*/ 1602540 h 2815223"/>
                          <a:gd name="connsiteX14" fmla="*/ 117001 w 2704505"/>
                          <a:gd name="connsiteY14" fmla="*/ 1091839 h 2815223"/>
                          <a:gd name="connsiteX0" fmla="*/ 117001 w 2832040"/>
                          <a:gd name="connsiteY0" fmla="*/ 1091839 h 2815223"/>
                          <a:gd name="connsiteX1" fmla="*/ 1007082 w 2832040"/>
                          <a:gd name="connsiteY1" fmla="*/ 119072 h 2815223"/>
                          <a:gd name="connsiteX2" fmla="*/ 1663699 w 2832040"/>
                          <a:gd name="connsiteY2" fmla="*/ 109345 h 2815223"/>
                          <a:gd name="connsiteX3" fmla="*/ 2568372 w 2832040"/>
                          <a:gd name="connsiteY3" fmla="*/ 240668 h 2815223"/>
                          <a:gd name="connsiteX4" fmla="*/ 2617010 w 2832040"/>
                          <a:gd name="connsiteY4" fmla="*/ 381721 h 2815223"/>
                          <a:gd name="connsiteX5" fmla="*/ 1566422 w 2832040"/>
                          <a:gd name="connsiteY5" fmla="*/ 464405 h 2815223"/>
                          <a:gd name="connsiteX6" fmla="*/ 1148132 w 2832040"/>
                          <a:gd name="connsiteY6" fmla="*/ 415767 h 2815223"/>
                          <a:gd name="connsiteX7" fmla="*/ 418558 w 2832040"/>
                          <a:gd name="connsiteY7" fmla="*/ 1228025 h 2815223"/>
                          <a:gd name="connsiteX8" fmla="*/ 399104 w 2832040"/>
                          <a:gd name="connsiteY8" fmla="*/ 1529583 h 2815223"/>
                          <a:gd name="connsiteX9" fmla="*/ 768755 w 2832040"/>
                          <a:gd name="connsiteY9" fmla="*/ 1918689 h 2815223"/>
                          <a:gd name="connsiteX10" fmla="*/ 934125 w 2832040"/>
                          <a:gd name="connsiteY10" fmla="*/ 2614217 h 2815223"/>
                          <a:gd name="connsiteX11" fmla="*/ 715252 w 2832040"/>
                          <a:gd name="connsiteY11" fmla="*/ 2803907 h 2815223"/>
                          <a:gd name="connsiteX12" fmla="*/ 452606 w 2832040"/>
                          <a:gd name="connsiteY12" fmla="*/ 2045149 h 2815223"/>
                          <a:gd name="connsiteX13" fmla="*/ 58634 w 2832040"/>
                          <a:gd name="connsiteY13" fmla="*/ 1602540 h 2815223"/>
                          <a:gd name="connsiteX14" fmla="*/ 117001 w 2832040"/>
                          <a:gd name="connsiteY14" fmla="*/ 1091839 h 2815223"/>
                          <a:gd name="connsiteX0" fmla="*/ 117001 w 2832040"/>
                          <a:gd name="connsiteY0" fmla="*/ 1091839 h 2815223"/>
                          <a:gd name="connsiteX1" fmla="*/ 1007082 w 2832040"/>
                          <a:gd name="connsiteY1" fmla="*/ 119072 h 2815223"/>
                          <a:gd name="connsiteX2" fmla="*/ 1663699 w 2832040"/>
                          <a:gd name="connsiteY2" fmla="*/ 109345 h 2815223"/>
                          <a:gd name="connsiteX3" fmla="*/ 2568372 w 2832040"/>
                          <a:gd name="connsiteY3" fmla="*/ 240668 h 2815223"/>
                          <a:gd name="connsiteX4" fmla="*/ 2617010 w 2832040"/>
                          <a:gd name="connsiteY4" fmla="*/ 381721 h 2815223"/>
                          <a:gd name="connsiteX5" fmla="*/ 1566422 w 2832040"/>
                          <a:gd name="connsiteY5" fmla="*/ 464405 h 2815223"/>
                          <a:gd name="connsiteX6" fmla="*/ 1148132 w 2832040"/>
                          <a:gd name="connsiteY6" fmla="*/ 415767 h 2815223"/>
                          <a:gd name="connsiteX7" fmla="*/ 418558 w 2832040"/>
                          <a:gd name="connsiteY7" fmla="*/ 1228025 h 2815223"/>
                          <a:gd name="connsiteX8" fmla="*/ 399104 w 2832040"/>
                          <a:gd name="connsiteY8" fmla="*/ 1529583 h 2815223"/>
                          <a:gd name="connsiteX9" fmla="*/ 768755 w 2832040"/>
                          <a:gd name="connsiteY9" fmla="*/ 1918689 h 2815223"/>
                          <a:gd name="connsiteX10" fmla="*/ 934125 w 2832040"/>
                          <a:gd name="connsiteY10" fmla="*/ 2614217 h 2815223"/>
                          <a:gd name="connsiteX11" fmla="*/ 715252 w 2832040"/>
                          <a:gd name="connsiteY11" fmla="*/ 2803907 h 2815223"/>
                          <a:gd name="connsiteX12" fmla="*/ 452606 w 2832040"/>
                          <a:gd name="connsiteY12" fmla="*/ 2045149 h 2815223"/>
                          <a:gd name="connsiteX13" fmla="*/ 58634 w 2832040"/>
                          <a:gd name="connsiteY13" fmla="*/ 1602540 h 2815223"/>
                          <a:gd name="connsiteX14" fmla="*/ 117001 w 283204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46845"/>
                          <a:gd name="connsiteY0" fmla="*/ 1091839 h 2815223"/>
                          <a:gd name="connsiteX1" fmla="*/ 1007082 w 2846845"/>
                          <a:gd name="connsiteY1" fmla="*/ 119072 h 2815223"/>
                          <a:gd name="connsiteX2" fmla="*/ 1663699 w 2846845"/>
                          <a:gd name="connsiteY2" fmla="*/ 109345 h 2815223"/>
                          <a:gd name="connsiteX3" fmla="*/ 2568372 w 2846845"/>
                          <a:gd name="connsiteY3" fmla="*/ 240668 h 2815223"/>
                          <a:gd name="connsiteX4" fmla="*/ 2617010 w 2846845"/>
                          <a:gd name="connsiteY4" fmla="*/ 381721 h 2815223"/>
                          <a:gd name="connsiteX5" fmla="*/ 1566422 w 2846845"/>
                          <a:gd name="connsiteY5" fmla="*/ 464405 h 2815223"/>
                          <a:gd name="connsiteX6" fmla="*/ 1148132 w 2846845"/>
                          <a:gd name="connsiteY6" fmla="*/ 415767 h 2815223"/>
                          <a:gd name="connsiteX7" fmla="*/ 418558 w 2846845"/>
                          <a:gd name="connsiteY7" fmla="*/ 1228025 h 2815223"/>
                          <a:gd name="connsiteX8" fmla="*/ 399104 w 2846845"/>
                          <a:gd name="connsiteY8" fmla="*/ 1529583 h 2815223"/>
                          <a:gd name="connsiteX9" fmla="*/ 768755 w 2846845"/>
                          <a:gd name="connsiteY9" fmla="*/ 1918689 h 2815223"/>
                          <a:gd name="connsiteX10" fmla="*/ 934125 w 2846845"/>
                          <a:gd name="connsiteY10" fmla="*/ 2614217 h 2815223"/>
                          <a:gd name="connsiteX11" fmla="*/ 715252 w 2846845"/>
                          <a:gd name="connsiteY11" fmla="*/ 2803907 h 2815223"/>
                          <a:gd name="connsiteX12" fmla="*/ 452606 w 2846845"/>
                          <a:gd name="connsiteY12" fmla="*/ 2045149 h 2815223"/>
                          <a:gd name="connsiteX13" fmla="*/ 58634 w 2846845"/>
                          <a:gd name="connsiteY13" fmla="*/ 1602540 h 2815223"/>
                          <a:gd name="connsiteX14" fmla="*/ 117001 w 2846845"/>
                          <a:gd name="connsiteY14" fmla="*/ 1091839 h 2815223"/>
                          <a:gd name="connsiteX0" fmla="*/ 117001 w 2846845"/>
                          <a:gd name="connsiteY0" fmla="*/ 1091839 h 2815223"/>
                          <a:gd name="connsiteX1" fmla="*/ 1007082 w 2846845"/>
                          <a:gd name="connsiteY1" fmla="*/ 119072 h 2815223"/>
                          <a:gd name="connsiteX2" fmla="*/ 1663699 w 2846845"/>
                          <a:gd name="connsiteY2" fmla="*/ 109345 h 2815223"/>
                          <a:gd name="connsiteX3" fmla="*/ 2568372 w 2846845"/>
                          <a:gd name="connsiteY3" fmla="*/ 240668 h 2815223"/>
                          <a:gd name="connsiteX4" fmla="*/ 2617010 w 2846845"/>
                          <a:gd name="connsiteY4" fmla="*/ 381721 h 2815223"/>
                          <a:gd name="connsiteX5" fmla="*/ 1566422 w 2846845"/>
                          <a:gd name="connsiteY5" fmla="*/ 464405 h 2815223"/>
                          <a:gd name="connsiteX6" fmla="*/ 1148132 w 2846845"/>
                          <a:gd name="connsiteY6" fmla="*/ 415767 h 2815223"/>
                          <a:gd name="connsiteX7" fmla="*/ 418558 w 2846845"/>
                          <a:gd name="connsiteY7" fmla="*/ 1228025 h 2815223"/>
                          <a:gd name="connsiteX8" fmla="*/ 399104 w 2846845"/>
                          <a:gd name="connsiteY8" fmla="*/ 1529583 h 2815223"/>
                          <a:gd name="connsiteX9" fmla="*/ 768755 w 2846845"/>
                          <a:gd name="connsiteY9" fmla="*/ 1918689 h 2815223"/>
                          <a:gd name="connsiteX10" fmla="*/ 934125 w 2846845"/>
                          <a:gd name="connsiteY10" fmla="*/ 2614217 h 2815223"/>
                          <a:gd name="connsiteX11" fmla="*/ 715252 w 2846845"/>
                          <a:gd name="connsiteY11" fmla="*/ 2803907 h 2815223"/>
                          <a:gd name="connsiteX12" fmla="*/ 452606 w 2846845"/>
                          <a:gd name="connsiteY12" fmla="*/ 2045149 h 2815223"/>
                          <a:gd name="connsiteX13" fmla="*/ 58634 w 2846845"/>
                          <a:gd name="connsiteY13" fmla="*/ 1602540 h 2815223"/>
                          <a:gd name="connsiteX14" fmla="*/ 117001 w 2846845"/>
                          <a:gd name="connsiteY14" fmla="*/ 1091839 h 2815223"/>
                          <a:gd name="connsiteX0" fmla="*/ 117001 w 2846845"/>
                          <a:gd name="connsiteY0" fmla="*/ 1091839 h 2815223"/>
                          <a:gd name="connsiteX1" fmla="*/ 1007082 w 2846845"/>
                          <a:gd name="connsiteY1" fmla="*/ 119072 h 2815223"/>
                          <a:gd name="connsiteX2" fmla="*/ 1663699 w 2846845"/>
                          <a:gd name="connsiteY2" fmla="*/ 109345 h 2815223"/>
                          <a:gd name="connsiteX3" fmla="*/ 2568372 w 2846845"/>
                          <a:gd name="connsiteY3" fmla="*/ 240668 h 2815223"/>
                          <a:gd name="connsiteX4" fmla="*/ 2617010 w 2846845"/>
                          <a:gd name="connsiteY4" fmla="*/ 381721 h 2815223"/>
                          <a:gd name="connsiteX5" fmla="*/ 1566422 w 2846845"/>
                          <a:gd name="connsiteY5" fmla="*/ 464405 h 2815223"/>
                          <a:gd name="connsiteX6" fmla="*/ 1148132 w 2846845"/>
                          <a:gd name="connsiteY6" fmla="*/ 415767 h 2815223"/>
                          <a:gd name="connsiteX7" fmla="*/ 418558 w 2846845"/>
                          <a:gd name="connsiteY7" fmla="*/ 1228025 h 2815223"/>
                          <a:gd name="connsiteX8" fmla="*/ 399104 w 2846845"/>
                          <a:gd name="connsiteY8" fmla="*/ 1529583 h 2815223"/>
                          <a:gd name="connsiteX9" fmla="*/ 768755 w 2846845"/>
                          <a:gd name="connsiteY9" fmla="*/ 1918689 h 2815223"/>
                          <a:gd name="connsiteX10" fmla="*/ 934125 w 2846845"/>
                          <a:gd name="connsiteY10" fmla="*/ 2614217 h 2815223"/>
                          <a:gd name="connsiteX11" fmla="*/ 715252 w 2846845"/>
                          <a:gd name="connsiteY11" fmla="*/ 2803907 h 2815223"/>
                          <a:gd name="connsiteX12" fmla="*/ 452606 w 2846845"/>
                          <a:gd name="connsiteY12" fmla="*/ 2045149 h 2815223"/>
                          <a:gd name="connsiteX13" fmla="*/ 58634 w 2846845"/>
                          <a:gd name="connsiteY13" fmla="*/ 1602540 h 2815223"/>
                          <a:gd name="connsiteX14" fmla="*/ 117001 w 2846845"/>
                          <a:gd name="connsiteY14" fmla="*/ 1091839 h 2815223"/>
                          <a:gd name="connsiteX0" fmla="*/ 117001 w 2846845"/>
                          <a:gd name="connsiteY0" fmla="*/ 1099926 h 2823310"/>
                          <a:gd name="connsiteX1" fmla="*/ 1007082 w 2846845"/>
                          <a:gd name="connsiteY1" fmla="*/ 127159 h 2823310"/>
                          <a:gd name="connsiteX2" fmla="*/ 1663699 w 2846845"/>
                          <a:gd name="connsiteY2" fmla="*/ 117432 h 2823310"/>
                          <a:gd name="connsiteX3" fmla="*/ 2568372 w 2846845"/>
                          <a:gd name="connsiteY3" fmla="*/ 248755 h 2823310"/>
                          <a:gd name="connsiteX4" fmla="*/ 2617010 w 2846845"/>
                          <a:gd name="connsiteY4" fmla="*/ 389808 h 2823310"/>
                          <a:gd name="connsiteX5" fmla="*/ 1566422 w 2846845"/>
                          <a:gd name="connsiteY5" fmla="*/ 472492 h 2823310"/>
                          <a:gd name="connsiteX6" fmla="*/ 1148132 w 2846845"/>
                          <a:gd name="connsiteY6" fmla="*/ 423854 h 2823310"/>
                          <a:gd name="connsiteX7" fmla="*/ 418558 w 2846845"/>
                          <a:gd name="connsiteY7" fmla="*/ 1236112 h 2823310"/>
                          <a:gd name="connsiteX8" fmla="*/ 399104 w 2846845"/>
                          <a:gd name="connsiteY8" fmla="*/ 1537670 h 2823310"/>
                          <a:gd name="connsiteX9" fmla="*/ 768755 w 2846845"/>
                          <a:gd name="connsiteY9" fmla="*/ 1926776 h 2823310"/>
                          <a:gd name="connsiteX10" fmla="*/ 934125 w 2846845"/>
                          <a:gd name="connsiteY10" fmla="*/ 2622304 h 2823310"/>
                          <a:gd name="connsiteX11" fmla="*/ 715252 w 2846845"/>
                          <a:gd name="connsiteY11" fmla="*/ 2811994 h 2823310"/>
                          <a:gd name="connsiteX12" fmla="*/ 452606 w 2846845"/>
                          <a:gd name="connsiteY12" fmla="*/ 2053236 h 2823310"/>
                          <a:gd name="connsiteX13" fmla="*/ 58634 w 2846845"/>
                          <a:gd name="connsiteY13" fmla="*/ 1610627 h 2823310"/>
                          <a:gd name="connsiteX14" fmla="*/ 117001 w 2846845"/>
                          <a:gd name="connsiteY14" fmla="*/ 1099926 h 2823310"/>
                          <a:gd name="connsiteX0" fmla="*/ 117001 w 2846845"/>
                          <a:gd name="connsiteY0" fmla="*/ 1095802 h 2819186"/>
                          <a:gd name="connsiteX1" fmla="*/ 1007082 w 2846845"/>
                          <a:gd name="connsiteY1" fmla="*/ 123035 h 2819186"/>
                          <a:gd name="connsiteX2" fmla="*/ 1663699 w 2846845"/>
                          <a:gd name="connsiteY2" fmla="*/ 113308 h 2819186"/>
                          <a:gd name="connsiteX3" fmla="*/ 2568372 w 2846845"/>
                          <a:gd name="connsiteY3" fmla="*/ 244631 h 2819186"/>
                          <a:gd name="connsiteX4" fmla="*/ 2617010 w 2846845"/>
                          <a:gd name="connsiteY4" fmla="*/ 385684 h 2819186"/>
                          <a:gd name="connsiteX5" fmla="*/ 1566422 w 2846845"/>
                          <a:gd name="connsiteY5" fmla="*/ 468368 h 2819186"/>
                          <a:gd name="connsiteX6" fmla="*/ 1148132 w 2846845"/>
                          <a:gd name="connsiteY6" fmla="*/ 419730 h 2819186"/>
                          <a:gd name="connsiteX7" fmla="*/ 418558 w 2846845"/>
                          <a:gd name="connsiteY7" fmla="*/ 1231988 h 2819186"/>
                          <a:gd name="connsiteX8" fmla="*/ 399104 w 2846845"/>
                          <a:gd name="connsiteY8" fmla="*/ 1533546 h 2819186"/>
                          <a:gd name="connsiteX9" fmla="*/ 768755 w 2846845"/>
                          <a:gd name="connsiteY9" fmla="*/ 1922652 h 2819186"/>
                          <a:gd name="connsiteX10" fmla="*/ 934125 w 2846845"/>
                          <a:gd name="connsiteY10" fmla="*/ 2618180 h 2819186"/>
                          <a:gd name="connsiteX11" fmla="*/ 715252 w 2846845"/>
                          <a:gd name="connsiteY11" fmla="*/ 2807870 h 2819186"/>
                          <a:gd name="connsiteX12" fmla="*/ 452606 w 2846845"/>
                          <a:gd name="connsiteY12" fmla="*/ 2049112 h 2819186"/>
                          <a:gd name="connsiteX13" fmla="*/ 58634 w 2846845"/>
                          <a:gd name="connsiteY13" fmla="*/ 1606503 h 2819186"/>
                          <a:gd name="connsiteX14" fmla="*/ 117001 w 2846845"/>
                          <a:gd name="connsiteY14" fmla="*/ 1095802 h 2819186"/>
                          <a:gd name="connsiteX0" fmla="*/ 117001 w 2846845"/>
                          <a:gd name="connsiteY0" fmla="*/ 1083122 h 2806506"/>
                          <a:gd name="connsiteX1" fmla="*/ 1007082 w 2846845"/>
                          <a:gd name="connsiteY1" fmla="*/ 110355 h 2806506"/>
                          <a:gd name="connsiteX2" fmla="*/ 1663699 w 2846845"/>
                          <a:gd name="connsiteY2" fmla="*/ 100628 h 2806506"/>
                          <a:gd name="connsiteX3" fmla="*/ 2568372 w 2846845"/>
                          <a:gd name="connsiteY3" fmla="*/ 231951 h 2806506"/>
                          <a:gd name="connsiteX4" fmla="*/ 2617010 w 2846845"/>
                          <a:gd name="connsiteY4" fmla="*/ 373004 h 2806506"/>
                          <a:gd name="connsiteX5" fmla="*/ 1566422 w 2846845"/>
                          <a:gd name="connsiteY5" fmla="*/ 455688 h 2806506"/>
                          <a:gd name="connsiteX6" fmla="*/ 1148132 w 2846845"/>
                          <a:gd name="connsiteY6" fmla="*/ 407050 h 2806506"/>
                          <a:gd name="connsiteX7" fmla="*/ 418558 w 2846845"/>
                          <a:gd name="connsiteY7" fmla="*/ 1219308 h 2806506"/>
                          <a:gd name="connsiteX8" fmla="*/ 399104 w 2846845"/>
                          <a:gd name="connsiteY8" fmla="*/ 1520866 h 2806506"/>
                          <a:gd name="connsiteX9" fmla="*/ 768755 w 2846845"/>
                          <a:gd name="connsiteY9" fmla="*/ 1909972 h 2806506"/>
                          <a:gd name="connsiteX10" fmla="*/ 934125 w 2846845"/>
                          <a:gd name="connsiteY10" fmla="*/ 2605500 h 2806506"/>
                          <a:gd name="connsiteX11" fmla="*/ 715252 w 2846845"/>
                          <a:gd name="connsiteY11" fmla="*/ 2795190 h 2806506"/>
                          <a:gd name="connsiteX12" fmla="*/ 452606 w 2846845"/>
                          <a:gd name="connsiteY12" fmla="*/ 2036432 h 2806506"/>
                          <a:gd name="connsiteX13" fmla="*/ 58634 w 2846845"/>
                          <a:gd name="connsiteY13" fmla="*/ 1593823 h 2806506"/>
                          <a:gd name="connsiteX14" fmla="*/ 117001 w 2846845"/>
                          <a:gd name="connsiteY14" fmla="*/ 1083122 h 2806506"/>
                          <a:gd name="connsiteX0" fmla="*/ 117001 w 2846845"/>
                          <a:gd name="connsiteY0" fmla="*/ 1083122 h 2806506"/>
                          <a:gd name="connsiteX1" fmla="*/ 1007082 w 2846845"/>
                          <a:gd name="connsiteY1" fmla="*/ 110355 h 2806506"/>
                          <a:gd name="connsiteX2" fmla="*/ 1639380 w 2846845"/>
                          <a:gd name="connsiteY2" fmla="*/ 100628 h 2806506"/>
                          <a:gd name="connsiteX3" fmla="*/ 2568372 w 2846845"/>
                          <a:gd name="connsiteY3" fmla="*/ 231951 h 2806506"/>
                          <a:gd name="connsiteX4" fmla="*/ 2617010 w 2846845"/>
                          <a:gd name="connsiteY4" fmla="*/ 373004 h 2806506"/>
                          <a:gd name="connsiteX5" fmla="*/ 1566422 w 2846845"/>
                          <a:gd name="connsiteY5" fmla="*/ 455688 h 2806506"/>
                          <a:gd name="connsiteX6" fmla="*/ 1148132 w 2846845"/>
                          <a:gd name="connsiteY6" fmla="*/ 407050 h 2806506"/>
                          <a:gd name="connsiteX7" fmla="*/ 418558 w 2846845"/>
                          <a:gd name="connsiteY7" fmla="*/ 1219308 h 2806506"/>
                          <a:gd name="connsiteX8" fmla="*/ 399104 w 2846845"/>
                          <a:gd name="connsiteY8" fmla="*/ 1520866 h 2806506"/>
                          <a:gd name="connsiteX9" fmla="*/ 768755 w 2846845"/>
                          <a:gd name="connsiteY9" fmla="*/ 1909972 h 2806506"/>
                          <a:gd name="connsiteX10" fmla="*/ 934125 w 2846845"/>
                          <a:gd name="connsiteY10" fmla="*/ 2605500 h 2806506"/>
                          <a:gd name="connsiteX11" fmla="*/ 715252 w 2846845"/>
                          <a:gd name="connsiteY11" fmla="*/ 2795190 h 2806506"/>
                          <a:gd name="connsiteX12" fmla="*/ 452606 w 2846845"/>
                          <a:gd name="connsiteY12" fmla="*/ 2036432 h 2806506"/>
                          <a:gd name="connsiteX13" fmla="*/ 58634 w 2846845"/>
                          <a:gd name="connsiteY13" fmla="*/ 1593823 h 2806506"/>
                          <a:gd name="connsiteX14" fmla="*/ 117001 w 2846845"/>
                          <a:gd name="connsiteY14" fmla="*/ 1083122 h 2806506"/>
                          <a:gd name="connsiteX0" fmla="*/ 117001 w 2846845"/>
                          <a:gd name="connsiteY0" fmla="*/ 1083122 h 2806506"/>
                          <a:gd name="connsiteX1" fmla="*/ 1007082 w 2846845"/>
                          <a:gd name="connsiteY1" fmla="*/ 110355 h 2806506"/>
                          <a:gd name="connsiteX2" fmla="*/ 1639380 w 2846845"/>
                          <a:gd name="connsiteY2" fmla="*/ 100628 h 2806506"/>
                          <a:gd name="connsiteX3" fmla="*/ 2568372 w 2846845"/>
                          <a:gd name="connsiteY3" fmla="*/ 231951 h 2806506"/>
                          <a:gd name="connsiteX4" fmla="*/ 2617010 w 2846845"/>
                          <a:gd name="connsiteY4" fmla="*/ 373004 h 2806506"/>
                          <a:gd name="connsiteX5" fmla="*/ 1566422 w 2846845"/>
                          <a:gd name="connsiteY5" fmla="*/ 455688 h 2806506"/>
                          <a:gd name="connsiteX6" fmla="*/ 1148132 w 2846845"/>
                          <a:gd name="connsiteY6" fmla="*/ 407050 h 2806506"/>
                          <a:gd name="connsiteX7" fmla="*/ 418558 w 2846845"/>
                          <a:gd name="connsiteY7" fmla="*/ 1219308 h 2806506"/>
                          <a:gd name="connsiteX8" fmla="*/ 399104 w 2846845"/>
                          <a:gd name="connsiteY8" fmla="*/ 1520866 h 2806506"/>
                          <a:gd name="connsiteX9" fmla="*/ 768755 w 2846845"/>
                          <a:gd name="connsiteY9" fmla="*/ 1909972 h 2806506"/>
                          <a:gd name="connsiteX10" fmla="*/ 934125 w 2846845"/>
                          <a:gd name="connsiteY10" fmla="*/ 2605500 h 2806506"/>
                          <a:gd name="connsiteX11" fmla="*/ 715252 w 2846845"/>
                          <a:gd name="connsiteY11" fmla="*/ 2795190 h 2806506"/>
                          <a:gd name="connsiteX12" fmla="*/ 452606 w 2846845"/>
                          <a:gd name="connsiteY12" fmla="*/ 2036432 h 2806506"/>
                          <a:gd name="connsiteX13" fmla="*/ 58634 w 2846845"/>
                          <a:gd name="connsiteY13" fmla="*/ 1593823 h 2806506"/>
                          <a:gd name="connsiteX14" fmla="*/ 117001 w 2846845"/>
                          <a:gd name="connsiteY14" fmla="*/ 1083122 h 2806506"/>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768755 w 2846845"/>
                          <a:gd name="connsiteY9" fmla="*/ 1915683 h 2812217"/>
                          <a:gd name="connsiteX10" fmla="*/ 934125 w 2846845"/>
                          <a:gd name="connsiteY10" fmla="*/ 2611211 h 2812217"/>
                          <a:gd name="connsiteX11" fmla="*/ 715252 w 2846845"/>
                          <a:gd name="connsiteY11" fmla="*/ 2800901 h 2812217"/>
                          <a:gd name="connsiteX12" fmla="*/ 452606 w 2846845"/>
                          <a:gd name="connsiteY12" fmla="*/ 2042143 h 2812217"/>
                          <a:gd name="connsiteX13" fmla="*/ 58634 w 2846845"/>
                          <a:gd name="connsiteY13" fmla="*/ 1599534 h 2812217"/>
                          <a:gd name="connsiteX14" fmla="*/ 117001 w 2846845"/>
                          <a:gd name="connsiteY14"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768755 w 2846845"/>
                          <a:gd name="connsiteY9" fmla="*/ 1915683 h 2812217"/>
                          <a:gd name="connsiteX10" fmla="*/ 934125 w 2846845"/>
                          <a:gd name="connsiteY10" fmla="*/ 2611211 h 2812217"/>
                          <a:gd name="connsiteX11" fmla="*/ 715252 w 2846845"/>
                          <a:gd name="connsiteY11" fmla="*/ 2800901 h 2812217"/>
                          <a:gd name="connsiteX12" fmla="*/ 452606 w 2846845"/>
                          <a:gd name="connsiteY12" fmla="*/ 2042143 h 2812217"/>
                          <a:gd name="connsiteX13" fmla="*/ 58634 w 2846845"/>
                          <a:gd name="connsiteY13" fmla="*/ 1599534 h 2812217"/>
                          <a:gd name="connsiteX14" fmla="*/ 117001 w 2846845"/>
                          <a:gd name="connsiteY14"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768755 w 2846845"/>
                          <a:gd name="connsiteY9" fmla="*/ 1915683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452606 w 2846845"/>
                          <a:gd name="connsiteY14" fmla="*/ 2042143 h 2812217"/>
                          <a:gd name="connsiteX15" fmla="*/ 316418 w 2846845"/>
                          <a:gd name="connsiteY15" fmla="*/ 1891366 h 2812217"/>
                          <a:gd name="connsiteX16" fmla="*/ 58634 w 2846845"/>
                          <a:gd name="connsiteY16" fmla="*/ 1599534 h 2812217"/>
                          <a:gd name="connsiteX17" fmla="*/ 117001 w 2846845"/>
                          <a:gd name="connsiteY17"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296962 w 2846845"/>
                          <a:gd name="connsiteY14" fmla="*/ 1891366 h 2812217"/>
                          <a:gd name="connsiteX15" fmla="*/ 58634 w 2846845"/>
                          <a:gd name="connsiteY15" fmla="*/ 1599534 h 2812217"/>
                          <a:gd name="connsiteX16" fmla="*/ 117001 w 2846845"/>
                          <a:gd name="connsiteY16" fmla="*/ 1088833 h 2812217"/>
                          <a:gd name="connsiteX0" fmla="*/ 33194 w 2763038"/>
                          <a:gd name="connsiteY0" fmla="*/ 1088833 h 2812217"/>
                          <a:gd name="connsiteX1" fmla="*/ 923275 w 2763038"/>
                          <a:gd name="connsiteY1" fmla="*/ 116066 h 2812217"/>
                          <a:gd name="connsiteX2" fmla="*/ 1555573 w 2763038"/>
                          <a:gd name="connsiteY2" fmla="*/ 106339 h 2812217"/>
                          <a:gd name="connsiteX3" fmla="*/ 2484565 w 2763038"/>
                          <a:gd name="connsiteY3" fmla="*/ 237662 h 2812217"/>
                          <a:gd name="connsiteX4" fmla="*/ 2533203 w 2763038"/>
                          <a:gd name="connsiteY4" fmla="*/ 378715 h 2812217"/>
                          <a:gd name="connsiteX5" fmla="*/ 1482615 w 2763038"/>
                          <a:gd name="connsiteY5" fmla="*/ 461399 h 2812217"/>
                          <a:gd name="connsiteX6" fmla="*/ 1064325 w 2763038"/>
                          <a:gd name="connsiteY6" fmla="*/ 412761 h 2812217"/>
                          <a:gd name="connsiteX7" fmla="*/ 334751 w 2763038"/>
                          <a:gd name="connsiteY7" fmla="*/ 1225019 h 2812217"/>
                          <a:gd name="connsiteX8" fmla="*/ 315297 w 2763038"/>
                          <a:gd name="connsiteY8" fmla="*/ 1526577 h 2812217"/>
                          <a:gd name="connsiteX9" fmla="*/ 607127 w 2763038"/>
                          <a:gd name="connsiteY9" fmla="*/ 1832998 h 2812217"/>
                          <a:gd name="connsiteX10" fmla="*/ 743313 w 2763038"/>
                          <a:gd name="connsiteY10" fmla="*/ 2202651 h 2812217"/>
                          <a:gd name="connsiteX11" fmla="*/ 850318 w 2763038"/>
                          <a:gd name="connsiteY11" fmla="*/ 2611211 h 2812217"/>
                          <a:gd name="connsiteX12" fmla="*/ 631445 w 2763038"/>
                          <a:gd name="connsiteY12" fmla="*/ 2800901 h 2812217"/>
                          <a:gd name="connsiteX13" fmla="*/ 436892 w 2763038"/>
                          <a:gd name="connsiteY13" fmla="*/ 2304792 h 2812217"/>
                          <a:gd name="connsiteX14" fmla="*/ 213155 w 2763038"/>
                          <a:gd name="connsiteY14" fmla="*/ 1891366 h 2812217"/>
                          <a:gd name="connsiteX15" fmla="*/ 33194 w 2763038"/>
                          <a:gd name="connsiteY15" fmla="*/ 1088833 h 2812217"/>
                          <a:gd name="connsiteX0" fmla="*/ 95096 w 2824940"/>
                          <a:gd name="connsiteY0" fmla="*/ 1088833 h 2812217"/>
                          <a:gd name="connsiteX1" fmla="*/ 985177 w 2824940"/>
                          <a:gd name="connsiteY1" fmla="*/ 116066 h 2812217"/>
                          <a:gd name="connsiteX2" fmla="*/ 1617475 w 2824940"/>
                          <a:gd name="connsiteY2" fmla="*/ 106339 h 2812217"/>
                          <a:gd name="connsiteX3" fmla="*/ 2546467 w 2824940"/>
                          <a:gd name="connsiteY3" fmla="*/ 237662 h 2812217"/>
                          <a:gd name="connsiteX4" fmla="*/ 2595105 w 2824940"/>
                          <a:gd name="connsiteY4" fmla="*/ 378715 h 2812217"/>
                          <a:gd name="connsiteX5" fmla="*/ 1544517 w 2824940"/>
                          <a:gd name="connsiteY5" fmla="*/ 461399 h 2812217"/>
                          <a:gd name="connsiteX6" fmla="*/ 1126227 w 2824940"/>
                          <a:gd name="connsiteY6" fmla="*/ 412761 h 2812217"/>
                          <a:gd name="connsiteX7" fmla="*/ 396653 w 2824940"/>
                          <a:gd name="connsiteY7" fmla="*/ 1225019 h 2812217"/>
                          <a:gd name="connsiteX8" fmla="*/ 377199 w 2824940"/>
                          <a:gd name="connsiteY8" fmla="*/ 1526577 h 2812217"/>
                          <a:gd name="connsiteX9" fmla="*/ 669029 w 2824940"/>
                          <a:gd name="connsiteY9" fmla="*/ 1832998 h 2812217"/>
                          <a:gd name="connsiteX10" fmla="*/ 805215 w 2824940"/>
                          <a:gd name="connsiteY10" fmla="*/ 2202651 h 2812217"/>
                          <a:gd name="connsiteX11" fmla="*/ 912220 w 2824940"/>
                          <a:gd name="connsiteY11" fmla="*/ 2611211 h 2812217"/>
                          <a:gd name="connsiteX12" fmla="*/ 693347 w 2824940"/>
                          <a:gd name="connsiteY12" fmla="*/ 2800901 h 2812217"/>
                          <a:gd name="connsiteX13" fmla="*/ 498794 w 2824940"/>
                          <a:gd name="connsiteY13" fmla="*/ 2304792 h 2812217"/>
                          <a:gd name="connsiteX14" fmla="*/ 275057 w 2824940"/>
                          <a:gd name="connsiteY14" fmla="*/ 1891366 h 2812217"/>
                          <a:gd name="connsiteX15" fmla="*/ 95096 w 2824940"/>
                          <a:gd name="connsiteY15" fmla="*/ 1088833 h 2812217"/>
                          <a:gd name="connsiteX0" fmla="*/ 121910 w 2851754"/>
                          <a:gd name="connsiteY0" fmla="*/ 1088833 h 2812217"/>
                          <a:gd name="connsiteX1" fmla="*/ 1011991 w 2851754"/>
                          <a:gd name="connsiteY1" fmla="*/ 116066 h 2812217"/>
                          <a:gd name="connsiteX2" fmla="*/ 1644289 w 2851754"/>
                          <a:gd name="connsiteY2" fmla="*/ 106339 h 2812217"/>
                          <a:gd name="connsiteX3" fmla="*/ 2573281 w 2851754"/>
                          <a:gd name="connsiteY3" fmla="*/ 237662 h 2812217"/>
                          <a:gd name="connsiteX4" fmla="*/ 2621919 w 2851754"/>
                          <a:gd name="connsiteY4" fmla="*/ 378715 h 2812217"/>
                          <a:gd name="connsiteX5" fmla="*/ 1571331 w 2851754"/>
                          <a:gd name="connsiteY5" fmla="*/ 461399 h 2812217"/>
                          <a:gd name="connsiteX6" fmla="*/ 1153041 w 2851754"/>
                          <a:gd name="connsiteY6" fmla="*/ 412761 h 2812217"/>
                          <a:gd name="connsiteX7" fmla="*/ 423467 w 2851754"/>
                          <a:gd name="connsiteY7" fmla="*/ 1225019 h 2812217"/>
                          <a:gd name="connsiteX8" fmla="*/ 404013 w 2851754"/>
                          <a:gd name="connsiteY8" fmla="*/ 1526577 h 2812217"/>
                          <a:gd name="connsiteX9" fmla="*/ 695843 w 2851754"/>
                          <a:gd name="connsiteY9" fmla="*/ 1832998 h 2812217"/>
                          <a:gd name="connsiteX10" fmla="*/ 832029 w 2851754"/>
                          <a:gd name="connsiteY10" fmla="*/ 2202651 h 2812217"/>
                          <a:gd name="connsiteX11" fmla="*/ 939034 w 2851754"/>
                          <a:gd name="connsiteY11" fmla="*/ 2611211 h 2812217"/>
                          <a:gd name="connsiteX12" fmla="*/ 720161 w 2851754"/>
                          <a:gd name="connsiteY12" fmla="*/ 2800901 h 2812217"/>
                          <a:gd name="connsiteX13" fmla="*/ 525608 w 2851754"/>
                          <a:gd name="connsiteY13" fmla="*/ 2304792 h 2812217"/>
                          <a:gd name="connsiteX14" fmla="*/ 243505 w 2851754"/>
                          <a:gd name="connsiteY14" fmla="*/ 1842728 h 2812217"/>
                          <a:gd name="connsiteX15" fmla="*/ 121910 w 2851754"/>
                          <a:gd name="connsiteY15" fmla="*/ 1088833 h 2812217"/>
                          <a:gd name="connsiteX0" fmla="*/ 121910 w 2851754"/>
                          <a:gd name="connsiteY0" fmla="*/ 1088833 h 2812217"/>
                          <a:gd name="connsiteX1" fmla="*/ 1011991 w 2851754"/>
                          <a:gd name="connsiteY1" fmla="*/ 116066 h 2812217"/>
                          <a:gd name="connsiteX2" fmla="*/ 1644289 w 2851754"/>
                          <a:gd name="connsiteY2" fmla="*/ 106339 h 2812217"/>
                          <a:gd name="connsiteX3" fmla="*/ 2573281 w 2851754"/>
                          <a:gd name="connsiteY3" fmla="*/ 237662 h 2812217"/>
                          <a:gd name="connsiteX4" fmla="*/ 2621919 w 2851754"/>
                          <a:gd name="connsiteY4" fmla="*/ 378715 h 2812217"/>
                          <a:gd name="connsiteX5" fmla="*/ 1571331 w 2851754"/>
                          <a:gd name="connsiteY5" fmla="*/ 461399 h 2812217"/>
                          <a:gd name="connsiteX6" fmla="*/ 1153041 w 2851754"/>
                          <a:gd name="connsiteY6" fmla="*/ 412761 h 2812217"/>
                          <a:gd name="connsiteX7" fmla="*/ 423467 w 2851754"/>
                          <a:gd name="connsiteY7" fmla="*/ 1225019 h 2812217"/>
                          <a:gd name="connsiteX8" fmla="*/ 404013 w 2851754"/>
                          <a:gd name="connsiteY8" fmla="*/ 1526577 h 2812217"/>
                          <a:gd name="connsiteX9" fmla="*/ 695843 w 2851754"/>
                          <a:gd name="connsiteY9" fmla="*/ 1832998 h 2812217"/>
                          <a:gd name="connsiteX10" fmla="*/ 832029 w 2851754"/>
                          <a:gd name="connsiteY10" fmla="*/ 2202651 h 2812217"/>
                          <a:gd name="connsiteX11" fmla="*/ 939034 w 2851754"/>
                          <a:gd name="connsiteY11" fmla="*/ 2611211 h 2812217"/>
                          <a:gd name="connsiteX12" fmla="*/ 720161 w 2851754"/>
                          <a:gd name="connsiteY12" fmla="*/ 2800901 h 2812217"/>
                          <a:gd name="connsiteX13" fmla="*/ 525608 w 2851754"/>
                          <a:gd name="connsiteY13" fmla="*/ 2304792 h 2812217"/>
                          <a:gd name="connsiteX14" fmla="*/ 243505 w 2851754"/>
                          <a:gd name="connsiteY14" fmla="*/ 1823273 h 2812217"/>
                          <a:gd name="connsiteX15" fmla="*/ 121910 w 2851754"/>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28737" h="2812217">
                            <a:moveTo>
                              <a:pt x="98893" y="1088833"/>
                            </a:moveTo>
                            <a:lnTo>
                              <a:pt x="988974" y="116066"/>
                            </a:lnTo>
                            <a:cubicBezTo>
                              <a:pt x="1237028" y="-91457"/>
                              <a:pt x="1475359" y="26896"/>
                              <a:pt x="1621272" y="106339"/>
                            </a:cubicBezTo>
                            <a:cubicBezTo>
                              <a:pt x="1810961" y="223070"/>
                              <a:pt x="1859599" y="480854"/>
                              <a:pt x="2550264" y="237662"/>
                            </a:cubicBezTo>
                            <a:cubicBezTo>
                              <a:pt x="3031783" y="163893"/>
                              <a:pt x="2780485" y="263604"/>
                              <a:pt x="2598902" y="378715"/>
                            </a:cubicBezTo>
                            <a:cubicBezTo>
                              <a:pt x="2388135" y="493827"/>
                              <a:pt x="2276268" y="900764"/>
                              <a:pt x="1548314" y="461399"/>
                            </a:cubicBezTo>
                            <a:cubicBezTo>
                              <a:pt x="1345654" y="231178"/>
                              <a:pt x="1191633" y="331698"/>
                              <a:pt x="1130024" y="412761"/>
                            </a:cubicBezTo>
                            <a:lnTo>
                              <a:pt x="400450" y="1225019"/>
                            </a:lnTo>
                            <a:cubicBezTo>
                              <a:pt x="269938" y="1340129"/>
                              <a:pt x="328305" y="1447946"/>
                              <a:pt x="380996" y="1526577"/>
                            </a:cubicBezTo>
                            <a:cubicBezTo>
                              <a:pt x="462061" y="1650605"/>
                              <a:pt x="544746" y="1661953"/>
                              <a:pt x="672826" y="1832998"/>
                            </a:cubicBezTo>
                            <a:cubicBezTo>
                              <a:pt x="812256" y="1950541"/>
                              <a:pt x="781450" y="2086730"/>
                              <a:pt x="809012" y="2202651"/>
                            </a:cubicBezTo>
                            <a:cubicBezTo>
                              <a:pt x="831709" y="2401257"/>
                              <a:pt x="895751" y="2530959"/>
                              <a:pt x="916017" y="2611211"/>
                            </a:cubicBezTo>
                            <a:cubicBezTo>
                              <a:pt x="821171" y="2696329"/>
                              <a:pt x="678499" y="2856024"/>
                              <a:pt x="697144" y="2800901"/>
                            </a:cubicBezTo>
                            <a:cubicBezTo>
                              <a:pt x="628240" y="2749831"/>
                              <a:pt x="554471" y="2548794"/>
                              <a:pt x="502591" y="2304792"/>
                            </a:cubicBezTo>
                            <a:cubicBezTo>
                              <a:pt x="513940" y="1968378"/>
                              <a:pt x="326682" y="1955407"/>
                              <a:pt x="220488" y="1823273"/>
                            </a:cubicBezTo>
                            <a:cubicBezTo>
                              <a:pt x="-85124" y="1523337"/>
                              <a:pt x="-19460" y="1384716"/>
                              <a:pt x="98893" y="1088833"/>
                            </a:cubicBez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2" name="Freeform 51"/>
                      <p:cNvSpPr/>
                      <p:nvPr/>
                    </p:nvSpPr>
                    <p:spPr>
                      <a:xfrm rot="13561719">
                        <a:off x="7418586" y="1869442"/>
                        <a:ext cx="413362" cy="187108"/>
                      </a:xfrm>
                      <a:custGeom>
                        <a:avLst/>
                        <a:gdLst>
                          <a:gd name="connsiteX0" fmla="*/ 2919340 w 3034342"/>
                          <a:gd name="connsiteY0" fmla="*/ 983691 h 1373490"/>
                          <a:gd name="connsiteX1" fmla="*/ 2641702 w 3034342"/>
                          <a:gd name="connsiteY1" fmla="*/ 1098692 h 1373490"/>
                          <a:gd name="connsiteX2" fmla="*/ 2641703 w 3034342"/>
                          <a:gd name="connsiteY2" fmla="*/ 1098691 h 1373490"/>
                          <a:gd name="connsiteX3" fmla="*/ 2279920 w 3034342"/>
                          <a:gd name="connsiteY3" fmla="*/ 858885 h 1373490"/>
                          <a:gd name="connsiteX4" fmla="*/ 2265342 w 3034342"/>
                          <a:gd name="connsiteY4" fmla="*/ 811923 h 1373490"/>
                          <a:gd name="connsiteX5" fmla="*/ 2261956 w 3034342"/>
                          <a:gd name="connsiteY5" fmla="*/ 822831 h 1373490"/>
                          <a:gd name="connsiteX6" fmla="*/ 2174458 w 3034342"/>
                          <a:gd name="connsiteY6" fmla="*/ 952607 h 1373490"/>
                          <a:gd name="connsiteX7" fmla="*/ 1885762 w 3034342"/>
                          <a:gd name="connsiteY7" fmla="*/ 1072190 h 1373490"/>
                          <a:gd name="connsiteX8" fmla="*/ 1885762 w 3034342"/>
                          <a:gd name="connsiteY8" fmla="*/ 1072189 h 1373490"/>
                          <a:gd name="connsiteX9" fmla="*/ 1547211 w 3034342"/>
                          <a:gd name="connsiteY9" fmla="*/ 892182 h 1373490"/>
                          <a:gd name="connsiteX10" fmla="*/ 1543596 w 3034342"/>
                          <a:gd name="connsiteY10" fmla="*/ 885521 h 1373490"/>
                          <a:gd name="connsiteX11" fmla="*/ 1540499 w 3034342"/>
                          <a:gd name="connsiteY11" fmla="*/ 916235 h 1373490"/>
                          <a:gd name="connsiteX12" fmla="*/ 1433405 w 3034342"/>
                          <a:gd name="connsiteY12" fmla="*/ 1114872 h 1373490"/>
                          <a:gd name="connsiteX13" fmla="*/ 1155585 w 3034342"/>
                          <a:gd name="connsiteY13" fmla="*/ 1229949 h 1373490"/>
                          <a:gd name="connsiteX14" fmla="*/ 1114820 w 3034342"/>
                          <a:gd name="connsiteY14" fmla="*/ 1229949 h 1373490"/>
                          <a:gd name="connsiteX15" fmla="*/ 789023 w 3034342"/>
                          <a:gd name="connsiteY15" fmla="*/ 1056724 h 1373490"/>
                          <a:gd name="connsiteX16" fmla="*/ 787530 w 3034342"/>
                          <a:gd name="connsiteY16" fmla="*/ 1053973 h 1373490"/>
                          <a:gd name="connsiteX17" fmla="*/ 768370 w 3034342"/>
                          <a:gd name="connsiteY17" fmla="*/ 1118431 h 1373490"/>
                          <a:gd name="connsiteX18" fmla="*/ 399898 w 3034342"/>
                          <a:gd name="connsiteY18" fmla="*/ 1373490 h 1373490"/>
                          <a:gd name="connsiteX19" fmla="*/ 0 w 3034342"/>
                          <a:gd name="connsiteY19" fmla="*/ 955877 h 1373490"/>
                          <a:gd name="connsiteX20" fmla="*/ 399898 w 3034342"/>
                          <a:gd name="connsiteY20" fmla="*/ 538264 h 1373490"/>
                          <a:gd name="connsiteX21" fmla="*/ 682669 w 3034342"/>
                          <a:gd name="connsiteY21" fmla="*/ 660580 h 1373490"/>
                          <a:gd name="connsiteX22" fmla="*/ 721923 w 3034342"/>
                          <a:gd name="connsiteY22" fmla="*/ 710264 h 1373490"/>
                          <a:gd name="connsiteX23" fmla="*/ 721923 w 3034342"/>
                          <a:gd name="connsiteY23" fmla="*/ 662287 h 1373490"/>
                          <a:gd name="connsiteX24" fmla="*/ 1114820 w 3034342"/>
                          <a:gd name="connsiteY24" fmla="*/ 269390 h 1373490"/>
                          <a:gd name="connsiteX25" fmla="*/ 1155585 w 3034342"/>
                          <a:gd name="connsiteY25" fmla="*/ 269390 h 1373490"/>
                          <a:gd name="connsiteX26" fmla="*/ 1433405 w 3034342"/>
                          <a:gd name="connsiteY26" fmla="*/ 384467 h 1373490"/>
                          <a:gd name="connsiteX27" fmla="*/ 1477483 w 3034342"/>
                          <a:gd name="connsiteY27" fmla="*/ 437891 h 1373490"/>
                          <a:gd name="connsiteX28" fmla="*/ 1477483 w 3034342"/>
                          <a:gd name="connsiteY28" fmla="*/ 408279 h 1373490"/>
                          <a:gd name="connsiteX29" fmla="*/ 1885762 w 3034342"/>
                          <a:gd name="connsiteY29" fmla="*/ 0 h 1373490"/>
                          <a:gd name="connsiteX30" fmla="*/ 2285747 w 3034342"/>
                          <a:gd name="connsiteY30" fmla="*/ 325996 h 1373490"/>
                          <a:gd name="connsiteX31" fmla="*/ 2290609 w 3034342"/>
                          <a:gd name="connsiteY31" fmla="*/ 374229 h 1373490"/>
                          <a:gd name="connsiteX32" fmla="*/ 2316121 w 3034342"/>
                          <a:gd name="connsiteY32" fmla="*/ 327227 h 1373490"/>
                          <a:gd name="connsiteX33" fmla="*/ 2641703 w 3034342"/>
                          <a:gd name="connsiteY33" fmla="*/ 154117 h 1373490"/>
                          <a:gd name="connsiteX34" fmla="*/ 3034342 w 3034342"/>
                          <a:gd name="connsiteY34" fmla="*/ 546756 h 1373490"/>
                          <a:gd name="connsiteX35" fmla="*/ 3034341 w 3034342"/>
                          <a:gd name="connsiteY35" fmla="*/ 706053 h 1373490"/>
                          <a:gd name="connsiteX36" fmla="*/ 2919340 w 3034342"/>
                          <a:gd name="connsiteY36" fmla="*/ 983691 h 137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34342" h="1373490">
                            <a:moveTo>
                              <a:pt x="2919340" y="983691"/>
                            </a:moveTo>
                            <a:cubicBezTo>
                              <a:pt x="2848286" y="1054744"/>
                              <a:pt x="2750127" y="1098692"/>
                              <a:pt x="2641702" y="1098692"/>
                            </a:cubicBezTo>
                            <a:lnTo>
                              <a:pt x="2641703" y="1098691"/>
                            </a:lnTo>
                            <a:cubicBezTo>
                              <a:pt x="2479067" y="1098691"/>
                              <a:pt x="2339525" y="999809"/>
                              <a:pt x="2279920" y="858885"/>
                            </a:cubicBezTo>
                            <a:lnTo>
                              <a:pt x="2265342" y="811923"/>
                            </a:lnTo>
                            <a:lnTo>
                              <a:pt x="2261956" y="822831"/>
                            </a:lnTo>
                            <a:cubicBezTo>
                              <a:pt x="2241296" y="871677"/>
                              <a:pt x="2211400" y="915665"/>
                              <a:pt x="2174458" y="952607"/>
                            </a:cubicBezTo>
                            <a:cubicBezTo>
                              <a:pt x="2100574" y="1026491"/>
                              <a:pt x="1998504" y="1072190"/>
                              <a:pt x="1885762" y="1072190"/>
                            </a:cubicBezTo>
                            <a:lnTo>
                              <a:pt x="1885762" y="1072189"/>
                            </a:lnTo>
                            <a:cubicBezTo>
                              <a:pt x="1744834" y="1072189"/>
                              <a:pt x="1620582" y="1000785"/>
                              <a:pt x="1547211" y="892182"/>
                            </a:cubicBezTo>
                            <a:lnTo>
                              <a:pt x="1543596" y="885521"/>
                            </a:lnTo>
                            <a:lnTo>
                              <a:pt x="1540499" y="916235"/>
                            </a:lnTo>
                            <a:cubicBezTo>
                              <a:pt x="1524798" y="992965"/>
                              <a:pt x="1486730" y="1061547"/>
                              <a:pt x="1433405" y="1114872"/>
                            </a:cubicBezTo>
                            <a:cubicBezTo>
                              <a:pt x="1362305" y="1185973"/>
                              <a:pt x="1264080" y="1229949"/>
                              <a:pt x="1155585" y="1229949"/>
                            </a:cubicBezTo>
                            <a:lnTo>
                              <a:pt x="1114820" y="1229949"/>
                            </a:lnTo>
                            <a:cubicBezTo>
                              <a:pt x="979200" y="1229949"/>
                              <a:pt x="859630" y="1161236"/>
                              <a:pt x="789023" y="1056724"/>
                            </a:cubicBezTo>
                            <a:lnTo>
                              <a:pt x="787530" y="1053973"/>
                            </a:lnTo>
                            <a:lnTo>
                              <a:pt x="768370" y="1118431"/>
                            </a:lnTo>
                            <a:cubicBezTo>
                              <a:pt x="707662" y="1268318"/>
                              <a:pt x="565541" y="1373490"/>
                              <a:pt x="399898" y="1373490"/>
                            </a:cubicBezTo>
                            <a:cubicBezTo>
                              <a:pt x="179040" y="1373490"/>
                              <a:pt x="0" y="1186518"/>
                              <a:pt x="0" y="955877"/>
                            </a:cubicBezTo>
                            <a:cubicBezTo>
                              <a:pt x="0" y="725236"/>
                              <a:pt x="179040" y="538264"/>
                              <a:pt x="399898" y="538264"/>
                            </a:cubicBezTo>
                            <a:cubicBezTo>
                              <a:pt x="510327" y="538264"/>
                              <a:pt x="610301" y="585007"/>
                              <a:pt x="682669" y="660580"/>
                            </a:cubicBezTo>
                            <a:lnTo>
                              <a:pt x="721923" y="710264"/>
                            </a:lnTo>
                            <a:lnTo>
                              <a:pt x="721923" y="662287"/>
                            </a:lnTo>
                            <a:cubicBezTo>
                              <a:pt x="721923" y="445296"/>
                              <a:pt x="897829" y="269390"/>
                              <a:pt x="1114820" y="269390"/>
                            </a:cubicBezTo>
                            <a:lnTo>
                              <a:pt x="1155585" y="269390"/>
                            </a:lnTo>
                            <a:cubicBezTo>
                              <a:pt x="1264080" y="269390"/>
                              <a:pt x="1362304" y="313367"/>
                              <a:pt x="1433405" y="384467"/>
                            </a:cubicBezTo>
                            <a:lnTo>
                              <a:pt x="1477483" y="437891"/>
                            </a:lnTo>
                            <a:lnTo>
                              <a:pt x="1477483" y="408279"/>
                            </a:lnTo>
                            <a:cubicBezTo>
                              <a:pt x="1477483" y="182793"/>
                              <a:pt x="1660277" y="0"/>
                              <a:pt x="1885762" y="0"/>
                            </a:cubicBezTo>
                            <a:cubicBezTo>
                              <a:pt x="2083063" y="0"/>
                              <a:pt x="2247676" y="139951"/>
                              <a:pt x="2285747" y="325996"/>
                            </a:cubicBezTo>
                            <a:lnTo>
                              <a:pt x="2290609" y="374229"/>
                            </a:lnTo>
                            <a:lnTo>
                              <a:pt x="2316121" y="327227"/>
                            </a:lnTo>
                            <a:cubicBezTo>
                              <a:pt x="2386681" y="222784"/>
                              <a:pt x="2506173" y="154117"/>
                              <a:pt x="2641703" y="154117"/>
                            </a:cubicBezTo>
                            <a:cubicBezTo>
                              <a:pt x="2858552" y="154117"/>
                              <a:pt x="3034342" y="329907"/>
                              <a:pt x="3034342" y="546756"/>
                            </a:cubicBezTo>
                            <a:cubicBezTo>
                              <a:pt x="3034342" y="599855"/>
                              <a:pt x="3034341" y="652954"/>
                              <a:pt x="3034341" y="706053"/>
                            </a:cubicBezTo>
                            <a:cubicBezTo>
                              <a:pt x="3034341" y="814477"/>
                              <a:pt x="2990394" y="912637"/>
                              <a:pt x="2919340" y="983691"/>
                            </a:cubicBez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3" name="Rectangle 4"/>
                      <p:cNvSpPr/>
                      <p:nvPr/>
                    </p:nvSpPr>
                    <p:spPr>
                      <a:xfrm>
                        <a:off x="7828881" y="1621427"/>
                        <a:ext cx="302420" cy="494280"/>
                      </a:xfrm>
                      <a:custGeom>
                        <a:avLst/>
                        <a:gdLst>
                          <a:gd name="connsiteX0" fmla="*/ 0 w 1431890"/>
                          <a:gd name="connsiteY0" fmla="*/ 0 h 2160396"/>
                          <a:gd name="connsiteX1" fmla="*/ 1431890 w 1431890"/>
                          <a:gd name="connsiteY1" fmla="*/ 0 h 2160396"/>
                          <a:gd name="connsiteX2" fmla="*/ 1431890 w 1431890"/>
                          <a:gd name="connsiteY2" fmla="*/ 2160396 h 2160396"/>
                          <a:gd name="connsiteX3" fmla="*/ 0 w 1431890"/>
                          <a:gd name="connsiteY3" fmla="*/ 2160396 h 2160396"/>
                          <a:gd name="connsiteX4" fmla="*/ 0 w 1431890"/>
                          <a:gd name="connsiteY4" fmla="*/ 0 h 2160396"/>
                          <a:gd name="connsiteX0" fmla="*/ 266282 w 1698172"/>
                          <a:gd name="connsiteY0" fmla="*/ 0 h 2356338"/>
                          <a:gd name="connsiteX1" fmla="*/ 1698172 w 1698172"/>
                          <a:gd name="connsiteY1" fmla="*/ 0 h 2356338"/>
                          <a:gd name="connsiteX2" fmla="*/ 1698172 w 1698172"/>
                          <a:gd name="connsiteY2" fmla="*/ 2160396 h 2356338"/>
                          <a:gd name="connsiteX3" fmla="*/ 0 w 1698172"/>
                          <a:gd name="connsiteY3" fmla="*/ 2356338 h 2356338"/>
                          <a:gd name="connsiteX4" fmla="*/ 266282 w 1698172"/>
                          <a:gd name="connsiteY4" fmla="*/ 0 h 2356338"/>
                          <a:gd name="connsiteX0" fmla="*/ 266282 w 1698172"/>
                          <a:gd name="connsiteY0" fmla="*/ 0 h 2356338"/>
                          <a:gd name="connsiteX1" fmla="*/ 1698172 w 1698172"/>
                          <a:gd name="connsiteY1" fmla="*/ 0 h 2356338"/>
                          <a:gd name="connsiteX2" fmla="*/ 839038 w 1698172"/>
                          <a:gd name="connsiteY2" fmla="*/ 2105130 h 2356338"/>
                          <a:gd name="connsiteX3" fmla="*/ 0 w 1698172"/>
                          <a:gd name="connsiteY3" fmla="*/ 2356338 h 2356338"/>
                          <a:gd name="connsiteX4" fmla="*/ 266282 w 1698172"/>
                          <a:gd name="connsiteY4" fmla="*/ 0 h 2356338"/>
                          <a:gd name="connsiteX0" fmla="*/ 266282 w 1698172"/>
                          <a:gd name="connsiteY0" fmla="*/ 0 h 2392578"/>
                          <a:gd name="connsiteX1" fmla="*/ 1698172 w 1698172"/>
                          <a:gd name="connsiteY1" fmla="*/ 0 h 2392578"/>
                          <a:gd name="connsiteX2" fmla="*/ 839038 w 1698172"/>
                          <a:gd name="connsiteY2" fmla="*/ 2105130 h 2392578"/>
                          <a:gd name="connsiteX3" fmla="*/ 0 w 1698172"/>
                          <a:gd name="connsiteY3" fmla="*/ 2356338 h 2392578"/>
                          <a:gd name="connsiteX4" fmla="*/ 266282 w 1698172"/>
                          <a:gd name="connsiteY4" fmla="*/ 0 h 2392578"/>
                          <a:gd name="connsiteX0" fmla="*/ 266282 w 1698172"/>
                          <a:gd name="connsiteY0" fmla="*/ 0 h 2464004"/>
                          <a:gd name="connsiteX1" fmla="*/ 1698172 w 1698172"/>
                          <a:gd name="connsiteY1" fmla="*/ 0 h 2464004"/>
                          <a:gd name="connsiteX2" fmla="*/ 839038 w 1698172"/>
                          <a:gd name="connsiteY2" fmla="*/ 2105130 h 2464004"/>
                          <a:gd name="connsiteX3" fmla="*/ 0 w 1698172"/>
                          <a:gd name="connsiteY3" fmla="*/ 2356338 h 2464004"/>
                          <a:gd name="connsiteX4" fmla="*/ 266282 w 1698172"/>
                          <a:gd name="connsiteY4" fmla="*/ 0 h 246400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266282 w 1698172"/>
                          <a:gd name="connsiteY4"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90436 w 1698172"/>
                          <a:gd name="connsiteY4" fmla="*/ 1502229 h 2458914"/>
                          <a:gd name="connsiteX5" fmla="*/ 266282 w 1698172"/>
                          <a:gd name="connsiteY5"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542612 w 1698172"/>
                          <a:gd name="connsiteY4" fmla="*/ 1924260 h 2458914"/>
                          <a:gd name="connsiteX5" fmla="*/ 266282 w 1698172"/>
                          <a:gd name="connsiteY5"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226089 w 1698172"/>
                          <a:gd name="connsiteY4" fmla="*/ 2170444 h 2458914"/>
                          <a:gd name="connsiteX5" fmla="*/ 542612 w 1698172"/>
                          <a:gd name="connsiteY5" fmla="*/ 1924260 h 2458914"/>
                          <a:gd name="connsiteX6" fmla="*/ 266282 w 1698172"/>
                          <a:gd name="connsiteY6"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110533 w 1698172"/>
                          <a:gd name="connsiteY4" fmla="*/ 2044840 h 2458914"/>
                          <a:gd name="connsiteX5" fmla="*/ 542612 w 1698172"/>
                          <a:gd name="connsiteY5" fmla="*/ 1924260 h 2458914"/>
                          <a:gd name="connsiteX6" fmla="*/ 266282 w 1698172"/>
                          <a:gd name="connsiteY6" fmla="*/ 0 h 2458914"/>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1085224 w 1723293"/>
                          <a:gd name="connsiteY2" fmla="*/ 1542422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698172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577593 w 1723293"/>
                          <a:gd name="connsiteY2" fmla="*/ 1833824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552473 w 1723293"/>
                          <a:gd name="connsiteY2" fmla="*/ 1034980 h 2453208"/>
                          <a:gd name="connsiteX3" fmla="*/ 1462037 w 1723293"/>
                          <a:gd name="connsiteY3" fmla="*/ 1703195 h 2453208"/>
                          <a:gd name="connsiteX4" fmla="*/ 864159 w 1723293"/>
                          <a:gd name="connsiteY4" fmla="*/ 2105130 h 2453208"/>
                          <a:gd name="connsiteX5" fmla="*/ 0 w 1723293"/>
                          <a:gd name="connsiteY5" fmla="*/ 2346290 h 2453208"/>
                          <a:gd name="connsiteX6" fmla="*/ 135654 w 1723293"/>
                          <a:gd name="connsiteY6" fmla="*/ 2044840 h 2453208"/>
                          <a:gd name="connsiteX7" fmla="*/ 567733 w 1723293"/>
                          <a:gd name="connsiteY7" fmla="*/ 1924260 h 2453208"/>
                          <a:gd name="connsiteX8" fmla="*/ 291403 w 1723293"/>
                          <a:gd name="connsiteY8" fmla="*/ 0 h 2453208"/>
                          <a:gd name="connsiteX0" fmla="*/ 291403 w 1919238"/>
                          <a:gd name="connsiteY0" fmla="*/ 0 h 2453208"/>
                          <a:gd name="connsiteX1" fmla="*/ 1723293 w 1919238"/>
                          <a:gd name="connsiteY1" fmla="*/ 0 h 2453208"/>
                          <a:gd name="connsiteX2" fmla="*/ 1919238 w 1919238"/>
                          <a:gd name="connsiteY2" fmla="*/ 1065125 h 2453208"/>
                          <a:gd name="connsiteX3" fmla="*/ 1462037 w 1919238"/>
                          <a:gd name="connsiteY3" fmla="*/ 1703195 h 2453208"/>
                          <a:gd name="connsiteX4" fmla="*/ 864159 w 1919238"/>
                          <a:gd name="connsiteY4" fmla="*/ 2105130 h 2453208"/>
                          <a:gd name="connsiteX5" fmla="*/ 0 w 1919238"/>
                          <a:gd name="connsiteY5" fmla="*/ 2346290 h 2453208"/>
                          <a:gd name="connsiteX6" fmla="*/ 135654 w 1919238"/>
                          <a:gd name="connsiteY6" fmla="*/ 2044840 h 2453208"/>
                          <a:gd name="connsiteX7" fmla="*/ 567733 w 1919238"/>
                          <a:gd name="connsiteY7" fmla="*/ 1924260 h 2453208"/>
                          <a:gd name="connsiteX8" fmla="*/ 291403 w 1919238"/>
                          <a:gd name="connsiteY8" fmla="*/ 0 h 2453208"/>
                          <a:gd name="connsiteX0" fmla="*/ 291403 w 1940010"/>
                          <a:gd name="connsiteY0" fmla="*/ 0 h 2453208"/>
                          <a:gd name="connsiteX1" fmla="*/ 1723293 w 1940010"/>
                          <a:gd name="connsiteY1" fmla="*/ 0 h 2453208"/>
                          <a:gd name="connsiteX2" fmla="*/ 1919238 w 1940010"/>
                          <a:gd name="connsiteY2" fmla="*/ 1065125 h 2453208"/>
                          <a:gd name="connsiteX3" fmla="*/ 1462037 w 1940010"/>
                          <a:gd name="connsiteY3" fmla="*/ 1703195 h 2453208"/>
                          <a:gd name="connsiteX4" fmla="*/ 864159 w 1940010"/>
                          <a:gd name="connsiteY4" fmla="*/ 2105130 h 2453208"/>
                          <a:gd name="connsiteX5" fmla="*/ 0 w 1940010"/>
                          <a:gd name="connsiteY5" fmla="*/ 2346290 h 2453208"/>
                          <a:gd name="connsiteX6" fmla="*/ 135654 w 1940010"/>
                          <a:gd name="connsiteY6" fmla="*/ 2044840 h 2453208"/>
                          <a:gd name="connsiteX7" fmla="*/ 567733 w 1940010"/>
                          <a:gd name="connsiteY7" fmla="*/ 1924260 h 2453208"/>
                          <a:gd name="connsiteX8" fmla="*/ 291403 w 1940010"/>
                          <a:gd name="connsiteY8" fmla="*/ 0 h 2453208"/>
                          <a:gd name="connsiteX0" fmla="*/ 291403 w 1939235"/>
                          <a:gd name="connsiteY0" fmla="*/ 0 h 2453208"/>
                          <a:gd name="connsiteX1" fmla="*/ 1723293 w 1939235"/>
                          <a:gd name="connsiteY1" fmla="*/ 0 h 2453208"/>
                          <a:gd name="connsiteX2" fmla="*/ 1919238 w 1939235"/>
                          <a:gd name="connsiteY2" fmla="*/ 1065125 h 2453208"/>
                          <a:gd name="connsiteX3" fmla="*/ 1441941 w 1939235"/>
                          <a:gd name="connsiteY3" fmla="*/ 1713244 h 2453208"/>
                          <a:gd name="connsiteX4" fmla="*/ 864159 w 1939235"/>
                          <a:gd name="connsiteY4" fmla="*/ 2105130 h 2453208"/>
                          <a:gd name="connsiteX5" fmla="*/ 0 w 1939235"/>
                          <a:gd name="connsiteY5" fmla="*/ 2346290 h 2453208"/>
                          <a:gd name="connsiteX6" fmla="*/ 135654 w 1939235"/>
                          <a:gd name="connsiteY6" fmla="*/ 2044840 h 2453208"/>
                          <a:gd name="connsiteX7" fmla="*/ 567733 w 1939235"/>
                          <a:gd name="connsiteY7" fmla="*/ 1924260 h 2453208"/>
                          <a:gd name="connsiteX8" fmla="*/ 291403 w 1939235"/>
                          <a:gd name="connsiteY8" fmla="*/ 0 h 2453208"/>
                          <a:gd name="connsiteX0" fmla="*/ 291403 w 1938883"/>
                          <a:gd name="connsiteY0" fmla="*/ 0 h 2453208"/>
                          <a:gd name="connsiteX1" fmla="*/ 1723293 w 1938883"/>
                          <a:gd name="connsiteY1" fmla="*/ 0 h 2453208"/>
                          <a:gd name="connsiteX2" fmla="*/ 1919238 w 1938883"/>
                          <a:gd name="connsiteY2" fmla="*/ 1065125 h 2453208"/>
                          <a:gd name="connsiteX3" fmla="*/ 1441941 w 1938883"/>
                          <a:gd name="connsiteY3" fmla="*/ 1713244 h 2453208"/>
                          <a:gd name="connsiteX4" fmla="*/ 864159 w 1938883"/>
                          <a:gd name="connsiteY4" fmla="*/ 2105130 h 2453208"/>
                          <a:gd name="connsiteX5" fmla="*/ 0 w 1938883"/>
                          <a:gd name="connsiteY5" fmla="*/ 2346290 h 2453208"/>
                          <a:gd name="connsiteX6" fmla="*/ 135654 w 1938883"/>
                          <a:gd name="connsiteY6" fmla="*/ 2044840 h 2453208"/>
                          <a:gd name="connsiteX7" fmla="*/ 567733 w 1938883"/>
                          <a:gd name="connsiteY7" fmla="*/ 1924260 h 2453208"/>
                          <a:gd name="connsiteX8" fmla="*/ 291403 w 1938883"/>
                          <a:gd name="connsiteY8" fmla="*/ 0 h 2453208"/>
                          <a:gd name="connsiteX0" fmla="*/ 291403 w 1938704"/>
                          <a:gd name="connsiteY0" fmla="*/ 0 h 2453208"/>
                          <a:gd name="connsiteX1" fmla="*/ 1723293 w 1938704"/>
                          <a:gd name="connsiteY1" fmla="*/ 0 h 2453208"/>
                          <a:gd name="connsiteX2" fmla="*/ 1919238 w 1938704"/>
                          <a:gd name="connsiteY2" fmla="*/ 1065125 h 2453208"/>
                          <a:gd name="connsiteX3" fmla="*/ 1436916 w 1938704"/>
                          <a:gd name="connsiteY3" fmla="*/ 1693147 h 2453208"/>
                          <a:gd name="connsiteX4" fmla="*/ 864159 w 1938704"/>
                          <a:gd name="connsiteY4" fmla="*/ 2105130 h 2453208"/>
                          <a:gd name="connsiteX5" fmla="*/ 0 w 1938704"/>
                          <a:gd name="connsiteY5" fmla="*/ 2346290 h 2453208"/>
                          <a:gd name="connsiteX6" fmla="*/ 135654 w 1938704"/>
                          <a:gd name="connsiteY6" fmla="*/ 2044840 h 2453208"/>
                          <a:gd name="connsiteX7" fmla="*/ 567733 w 1938704"/>
                          <a:gd name="connsiteY7" fmla="*/ 1924260 h 2453208"/>
                          <a:gd name="connsiteX8" fmla="*/ 291403 w 1938704"/>
                          <a:gd name="connsiteY8" fmla="*/ 0 h 2453208"/>
                          <a:gd name="connsiteX0" fmla="*/ 291403 w 1938704"/>
                          <a:gd name="connsiteY0" fmla="*/ 0 h 2453208"/>
                          <a:gd name="connsiteX1" fmla="*/ 1723293 w 1938704"/>
                          <a:gd name="connsiteY1" fmla="*/ 0 h 2453208"/>
                          <a:gd name="connsiteX2" fmla="*/ 1919238 w 1938704"/>
                          <a:gd name="connsiteY2" fmla="*/ 1065125 h 2453208"/>
                          <a:gd name="connsiteX3" fmla="*/ 1436916 w 1938704"/>
                          <a:gd name="connsiteY3" fmla="*/ 1693147 h 2453208"/>
                          <a:gd name="connsiteX4" fmla="*/ 864159 w 1938704"/>
                          <a:gd name="connsiteY4" fmla="*/ 2105130 h 2453208"/>
                          <a:gd name="connsiteX5" fmla="*/ 0 w 1938704"/>
                          <a:gd name="connsiteY5" fmla="*/ 2346290 h 2453208"/>
                          <a:gd name="connsiteX6" fmla="*/ 135654 w 1938704"/>
                          <a:gd name="connsiteY6" fmla="*/ 2044840 h 2453208"/>
                          <a:gd name="connsiteX7" fmla="*/ 567733 w 1938704"/>
                          <a:gd name="connsiteY7" fmla="*/ 1924260 h 2453208"/>
                          <a:gd name="connsiteX8" fmla="*/ 291403 w 1938704"/>
                          <a:gd name="connsiteY8" fmla="*/ 0 h 2453208"/>
                          <a:gd name="connsiteX0" fmla="*/ 291403 w 1938704"/>
                          <a:gd name="connsiteY0" fmla="*/ 0 h 2453208"/>
                          <a:gd name="connsiteX1" fmla="*/ 1723293 w 1938704"/>
                          <a:gd name="connsiteY1" fmla="*/ 0 h 2453208"/>
                          <a:gd name="connsiteX2" fmla="*/ 1919238 w 1938704"/>
                          <a:gd name="connsiteY2" fmla="*/ 1065125 h 2453208"/>
                          <a:gd name="connsiteX3" fmla="*/ 1436916 w 1938704"/>
                          <a:gd name="connsiteY3" fmla="*/ 1693147 h 2453208"/>
                          <a:gd name="connsiteX4" fmla="*/ 864159 w 1938704"/>
                          <a:gd name="connsiteY4" fmla="*/ 2105130 h 2453208"/>
                          <a:gd name="connsiteX5" fmla="*/ 0 w 1938704"/>
                          <a:gd name="connsiteY5" fmla="*/ 2346290 h 2453208"/>
                          <a:gd name="connsiteX6" fmla="*/ 135654 w 1938704"/>
                          <a:gd name="connsiteY6" fmla="*/ 2044840 h 2453208"/>
                          <a:gd name="connsiteX7" fmla="*/ 567733 w 1938704"/>
                          <a:gd name="connsiteY7" fmla="*/ 1924260 h 2453208"/>
                          <a:gd name="connsiteX8" fmla="*/ 291403 w 1938704"/>
                          <a:gd name="connsiteY8" fmla="*/ 0 h 2453208"/>
                          <a:gd name="connsiteX0" fmla="*/ 291403 w 1932387"/>
                          <a:gd name="connsiteY0" fmla="*/ 0 h 2453208"/>
                          <a:gd name="connsiteX1" fmla="*/ 1723293 w 1932387"/>
                          <a:gd name="connsiteY1" fmla="*/ 0 h 2453208"/>
                          <a:gd name="connsiteX2" fmla="*/ 1919238 w 1932387"/>
                          <a:gd name="connsiteY2" fmla="*/ 1065125 h 2453208"/>
                          <a:gd name="connsiteX3" fmla="*/ 1436916 w 1932387"/>
                          <a:gd name="connsiteY3" fmla="*/ 1693147 h 2453208"/>
                          <a:gd name="connsiteX4" fmla="*/ 864159 w 1932387"/>
                          <a:gd name="connsiteY4" fmla="*/ 2105130 h 2453208"/>
                          <a:gd name="connsiteX5" fmla="*/ 0 w 1932387"/>
                          <a:gd name="connsiteY5" fmla="*/ 2346290 h 2453208"/>
                          <a:gd name="connsiteX6" fmla="*/ 135654 w 1932387"/>
                          <a:gd name="connsiteY6" fmla="*/ 2044840 h 2453208"/>
                          <a:gd name="connsiteX7" fmla="*/ 567733 w 1932387"/>
                          <a:gd name="connsiteY7" fmla="*/ 1924260 h 2453208"/>
                          <a:gd name="connsiteX8" fmla="*/ 291403 w 1932387"/>
                          <a:gd name="connsiteY8" fmla="*/ 0 h 2453208"/>
                          <a:gd name="connsiteX0" fmla="*/ 291403 w 1932262"/>
                          <a:gd name="connsiteY0" fmla="*/ 0 h 2453208"/>
                          <a:gd name="connsiteX1" fmla="*/ 1723293 w 1932262"/>
                          <a:gd name="connsiteY1" fmla="*/ 0 h 2453208"/>
                          <a:gd name="connsiteX2" fmla="*/ 1919238 w 1932262"/>
                          <a:gd name="connsiteY2" fmla="*/ 1065125 h 2453208"/>
                          <a:gd name="connsiteX3" fmla="*/ 1436916 w 1932262"/>
                          <a:gd name="connsiteY3" fmla="*/ 1693147 h 2453208"/>
                          <a:gd name="connsiteX4" fmla="*/ 864159 w 1932262"/>
                          <a:gd name="connsiteY4" fmla="*/ 2105130 h 2453208"/>
                          <a:gd name="connsiteX5" fmla="*/ 0 w 1932262"/>
                          <a:gd name="connsiteY5" fmla="*/ 2346290 h 2453208"/>
                          <a:gd name="connsiteX6" fmla="*/ 135654 w 1932262"/>
                          <a:gd name="connsiteY6" fmla="*/ 2044840 h 2453208"/>
                          <a:gd name="connsiteX7" fmla="*/ 567733 w 1932262"/>
                          <a:gd name="connsiteY7" fmla="*/ 1924260 h 2453208"/>
                          <a:gd name="connsiteX8" fmla="*/ 291403 w 1932262"/>
                          <a:gd name="connsiteY8" fmla="*/ 0 h 2453208"/>
                          <a:gd name="connsiteX0" fmla="*/ 291403 w 2175469"/>
                          <a:gd name="connsiteY0" fmla="*/ 0 h 2453208"/>
                          <a:gd name="connsiteX1" fmla="*/ 2175469 w 2175469"/>
                          <a:gd name="connsiteY1" fmla="*/ 356716 h 2453208"/>
                          <a:gd name="connsiteX2" fmla="*/ 1919238 w 2175469"/>
                          <a:gd name="connsiteY2" fmla="*/ 1065125 h 2453208"/>
                          <a:gd name="connsiteX3" fmla="*/ 1436916 w 2175469"/>
                          <a:gd name="connsiteY3" fmla="*/ 1693147 h 2453208"/>
                          <a:gd name="connsiteX4" fmla="*/ 864159 w 2175469"/>
                          <a:gd name="connsiteY4" fmla="*/ 2105130 h 2453208"/>
                          <a:gd name="connsiteX5" fmla="*/ 0 w 2175469"/>
                          <a:gd name="connsiteY5" fmla="*/ 2346290 h 2453208"/>
                          <a:gd name="connsiteX6" fmla="*/ 135654 w 2175469"/>
                          <a:gd name="connsiteY6" fmla="*/ 2044840 h 2453208"/>
                          <a:gd name="connsiteX7" fmla="*/ 567733 w 2175469"/>
                          <a:gd name="connsiteY7" fmla="*/ 1924260 h 2453208"/>
                          <a:gd name="connsiteX8" fmla="*/ 291403 w 2175469"/>
                          <a:gd name="connsiteY8" fmla="*/ 0 h 2453208"/>
                          <a:gd name="connsiteX0" fmla="*/ 291403 w 2215117"/>
                          <a:gd name="connsiteY0" fmla="*/ 0 h 2453208"/>
                          <a:gd name="connsiteX1" fmla="*/ 2175469 w 2215117"/>
                          <a:gd name="connsiteY1" fmla="*/ 356716 h 2453208"/>
                          <a:gd name="connsiteX2" fmla="*/ 1919238 w 2215117"/>
                          <a:gd name="connsiteY2" fmla="*/ 1065125 h 2453208"/>
                          <a:gd name="connsiteX3" fmla="*/ 1436916 w 2215117"/>
                          <a:gd name="connsiteY3" fmla="*/ 1693147 h 2453208"/>
                          <a:gd name="connsiteX4" fmla="*/ 864159 w 2215117"/>
                          <a:gd name="connsiteY4" fmla="*/ 2105130 h 2453208"/>
                          <a:gd name="connsiteX5" fmla="*/ 0 w 2215117"/>
                          <a:gd name="connsiteY5" fmla="*/ 2346290 h 2453208"/>
                          <a:gd name="connsiteX6" fmla="*/ 135654 w 2215117"/>
                          <a:gd name="connsiteY6" fmla="*/ 2044840 h 2453208"/>
                          <a:gd name="connsiteX7" fmla="*/ 567733 w 2215117"/>
                          <a:gd name="connsiteY7" fmla="*/ 1924260 h 2453208"/>
                          <a:gd name="connsiteX8" fmla="*/ 291403 w 2215117"/>
                          <a:gd name="connsiteY8" fmla="*/ 0 h 2453208"/>
                          <a:gd name="connsiteX0" fmla="*/ 291403 w 2217798"/>
                          <a:gd name="connsiteY0" fmla="*/ 0 h 2453208"/>
                          <a:gd name="connsiteX1" fmla="*/ 2175469 w 2217798"/>
                          <a:gd name="connsiteY1" fmla="*/ 356716 h 2453208"/>
                          <a:gd name="connsiteX2" fmla="*/ 1919238 w 2217798"/>
                          <a:gd name="connsiteY2" fmla="*/ 1065125 h 2453208"/>
                          <a:gd name="connsiteX3" fmla="*/ 1436916 w 2217798"/>
                          <a:gd name="connsiteY3" fmla="*/ 1693147 h 2453208"/>
                          <a:gd name="connsiteX4" fmla="*/ 864159 w 2217798"/>
                          <a:gd name="connsiteY4" fmla="*/ 2105130 h 2453208"/>
                          <a:gd name="connsiteX5" fmla="*/ 0 w 2217798"/>
                          <a:gd name="connsiteY5" fmla="*/ 2346290 h 2453208"/>
                          <a:gd name="connsiteX6" fmla="*/ 135654 w 2217798"/>
                          <a:gd name="connsiteY6" fmla="*/ 2044840 h 2453208"/>
                          <a:gd name="connsiteX7" fmla="*/ 567733 w 2217798"/>
                          <a:gd name="connsiteY7" fmla="*/ 1924260 h 2453208"/>
                          <a:gd name="connsiteX8" fmla="*/ 291403 w 2217798"/>
                          <a:gd name="connsiteY8" fmla="*/ 0 h 2453208"/>
                          <a:gd name="connsiteX0" fmla="*/ 291403 w 2217798"/>
                          <a:gd name="connsiteY0" fmla="*/ 0 h 2453208"/>
                          <a:gd name="connsiteX1" fmla="*/ 1165611 w 2217798"/>
                          <a:gd name="connsiteY1" fmla="*/ 165798 h 2453208"/>
                          <a:gd name="connsiteX2" fmla="*/ 2175469 w 2217798"/>
                          <a:gd name="connsiteY2" fmla="*/ 356716 h 2453208"/>
                          <a:gd name="connsiteX3" fmla="*/ 1919238 w 2217798"/>
                          <a:gd name="connsiteY3" fmla="*/ 1065125 h 2453208"/>
                          <a:gd name="connsiteX4" fmla="*/ 1436916 w 2217798"/>
                          <a:gd name="connsiteY4" fmla="*/ 1693147 h 2453208"/>
                          <a:gd name="connsiteX5" fmla="*/ 864159 w 2217798"/>
                          <a:gd name="connsiteY5" fmla="*/ 2105130 h 2453208"/>
                          <a:gd name="connsiteX6" fmla="*/ 0 w 2217798"/>
                          <a:gd name="connsiteY6" fmla="*/ 2346290 h 2453208"/>
                          <a:gd name="connsiteX7" fmla="*/ 135654 w 2217798"/>
                          <a:gd name="connsiteY7" fmla="*/ 2044840 h 2453208"/>
                          <a:gd name="connsiteX8" fmla="*/ 567733 w 2217798"/>
                          <a:gd name="connsiteY8" fmla="*/ 1924260 h 2453208"/>
                          <a:gd name="connsiteX9" fmla="*/ 291403 w 2217798"/>
                          <a:gd name="connsiteY9" fmla="*/ 0 h 2453208"/>
                          <a:gd name="connsiteX0" fmla="*/ 291403 w 2217798"/>
                          <a:gd name="connsiteY0" fmla="*/ 1170633 h 3623841"/>
                          <a:gd name="connsiteX1" fmla="*/ 532565 w 2217798"/>
                          <a:gd name="connsiteY1" fmla="*/ 0 h 3623841"/>
                          <a:gd name="connsiteX2" fmla="*/ 2175469 w 2217798"/>
                          <a:gd name="connsiteY2" fmla="*/ 1527349 h 3623841"/>
                          <a:gd name="connsiteX3" fmla="*/ 1919238 w 2217798"/>
                          <a:gd name="connsiteY3" fmla="*/ 2235758 h 3623841"/>
                          <a:gd name="connsiteX4" fmla="*/ 1436916 w 2217798"/>
                          <a:gd name="connsiteY4" fmla="*/ 2863780 h 3623841"/>
                          <a:gd name="connsiteX5" fmla="*/ 864159 w 2217798"/>
                          <a:gd name="connsiteY5" fmla="*/ 3275763 h 3623841"/>
                          <a:gd name="connsiteX6" fmla="*/ 0 w 2217798"/>
                          <a:gd name="connsiteY6" fmla="*/ 3516923 h 3623841"/>
                          <a:gd name="connsiteX7" fmla="*/ 135654 w 2217798"/>
                          <a:gd name="connsiteY7" fmla="*/ 3215473 h 3623841"/>
                          <a:gd name="connsiteX8" fmla="*/ 567733 w 2217798"/>
                          <a:gd name="connsiteY8" fmla="*/ 3094893 h 3623841"/>
                          <a:gd name="connsiteX9" fmla="*/ 291403 w 2217798"/>
                          <a:gd name="connsiteY9" fmla="*/ 1170633 h 3623841"/>
                          <a:gd name="connsiteX0" fmla="*/ 291403 w 2217798"/>
                          <a:gd name="connsiteY0" fmla="*/ 1170633 h 3623841"/>
                          <a:gd name="connsiteX1" fmla="*/ 532565 w 2217798"/>
                          <a:gd name="connsiteY1" fmla="*/ 0 h 3623841"/>
                          <a:gd name="connsiteX2" fmla="*/ 2175469 w 2217798"/>
                          <a:gd name="connsiteY2" fmla="*/ 1527349 h 3623841"/>
                          <a:gd name="connsiteX3" fmla="*/ 1919238 w 2217798"/>
                          <a:gd name="connsiteY3" fmla="*/ 2235758 h 3623841"/>
                          <a:gd name="connsiteX4" fmla="*/ 1436916 w 2217798"/>
                          <a:gd name="connsiteY4" fmla="*/ 2863780 h 3623841"/>
                          <a:gd name="connsiteX5" fmla="*/ 864159 w 2217798"/>
                          <a:gd name="connsiteY5" fmla="*/ 3275763 h 3623841"/>
                          <a:gd name="connsiteX6" fmla="*/ 0 w 2217798"/>
                          <a:gd name="connsiteY6" fmla="*/ 3516923 h 3623841"/>
                          <a:gd name="connsiteX7" fmla="*/ 135654 w 2217798"/>
                          <a:gd name="connsiteY7" fmla="*/ 3215473 h 3623841"/>
                          <a:gd name="connsiteX8" fmla="*/ 567733 w 2217798"/>
                          <a:gd name="connsiteY8" fmla="*/ 3094893 h 3623841"/>
                          <a:gd name="connsiteX9" fmla="*/ 291403 w 2217798"/>
                          <a:gd name="connsiteY9" fmla="*/ 1170633 h 3623841"/>
                          <a:gd name="connsiteX0" fmla="*/ 291403 w 2213292"/>
                          <a:gd name="connsiteY0" fmla="*/ 1170633 h 3623841"/>
                          <a:gd name="connsiteX1" fmla="*/ 532565 w 2213292"/>
                          <a:gd name="connsiteY1" fmla="*/ 0 h 3623841"/>
                          <a:gd name="connsiteX2" fmla="*/ 2170445 w 2213292"/>
                          <a:gd name="connsiteY2" fmla="*/ 1507252 h 3623841"/>
                          <a:gd name="connsiteX3" fmla="*/ 1919238 w 2213292"/>
                          <a:gd name="connsiteY3" fmla="*/ 2235758 h 3623841"/>
                          <a:gd name="connsiteX4" fmla="*/ 1436916 w 2213292"/>
                          <a:gd name="connsiteY4" fmla="*/ 2863780 h 3623841"/>
                          <a:gd name="connsiteX5" fmla="*/ 864159 w 2213292"/>
                          <a:gd name="connsiteY5" fmla="*/ 3275763 h 3623841"/>
                          <a:gd name="connsiteX6" fmla="*/ 0 w 2213292"/>
                          <a:gd name="connsiteY6" fmla="*/ 3516923 h 3623841"/>
                          <a:gd name="connsiteX7" fmla="*/ 135654 w 2213292"/>
                          <a:gd name="connsiteY7" fmla="*/ 3215473 h 3623841"/>
                          <a:gd name="connsiteX8" fmla="*/ 567733 w 2213292"/>
                          <a:gd name="connsiteY8" fmla="*/ 3094893 h 3623841"/>
                          <a:gd name="connsiteX9" fmla="*/ 291403 w 2213292"/>
                          <a:gd name="connsiteY9" fmla="*/ 1170633 h 3623841"/>
                          <a:gd name="connsiteX0" fmla="*/ 291403 w 2114143"/>
                          <a:gd name="connsiteY0" fmla="*/ 1170633 h 3623841"/>
                          <a:gd name="connsiteX1" fmla="*/ 532565 w 2114143"/>
                          <a:gd name="connsiteY1" fmla="*/ 0 h 3623841"/>
                          <a:gd name="connsiteX2" fmla="*/ 2054889 w 2114143"/>
                          <a:gd name="connsiteY2" fmla="*/ 1381647 h 3623841"/>
                          <a:gd name="connsiteX3" fmla="*/ 1919238 w 2114143"/>
                          <a:gd name="connsiteY3" fmla="*/ 2235758 h 3623841"/>
                          <a:gd name="connsiteX4" fmla="*/ 1436916 w 2114143"/>
                          <a:gd name="connsiteY4" fmla="*/ 2863780 h 3623841"/>
                          <a:gd name="connsiteX5" fmla="*/ 864159 w 2114143"/>
                          <a:gd name="connsiteY5" fmla="*/ 3275763 h 3623841"/>
                          <a:gd name="connsiteX6" fmla="*/ 0 w 2114143"/>
                          <a:gd name="connsiteY6" fmla="*/ 3516923 h 3623841"/>
                          <a:gd name="connsiteX7" fmla="*/ 135654 w 2114143"/>
                          <a:gd name="connsiteY7" fmla="*/ 3215473 h 3623841"/>
                          <a:gd name="connsiteX8" fmla="*/ 567733 w 2114143"/>
                          <a:gd name="connsiteY8" fmla="*/ 3094893 h 3623841"/>
                          <a:gd name="connsiteX9" fmla="*/ 291403 w 2114143"/>
                          <a:gd name="connsiteY9" fmla="*/ 1170633 h 3623841"/>
                          <a:gd name="connsiteX0" fmla="*/ 291403 w 2209251"/>
                          <a:gd name="connsiteY0" fmla="*/ 1170633 h 3623841"/>
                          <a:gd name="connsiteX1" fmla="*/ 532565 w 2209251"/>
                          <a:gd name="connsiteY1" fmla="*/ 0 h 3623841"/>
                          <a:gd name="connsiteX2" fmla="*/ 2054889 w 2209251"/>
                          <a:gd name="connsiteY2" fmla="*/ 1381647 h 3623841"/>
                          <a:gd name="connsiteX3" fmla="*/ 1919238 w 2209251"/>
                          <a:gd name="connsiteY3" fmla="*/ 2235758 h 3623841"/>
                          <a:gd name="connsiteX4" fmla="*/ 1436916 w 2209251"/>
                          <a:gd name="connsiteY4" fmla="*/ 2863780 h 3623841"/>
                          <a:gd name="connsiteX5" fmla="*/ 864159 w 2209251"/>
                          <a:gd name="connsiteY5" fmla="*/ 3275763 h 3623841"/>
                          <a:gd name="connsiteX6" fmla="*/ 0 w 2209251"/>
                          <a:gd name="connsiteY6" fmla="*/ 3516923 h 3623841"/>
                          <a:gd name="connsiteX7" fmla="*/ 135654 w 2209251"/>
                          <a:gd name="connsiteY7" fmla="*/ 3215473 h 3623841"/>
                          <a:gd name="connsiteX8" fmla="*/ 567733 w 2209251"/>
                          <a:gd name="connsiteY8" fmla="*/ 3094893 h 3623841"/>
                          <a:gd name="connsiteX9" fmla="*/ 291403 w 2209251"/>
                          <a:gd name="connsiteY9" fmla="*/ 1170633 h 3623841"/>
                          <a:gd name="connsiteX0" fmla="*/ 291403 w 2215920"/>
                          <a:gd name="connsiteY0" fmla="*/ 1170633 h 3623841"/>
                          <a:gd name="connsiteX1" fmla="*/ 532565 w 2215920"/>
                          <a:gd name="connsiteY1" fmla="*/ 0 h 3623841"/>
                          <a:gd name="connsiteX2" fmla="*/ 2054889 w 2215920"/>
                          <a:gd name="connsiteY2" fmla="*/ 1381647 h 3623841"/>
                          <a:gd name="connsiteX3" fmla="*/ 1919238 w 2215920"/>
                          <a:gd name="connsiteY3" fmla="*/ 2235758 h 3623841"/>
                          <a:gd name="connsiteX4" fmla="*/ 1436916 w 2215920"/>
                          <a:gd name="connsiteY4" fmla="*/ 2863780 h 3623841"/>
                          <a:gd name="connsiteX5" fmla="*/ 864159 w 2215920"/>
                          <a:gd name="connsiteY5" fmla="*/ 3275763 h 3623841"/>
                          <a:gd name="connsiteX6" fmla="*/ 0 w 2215920"/>
                          <a:gd name="connsiteY6" fmla="*/ 3516923 h 3623841"/>
                          <a:gd name="connsiteX7" fmla="*/ 135654 w 2215920"/>
                          <a:gd name="connsiteY7" fmla="*/ 3215473 h 3623841"/>
                          <a:gd name="connsiteX8" fmla="*/ 567733 w 2215920"/>
                          <a:gd name="connsiteY8" fmla="*/ 3094893 h 3623841"/>
                          <a:gd name="connsiteX9" fmla="*/ 291403 w 2215920"/>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38966 h 3642227"/>
                          <a:gd name="connsiteX1" fmla="*/ 532565 w 2219964"/>
                          <a:gd name="connsiteY1" fmla="*/ 18386 h 3642227"/>
                          <a:gd name="connsiteX2" fmla="*/ 2054889 w 2219964"/>
                          <a:gd name="connsiteY2" fmla="*/ 1400033 h 3642227"/>
                          <a:gd name="connsiteX3" fmla="*/ 1919238 w 2219964"/>
                          <a:gd name="connsiteY3" fmla="*/ 2254144 h 3642227"/>
                          <a:gd name="connsiteX4" fmla="*/ 1436916 w 2219964"/>
                          <a:gd name="connsiteY4" fmla="*/ 2882166 h 3642227"/>
                          <a:gd name="connsiteX5" fmla="*/ 864159 w 2219964"/>
                          <a:gd name="connsiteY5" fmla="*/ 3294149 h 3642227"/>
                          <a:gd name="connsiteX6" fmla="*/ 0 w 2219964"/>
                          <a:gd name="connsiteY6" fmla="*/ 3535309 h 3642227"/>
                          <a:gd name="connsiteX7" fmla="*/ 135654 w 2219964"/>
                          <a:gd name="connsiteY7" fmla="*/ 3233859 h 3642227"/>
                          <a:gd name="connsiteX8" fmla="*/ 567733 w 2219964"/>
                          <a:gd name="connsiteY8" fmla="*/ 3113279 h 3642227"/>
                          <a:gd name="connsiteX9" fmla="*/ 211016 w 2219964"/>
                          <a:gd name="connsiteY9" fmla="*/ 138966 h 3642227"/>
                          <a:gd name="connsiteX0" fmla="*/ 211016 w 2219964"/>
                          <a:gd name="connsiteY0" fmla="*/ 134584 h 3637845"/>
                          <a:gd name="connsiteX1" fmla="*/ 532565 w 2219964"/>
                          <a:gd name="connsiteY1" fmla="*/ 14004 h 3637845"/>
                          <a:gd name="connsiteX2" fmla="*/ 2054889 w 2219964"/>
                          <a:gd name="connsiteY2" fmla="*/ 1395651 h 3637845"/>
                          <a:gd name="connsiteX3" fmla="*/ 1919238 w 2219964"/>
                          <a:gd name="connsiteY3" fmla="*/ 2249762 h 3637845"/>
                          <a:gd name="connsiteX4" fmla="*/ 1436916 w 2219964"/>
                          <a:gd name="connsiteY4" fmla="*/ 2877784 h 3637845"/>
                          <a:gd name="connsiteX5" fmla="*/ 864159 w 2219964"/>
                          <a:gd name="connsiteY5" fmla="*/ 3289767 h 3637845"/>
                          <a:gd name="connsiteX6" fmla="*/ 0 w 2219964"/>
                          <a:gd name="connsiteY6" fmla="*/ 3530927 h 3637845"/>
                          <a:gd name="connsiteX7" fmla="*/ 135654 w 2219964"/>
                          <a:gd name="connsiteY7" fmla="*/ 3229477 h 3637845"/>
                          <a:gd name="connsiteX8" fmla="*/ 567733 w 2219964"/>
                          <a:gd name="connsiteY8" fmla="*/ 3108897 h 3637845"/>
                          <a:gd name="connsiteX9" fmla="*/ 211016 w 2219964"/>
                          <a:gd name="connsiteY9" fmla="*/ 134584 h 3637845"/>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211016 w 2219964"/>
                          <a:gd name="connsiteY9"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386864 w 2219964"/>
                          <a:gd name="connsiteY9" fmla="*/ 1692616 h 3628333"/>
                          <a:gd name="connsiteX10" fmla="*/ 211016 w 2219964"/>
                          <a:gd name="connsiteY1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58464 w 2219964"/>
                          <a:gd name="connsiteY9" fmla="*/ 1531842 h 3628333"/>
                          <a:gd name="connsiteX10" fmla="*/ 211016 w 2219964"/>
                          <a:gd name="connsiteY1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421844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306288 w 2219964"/>
                          <a:gd name="connsiteY9" fmla="*/ 2380928 h 3628333"/>
                          <a:gd name="connsiteX10" fmla="*/ 1748416 w 2219964"/>
                          <a:gd name="connsiteY10" fmla="*/ 1958897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748416 w 2219964"/>
                          <a:gd name="connsiteY10" fmla="*/ 1958897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813919 w 2219964"/>
                          <a:gd name="connsiteY9" fmla="*/ 2325662 h 3628333"/>
                          <a:gd name="connsiteX10" fmla="*/ 1085224 w 2219964"/>
                          <a:gd name="connsiteY10" fmla="*/ 1501697 h 3628333"/>
                          <a:gd name="connsiteX11" fmla="*/ 1607739 w 2219964"/>
                          <a:gd name="connsiteY11" fmla="*/ 1873486 h 3628333"/>
                          <a:gd name="connsiteX12" fmla="*/ 1808706 w 2219964"/>
                          <a:gd name="connsiteY12" fmla="*/ 1592132 h 3628333"/>
                          <a:gd name="connsiteX13" fmla="*/ 211016 w 2219964"/>
                          <a:gd name="connsiteY13"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1085224 w 2219964"/>
                          <a:gd name="connsiteY10" fmla="*/ 1501697 h 3628333"/>
                          <a:gd name="connsiteX11" fmla="*/ 1607739 w 2219964"/>
                          <a:gd name="connsiteY11" fmla="*/ 1873486 h 3628333"/>
                          <a:gd name="connsiteX12" fmla="*/ 1808706 w 2219964"/>
                          <a:gd name="connsiteY12" fmla="*/ 1592132 h 3628333"/>
                          <a:gd name="connsiteX13" fmla="*/ 211016 w 2219964"/>
                          <a:gd name="connsiteY13"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813919 w 2219964"/>
                          <a:gd name="connsiteY10" fmla="*/ 1883535 h 3628333"/>
                          <a:gd name="connsiteX11" fmla="*/ 1085224 w 2219964"/>
                          <a:gd name="connsiteY11" fmla="*/ 1501697 h 3628333"/>
                          <a:gd name="connsiteX12" fmla="*/ 1607739 w 2219964"/>
                          <a:gd name="connsiteY12" fmla="*/ 1873486 h 3628333"/>
                          <a:gd name="connsiteX13" fmla="*/ 1808706 w 2219964"/>
                          <a:gd name="connsiteY13" fmla="*/ 1592132 h 3628333"/>
                          <a:gd name="connsiteX14" fmla="*/ 211016 w 2219964"/>
                          <a:gd name="connsiteY14"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944547 w 2219964"/>
                          <a:gd name="connsiteY10" fmla="*/ 1767979 h 3628333"/>
                          <a:gd name="connsiteX11" fmla="*/ 1085224 w 2219964"/>
                          <a:gd name="connsiteY11" fmla="*/ 1501697 h 3628333"/>
                          <a:gd name="connsiteX12" fmla="*/ 1607739 w 2219964"/>
                          <a:gd name="connsiteY12" fmla="*/ 1873486 h 3628333"/>
                          <a:gd name="connsiteX13" fmla="*/ 1808706 w 2219964"/>
                          <a:gd name="connsiteY13" fmla="*/ 1592132 h 3628333"/>
                          <a:gd name="connsiteX14" fmla="*/ 211016 w 2219964"/>
                          <a:gd name="connsiteY14"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73725 w 2219964"/>
                          <a:gd name="connsiteY10" fmla="*/ 2009139 h 3628333"/>
                          <a:gd name="connsiteX11" fmla="*/ 944547 w 2219964"/>
                          <a:gd name="connsiteY11" fmla="*/ 1767979 h 3628333"/>
                          <a:gd name="connsiteX12" fmla="*/ 1085224 w 2219964"/>
                          <a:gd name="connsiteY12" fmla="*/ 1501697 h 3628333"/>
                          <a:gd name="connsiteX13" fmla="*/ 1607739 w 2219964"/>
                          <a:gd name="connsiteY13" fmla="*/ 1873486 h 3628333"/>
                          <a:gd name="connsiteX14" fmla="*/ 1808706 w 2219964"/>
                          <a:gd name="connsiteY14" fmla="*/ 1592132 h 3628333"/>
                          <a:gd name="connsiteX15" fmla="*/ 211016 w 2219964"/>
                          <a:gd name="connsiteY15"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944547 w 2219964"/>
                          <a:gd name="connsiteY11" fmla="*/ 1767979 h 3628333"/>
                          <a:gd name="connsiteX12" fmla="*/ 1085224 w 2219964"/>
                          <a:gd name="connsiteY12" fmla="*/ 1501697 h 3628333"/>
                          <a:gd name="connsiteX13" fmla="*/ 1607739 w 2219964"/>
                          <a:gd name="connsiteY13" fmla="*/ 1873486 h 3628333"/>
                          <a:gd name="connsiteX14" fmla="*/ 1808706 w 2219964"/>
                          <a:gd name="connsiteY14" fmla="*/ 1592132 h 3628333"/>
                          <a:gd name="connsiteX15" fmla="*/ 211016 w 2219964"/>
                          <a:gd name="connsiteY15"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944547 w 2219964"/>
                          <a:gd name="connsiteY11" fmla="*/ 1767979 h 3628333"/>
                          <a:gd name="connsiteX12" fmla="*/ 1085224 w 2219964"/>
                          <a:gd name="connsiteY12" fmla="*/ 1501697 h 3628333"/>
                          <a:gd name="connsiteX13" fmla="*/ 1607739 w 2219964"/>
                          <a:gd name="connsiteY13" fmla="*/ 1873486 h 3628333"/>
                          <a:gd name="connsiteX14" fmla="*/ 1808706 w 2219964"/>
                          <a:gd name="connsiteY14" fmla="*/ 1592132 h 3628333"/>
                          <a:gd name="connsiteX15" fmla="*/ 211016 w 2219964"/>
                          <a:gd name="connsiteY15"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090248 w 2219964"/>
                          <a:gd name="connsiteY11" fmla="*/ 2024212 h 3628333"/>
                          <a:gd name="connsiteX12" fmla="*/ 944547 w 2219964"/>
                          <a:gd name="connsiteY12" fmla="*/ 1767979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44547 w 2219964"/>
                          <a:gd name="connsiteY12" fmla="*/ 1767979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84741 w 2219964"/>
                          <a:gd name="connsiteY12" fmla="*/ 1783052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84741 w 2219964"/>
                          <a:gd name="connsiteY12" fmla="*/ 1783052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84741 w 2219964"/>
                          <a:gd name="connsiteY12" fmla="*/ 1783052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245998 w 2219964"/>
                          <a:gd name="connsiteY11" fmla="*/ 2190010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90493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90493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90493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713435 w 2219964"/>
                          <a:gd name="connsiteY9" fmla="*/ 269242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70151 w 2219964"/>
                          <a:gd name="connsiteY9" fmla="*/ 272759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70151 w 2219964"/>
                          <a:gd name="connsiteY9" fmla="*/ 272759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70151 w 2219964"/>
                          <a:gd name="connsiteY9" fmla="*/ 272759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0199 w 2219964"/>
                          <a:gd name="connsiteY9" fmla="*/ 2702476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0199 w 2219964"/>
                          <a:gd name="connsiteY9" fmla="*/ 2702476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0199 w 2219964"/>
                          <a:gd name="connsiteY9" fmla="*/ 2702476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874209 w 2219964"/>
                          <a:gd name="connsiteY9" fmla="*/ 2988853 h 3628333"/>
                          <a:gd name="connsiteX10" fmla="*/ 1080199 w 2219964"/>
                          <a:gd name="connsiteY10" fmla="*/ 2702476 h 3628333"/>
                          <a:gd name="connsiteX11" fmla="*/ 567735 w 2219964"/>
                          <a:gd name="connsiteY11" fmla="*/ 2290493 h 3628333"/>
                          <a:gd name="connsiteX12" fmla="*/ 763677 w 2219964"/>
                          <a:gd name="connsiteY12" fmla="*/ 2049333 h 3628333"/>
                          <a:gd name="connsiteX13" fmla="*/ 1381651 w 2219964"/>
                          <a:gd name="connsiteY13" fmla="*/ 2521605 h 3628333"/>
                          <a:gd name="connsiteX14" fmla="*/ 1577593 w 2219964"/>
                          <a:gd name="connsiteY14" fmla="*/ 2280445 h 3628333"/>
                          <a:gd name="connsiteX15" fmla="*/ 929475 w 2219964"/>
                          <a:gd name="connsiteY15" fmla="*/ 1762955 h 3628333"/>
                          <a:gd name="connsiteX16" fmla="*/ 1085224 w 2219964"/>
                          <a:gd name="connsiteY16" fmla="*/ 1501697 h 3628333"/>
                          <a:gd name="connsiteX17" fmla="*/ 1607739 w 2219964"/>
                          <a:gd name="connsiteY17" fmla="*/ 1873486 h 3628333"/>
                          <a:gd name="connsiteX18" fmla="*/ 1808706 w 2219964"/>
                          <a:gd name="connsiteY18" fmla="*/ 1592132 h 3628333"/>
                          <a:gd name="connsiteX19" fmla="*/ 211016 w 2219964"/>
                          <a:gd name="connsiteY19"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316525 w 2219964"/>
                          <a:gd name="connsiteY9" fmla="*/ 2506532 h 3628333"/>
                          <a:gd name="connsiteX10" fmla="*/ 1080199 w 2219964"/>
                          <a:gd name="connsiteY10" fmla="*/ 2702476 h 3628333"/>
                          <a:gd name="connsiteX11" fmla="*/ 567735 w 2219964"/>
                          <a:gd name="connsiteY11" fmla="*/ 2290493 h 3628333"/>
                          <a:gd name="connsiteX12" fmla="*/ 763677 w 2219964"/>
                          <a:gd name="connsiteY12" fmla="*/ 2049333 h 3628333"/>
                          <a:gd name="connsiteX13" fmla="*/ 1381651 w 2219964"/>
                          <a:gd name="connsiteY13" fmla="*/ 2521605 h 3628333"/>
                          <a:gd name="connsiteX14" fmla="*/ 1577593 w 2219964"/>
                          <a:gd name="connsiteY14" fmla="*/ 2280445 h 3628333"/>
                          <a:gd name="connsiteX15" fmla="*/ 929475 w 2219964"/>
                          <a:gd name="connsiteY15" fmla="*/ 1762955 h 3628333"/>
                          <a:gd name="connsiteX16" fmla="*/ 1085224 w 2219964"/>
                          <a:gd name="connsiteY16" fmla="*/ 1501697 h 3628333"/>
                          <a:gd name="connsiteX17" fmla="*/ 1607739 w 2219964"/>
                          <a:gd name="connsiteY17" fmla="*/ 1873486 h 3628333"/>
                          <a:gd name="connsiteX18" fmla="*/ 1808706 w 2219964"/>
                          <a:gd name="connsiteY18" fmla="*/ 1592132 h 3628333"/>
                          <a:gd name="connsiteX19" fmla="*/ 211016 w 2219964"/>
                          <a:gd name="connsiteY19"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371791 w 2219964"/>
                          <a:gd name="connsiteY9" fmla="*/ 2687403 h 3628333"/>
                          <a:gd name="connsiteX10" fmla="*/ 316525 w 2219964"/>
                          <a:gd name="connsiteY10" fmla="*/ 2506532 h 3628333"/>
                          <a:gd name="connsiteX11" fmla="*/ 1080199 w 2219964"/>
                          <a:gd name="connsiteY11" fmla="*/ 2702476 h 3628333"/>
                          <a:gd name="connsiteX12" fmla="*/ 567735 w 2219964"/>
                          <a:gd name="connsiteY12" fmla="*/ 2290493 h 3628333"/>
                          <a:gd name="connsiteX13" fmla="*/ 763677 w 2219964"/>
                          <a:gd name="connsiteY13" fmla="*/ 2049333 h 3628333"/>
                          <a:gd name="connsiteX14" fmla="*/ 1381651 w 2219964"/>
                          <a:gd name="connsiteY14" fmla="*/ 2521605 h 3628333"/>
                          <a:gd name="connsiteX15" fmla="*/ 1577593 w 2219964"/>
                          <a:gd name="connsiteY15" fmla="*/ 2280445 h 3628333"/>
                          <a:gd name="connsiteX16" fmla="*/ 929475 w 2219964"/>
                          <a:gd name="connsiteY16" fmla="*/ 1762955 h 3628333"/>
                          <a:gd name="connsiteX17" fmla="*/ 1085224 w 2219964"/>
                          <a:gd name="connsiteY17" fmla="*/ 1501697 h 3628333"/>
                          <a:gd name="connsiteX18" fmla="*/ 1607739 w 2219964"/>
                          <a:gd name="connsiteY18" fmla="*/ 1873486 h 3628333"/>
                          <a:gd name="connsiteX19" fmla="*/ 1808706 w 2219964"/>
                          <a:gd name="connsiteY19" fmla="*/ 1592132 h 3628333"/>
                          <a:gd name="connsiteX20" fmla="*/ 211016 w 2219964"/>
                          <a:gd name="connsiteY2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1080199 w 2219964"/>
                          <a:gd name="connsiteY11" fmla="*/ 2702476 h 3628333"/>
                          <a:gd name="connsiteX12" fmla="*/ 567735 w 2219964"/>
                          <a:gd name="connsiteY12" fmla="*/ 2290493 h 3628333"/>
                          <a:gd name="connsiteX13" fmla="*/ 763677 w 2219964"/>
                          <a:gd name="connsiteY13" fmla="*/ 2049333 h 3628333"/>
                          <a:gd name="connsiteX14" fmla="*/ 1381651 w 2219964"/>
                          <a:gd name="connsiteY14" fmla="*/ 2521605 h 3628333"/>
                          <a:gd name="connsiteX15" fmla="*/ 1577593 w 2219964"/>
                          <a:gd name="connsiteY15" fmla="*/ 2280445 h 3628333"/>
                          <a:gd name="connsiteX16" fmla="*/ 929475 w 2219964"/>
                          <a:gd name="connsiteY16" fmla="*/ 1762955 h 3628333"/>
                          <a:gd name="connsiteX17" fmla="*/ 1085224 w 2219964"/>
                          <a:gd name="connsiteY17" fmla="*/ 1501697 h 3628333"/>
                          <a:gd name="connsiteX18" fmla="*/ 1607739 w 2219964"/>
                          <a:gd name="connsiteY18" fmla="*/ 1873486 h 3628333"/>
                          <a:gd name="connsiteX19" fmla="*/ 1808706 w 2219964"/>
                          <a:gd name="connsiteY19" fmla="*/ 1592132 h 3628333"/>
                          <a:gd name="connsiteX20" fmla="*/ 211016 w 2219964"/>
                          <a:gd name="connsiteY2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768701 w 2219964"/>
                          <a:gd name="connsiteY11" fmla="*/ 2647210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1549 w 2219964"/>
                          <a:gd name="connsiteY10" fmla="*/ 2541701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1549 w 2219964"/>
                          <a:gd name="connsiteY10" fmla="*/ 2541701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1549 w 2219964"/>
                          <a:gd name="connsiteY10" fmla="*/ 2541701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25606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25606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9964" h="3628333">
                            <a:moveTo>
                              <a:pt x="211016" y="125072"/>
                            </a:moveTo>
                            <a:cubicBezTo>
                              <a:pt x="82063" y="-10581"/>
                              <a:pt x="415334" y="-5556"/>
                              <a:pt x="532565" y="4492"/>
                            </a:cubicBezTo>
                            <a:cubicBezTo>
                              <a:pt x="1316336" y="749744"/>
                              <a:pt x="1562521" y="897119"/>
                              <a:pt x="2054889" y="1386139"/>
                            </a:cubicBezTo>
                            <a:cubicBezTo>
                              <a:pt x="2436727" y="1853387"/>
                              <a:pt x="2054890" y="2184984"/>
                              <a:pt x="1919238" y="2240250"/>
                            </a:cubicBezTo>
                            <a:cubicBezTo>
                              <a:pt x="2013024" y="2829754"/>
                              <a:pt x="1574243" y="2861572"/>
                              <a:pt x="1436916" y="2868272"/>
                            </a:cubicBezTo>
                            <a:cubicBezTo>
                              <a:pt x="1318010" y="3369015"/>
                              <a:pt x="993113" y="3251785"/>
                              <a:pt x="864159" y="3280255"/>
                            </a:cubicBezTo>
                            <a:cubicBezTo>
                              <a:pt x="689988" y="3775973"/>
                              <a:pt x="128953" y="3628598"/>
                              <a:pt x="0" y="3521415"/>
                            </a:cubicBezTo>
                            <a:lnTo>
                              <a:pt x="135654" y="3219965"/>
                            </a:lnTo>
                            <a:cubicBezTo>
                              <a:pt x="480646" y="3471175"/>
                              <a:pt x="574432" y="3204892"/>
                              <a:pt x="552660" y="3129530"/>
                            </a:cubicBezTo>
                            <a:cubicBezTo>
                              <a:pt x="592016" y="3040770"/>
                              <a:pt x="242837" y="2901769"/>
                              <a:pt x="140679" y="2757742"/>
                            </a:cubicBezTo>
                            <a:cubicBezTo>
                              <a:pt x="38521" y="2658933"/>
                              <a:pt x="138167" y="2418609"/>
                              <a:pt x="326573" y="2521604"/>
                            </a:cubicBezTo>
                            <a:cubicBezTo>
                              <a:pt x="449666" y="2609527"/>
                              <a:pt x="756978" y="2905955"/>
                              <a:pt x="884257" y="2938612"/>
                            </a:cubicBezTo>
                            <a:cubicBezTo>
                              <a:pt x="1142164" y="3031559"/>
                              <a:pt x="1168959" y="2766953"/>
                              <a:pt x="1080199" y="2702476"/>
                            </a:cubicBezTo>
                            <a:cubicBezTo>
                              <a:pt x="874208" y="2507371"/>
                              <a:pt x="825642" y="2548400"/>
                              <a:pt x="567735" y="2290493"/>
                            </a:cubicBezTo>
                            <a:cubicBezTo>
                              <a:pt x="487348" y="2178287"/>
                              <a:pt x="542613" y="2005790"/>
                              <a:pt x="763677" y="2049333"/>
                            </a:cubicBezTo>
                            <a:cubicBezTo>
                              <a:pt x="886769" y="2122184"/>
                              <a:pt x="1245998" y="2483086"/>
                              <a:pt x="1381651" y="2521605"/>
                            </a:cubicBezTo>
                            <a:cubicBezTo>
                              <a:pt x="1602715" y="2665631"/>
                              <a:pt x="1710734" y="2346597"/>
                              <a:pt x="1577593" y="2280445"/>
                            </a:cubicBezTo>
                            <a:cubicBezTo>
                              <a:pt x="1524839" y="2209269"/>
                              <a:pt x="1025771" y="1855065"/>
                              <a:pt x="929475" y="1762955"/>
                            </a:cubicBezTo>
                            <a:cubicBezTo>
                              <a:pt x="767027" y="1603855"/>
                              <a:pt x="966319" y="1414611"/>
                              <a:pt x="1085224" y="1501697"/>
                            </a:cubicBezTo>
                            <a:lnTo>
                              <a:pt x="1607739" y="1873486"/>
                            </a:lnTo>
                            <a:cubicBezTo>
                              <a:pt x="1847224" y="2077801"/>
                              <a:pt x="2001300" y="1724436"/>
                              <a:pt x="1808706" y="1592132"/>
                            </a:cubicBezTo>
                            <a:lnTo>
                              <a:pt x="211016" y="125072"/>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grpSp>
              <p:grpSp>
                <p:nvGrpSpPr>
                  <p:cNvPr id="15" name="Group 14"/>
                  <p:cNvGrpSpPr/>
                  <p:nvPr/>
                </p:nvGrpSpPr>
                <p:grpSpPr>
                  <a:xfrm>
                    <a:off x="3002905" y="4685495"/>
                    <a:ext cx="706207" cy="713266"/>
                    <a:chOff x="3069062" y="4752331"/>
                    <a:chExt cx="573883" cy="579621"/>
                  </a:xfrm>
                </p:grpSpPr>
                <p:grpSp>
                  <p:nvGrpSpPr>
                    <p:cNvPr id="42" name="Group 41"/>
                    <p:cNvGrpSpPr/>
                    <p:nvPr/>
                  </p:nvGrpSpPr>
                  <p:grpSpPr>
                    <a:xfrm>
                      <a:off x="3069062" y="4752331"/>
                      <a:ext cx="573883" cy="579621"/>
                      <a:chOff x="184644" y="2284066"/>
                      <a:chExt cx="1452815" cy="1452812"/>
                    </a:xfrm>
                  </p:grpSpPr>
                  <p:grpSp>
                    <p:nvGrpSpPr>
                      <p:cNvPr id="44" name="Group 43"/>
                      <p:cNvGrpSpPr/>
                      <p:nvPr/>
                    </p:nvGrpSpPr>
                    <p:grpSpPr>
                      <a:xfrm>
                        <a:off x="184644" y="2284066"/>
                        <a:ext cx="1452815" cy="1452812"/>
                        <a:chOff x="924992" y="2114551"/>
                        <a:chExt cx="1232848" cy="1232846"/>
                      </a:xfrm>
                    </p:grpSpPr>
                    <p:sp>
                      <p:nvSpPr>
                        <p:cNvPr id="46" name="Oval 45"/>
                        <p:cNvSpPr/>
                        <p:nvPr/>
                      </p:nvSpPr>
                      <p:spPr>
                        <a:xfrm>
                          <a:off x="924992" y="2114551"/>
                          <a:ext cx="1232848" cy="1232846"/>
                        </a:xfrm>
                        <a:prstGeom prst="ellipse">
                          <a:avLst/>
                        </a:prstGeom>
                        <a:solidFill>
                          <a:sysClr val="window" lastClr="FFFFFF">
                            <a:lumMod val="95000"/>
                          </a:sysClr>
                        </a:solidFill>
                        <a:ln w="12700" cap="flat" cmpd="sng" algn="ctr">
                          <a:noFill/>
                          <a:prstDash val="solid"/>
                          <a:miter lim="800000"/>
                        </a:ln>
                        <a:effectLst>
                          <a:outerShdw blurRad="76200" dist="25400" dir="2700000" sx="101000" sy="101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7" name="Oval 46"/>
                        <p:cNvSpPr/>
                        <p:nvPr/>
                      </p:nvSpPr>
                      <p:spPr>
                        <a:xfrm>
                          <a:off x="1034527" y="2224087"/>
                          <a:ext cx="1013776" cy="1013774"/>
                        </a:xfrm>
                        <a:prstGeom prst="ellipse">
                          <a:avLst/>
                        </a:prstGeom>
                        <a:gradFill>
                          <a:gsLst>
                            <a:gs pos="0">
                              <a:srgbClr val="EAA896"/>
                            </a:gs>
                            <a:gs pos="100000">
                              <a:srgbClr val="D65837"/>
                            </a:gs>
                          </a:gsLst>
                          <a:path path="circle">
                            <a:fillToRect l="50000" t="50000" r="50000" b="50000"/>
                          </a:path>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45" name="Tåre 106"/>
                      <p:cNvSpPr/>
                      <p:nvPr/>
                    </p:nvSpPr>
                    <p:spPr bwMode="auto">
                      <a:xfrm>
                        <a:off x="384732" y="2428903"/>
                        <a:ext cx="1052639" cy="1039481"/>
                      </a:xfrm>
                      <a:prstGeom prst="ellipse">
                        <a:avLst/>
                      </a:prstGeom>
                      <a:gradFill flip="none" rotWithShape="1">
                        <a:gsLst>
                          <a:gs pos="45000">
                            <a:srgbClr val="FFFFFF">
                              <a:lumMod val="40000"/>
                              <a:lumOff val="60000"/>
                              <a:alpha val="0"/>
                            </a:srgbClr>
                          </a:gs>
                          <a:gs pos="100000">
                            <a:srgbClr val="FFFCF9">
                              <a:alpha val="75000"/>
                            </a:srgbClr>
                          </a:gs>
                        </a:gsLst>
                        <a:lin ang="16200000" scaled="1"/>
                        <a:tileRect/>
                      </a:gradFill>
                      <a:ln w="9525" cap="flat" cmpd="sng" algn="ctr">
                        <a:noFill/>
                        <a:prstDash val="soli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ctr" defTabSz="914400" rtl="0" eaLnBrk="1" fontAlgn="auto" latinLnBrk="0" hangingPunct="1">
                          <a:lnSpc>
                            <a:spcPct val="100000"/>
                          </a:lnSpc>
                          <a:spcBef>
                            <a:spcPts val="0"/>
                          </a:spcBef>
                          <a:spcAft>
                            <a:spcPts val="0"/>
                          </a:spcAft>
                          <a:buClrTx/>
                          <a:buSzTx/>
                          <a:buFont typeface="+mj-lt"/>
                          <a:buAutoNum type="arabicPeriod"/>
                          <a:tabLst/>
                          <a:defRPr/>
                        </a:pPr>
                        <a:endParaRPr kumimoji="0" lang="da-DK" sz="1800" b="0"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endParaRPr>
                      </a:p>
                    </p:txBody>
                  </p:sp>
                </p:grpSp>
                <p:sp>
                  <p:nvSpPr>
                    <p:cNvPr id="43" name="Freeform 42"/>
                    <p:cNvSpPr/>
                    <p:nvPr/>
                  </p:nvSpPr>
                  <p:spPr>
                    <a:xfrm>
                      <a:off x="3247660" y="4933781"/>
                      <a:ext cx="216702" cy="216702"/>
                    </a:xfrm>
                    <a:custGeom>
                      <a:avLst/>
                      <a:gdLst>
                        <a:gd name="connsiteX0" fmla="*/ 630627 w 1357911"/>
                        <a:gd name="connsiteY0" fmla="*/ 0 h 1357911"/>
                        <a:gd name="connsiteX1" fmla="*/ 727283 w 1357911"/>
                        <a:gd name="connsiteY1" fmla="*/ 0 h 1357911"/>
                        <a:gd name="connsiteX2" fmla="*/ 769573 w 1357911"/>
                        <a:gd name="connsiteY2" fmla="*/ 42290 h 1357911"/>
                        <a:gd name="connsiteX3" fmla="*/ 769573 w 1357911"/>
                        <a:gd name="connsiteY3" fmla="*/ 105138 h 1357911"/>
                        <a:gd name="connsiteX4" fmla="*/ 796163 w 1357911"/>
                        <a:gd name="connsiteY4" fmla="*/ 109195 h 1357911"/>
                        <a:gd name="connsiteX5" fmla="*/ 1004119 w 1357911"/>
                        <a:gd name="connsiteY5" fmla="*/ 196704 h 1357911"/>
                        <a:gd name="connsiteX6" fmla="*/ 1019973 w 1357911"/>
                        <a:gd name="connsiteY6" fmla="*/ 209784 h 1357911"/>
                        <a:gd name="connsiteX7" fmla="*/ 1065069 w 1357911"/>
                        <a:gd name="connsiteY7" fmla="*/ 164688 h 1357911"/>
                        <a:gd name="connsiteX8" fmla="*/ 1094973 w 1357911"/>
                        <a:gd name="connsiteY8" fmla="*/ 152302 h 1357911"/>
                        <a:gd name="connsiteX9" fmla="*/ 1124876 w 1357911"/>
                        <a:gd name="connsiteY9" fmla="*/ 164688 h 1357911"/>
                        <a:gd name="connsiteX10" fmla="*/ 1193223 w 1357911"/>
                        <a:gd name="connsiteY10" fmla="*/ 233034 h 1357911"/>
                        <a:gd name="connsiteX11" fmla="*/ 1193223 w 1357911"/>
                        <a:gd name="connsiteY11" fmla="*/ 292841 h 1357911"/>
                        <a:gd name="connsiteX12" fmla="*/ 1148126 w 1357911"/>
                        <a:gd name="connsiteY12" fmla="*/ 337938 h 1357911"/>
                        <a:gd name="connsiteX13" fmla="*/ 1161206 w 1357911"/>
                        <a:gd name="connsiteY13" fmla="*/ 353791 h 1357911"/>
                        <a:gd name="connsiteX14" fmla="*/ 1248714 w 1357911"/>
                        <a:gd name="connsiteY14" fmla="*/ 561746 h 1357911"/>
                        <a:gd name="connsiteX15" fmla="*/ 1252771 w 1357911"/>
                        <a:gd name="connsiteY15" fmla="*/ 588337 h 1357911"/>
                        <a:gd name="connsiteX16" fmla="*/ 1315621 w 1357911"/>
                        <a:gd name="connsiteY16" fmla="*/ 588337 h 1357911"/>
                        <a:gd name="connsiteX17" fmla="*/ 1357911 w 1357911"/>
                        <a:gd name="connsiteY17" fmla="*/ 630626 h 1357911"/>
                        <a:gd name="connsiteX18" fmla="*/ 1357911 w 1357911"/>
                        <a:gd name="connsiteY18" fmla="*/ 727283 h 1357911"/>
                        <a:gd name="connsiteX19" fmla="*/ 1315621 w 1357911"/>
                        <a:gd name="connsiteY19" fmla="*/ 769573 h 1357911"/>
                        <a:gd name="connsiteX20" fmla="*/ 1252771 w 1357911"/>
                        <a:gd name="connsiteY20" fmla="*/ 769573 h 1357911"/>
                        <a:gd name="connsiteX21" fmla="*/ 1248715 w 1357911"/>
                        <a:gd name="connsiteY21" fmla="*/ 796162 h 1357911"/>
                        <a:gd name="connsiteX22" fmla="*/ 1161206 w 1357911"/>
                        <a:gd name="connsiteY22" fmla="*/ 1004119 h 1357911"/>
                        <a:gd name="connsiteX23" fmla="*/ 1148126 w 1357911"/>
                        <a:gd name="connsiteY23" fmla="*/ 1019972 h 1357911"/>
                        <a:gd name="connsiteX24" fmla="*/ 1193222 w 1357911"/>
                        <a:gd name="connsiteY24" fmla="*/ 1065067 h 1357911"/>
                        <a:gd name="connsiteX25" fmla="*/ 1193222 w 1357911"/>
                        <a:gd name="connsiteY25" fmla="*/ 1124876 h 1357911"/>
                        <a:gd name="connsiteX26" fmla="*/ 1124877 w 1357911"/>
                        <a:gd name="connsiteY26" fmla="*/ 1193221 h 1357911"/>
                        <a:gd name="connsiteX27" fmla="*/ 1065068 w 1357911"/>
                        <a:gd name="connsiteY27" fmla="*/ 1193221 h 1357911"/>
                        <a:gd name="connsiteX28" fmla="*/ 1019973 w 1357911"/>
                        <a:gd name="connsiteY28" fmla="*/ 1148125 h 1357911"/>
                        <a:gd name="connsiteX29" fmla="*/ 1004119 w 1357911"/>
                        <a:gd name="connsiteY29" fmla="*/ 1161206 h 1357911"/>
                        <a:gd name="connsiteX30" fmla="*/ 796162 w 1357911"/>
                        <a:gd name="connsiteY30" fmla="*/ 1248714 h 1357911"/>
                        <a:gd name="connsiteX31" fmla="*/ 769572 w 1357911"/>
                        <a:gd name="connsiteY31" fmla="*/ 1252771 h 1357911"/>
                        <a:gd name="connsiteX32" fmla="*/ 769572 w 1357911"/>
                        <a:gd name="connsiteY32" fmla="*/ 1315621 h 1357911"/>
                        <a:gd name="connsiteX33" fmla="*/ 727283 w 1357911"/>
                        <a:gd name="connsiteY33" fmla="*/ 1357911 h 1357911"/>
                        <a:gd name="connsiteX34" fmla="*/ 630627 w 1357911"/>
                        <a:gd name="connsiteY34" fmla="*/ 1357910 h 1357911"/>
                        <a:gd name="connsiteX35" fmla="*/ 588337 w 1357911"/>
                        <a:gd name="connsiteY35" fmla="*/ 1315620 h 1357911"/>
                        <a:gd name="connsiteX36" fmla="*/ 588337 w 1357911"/>
                        <a:gd name="connsiteY36" fmla="*/ 1252772 h 1357911"/>
                        <a:gd name="connsiteX37" fmla="*/ 561746 w 1357911"/>
                        <a:gd name="connsiteY37" fmla="*/ 1248714 h 1357911"/>
                        <a:gd name="connsiteX38" fmla="*/ 353791 w 1357911"/>
                        <a:gd name="connsiteY38" fmla="*/ 1161206 h 1357911"/>
                        <a:gd name="connsiteX39" fmla="*/ 337938 w 1357911"/>
                        <a:gd name="connsiteY39" fmla="*/ 1148126 h 1357911"/>
                        <a:gd name="connsiteX40" fmla="*/ 292841 w 1357911"/>
                        <a:gd name="connsiteY40" fmla="*/ 1193222 h 1357911"/>
                        <a:gd name="connsiteX41" fmla="*/ 233034 w 1357911"/>
                        <a:gd name="connsiteY41" fmla="*/ 1193222 h 1357911"/>
                        <a:gd name="connsiteX42" fmla="*/ 164688 w 1357911"/>
                        <a:gd name="connsiteY42" fmla="*/ 1124876 h 1357911"/>
                        <a:gd name="connsiteX43" fmla="*/ 164688 w 1357911"/>
                        <a:gd name="connsiteY43" fmla="*/ 1065068 h 1357911"/>
                        <a:gd name="connsiteX44" fmla="*/ 209784 w 1357911"/>
                        <a:gd name="connsiteY44" fmla="*/ 1019972 h 1357911"/>
                        <a:gd name="connsiteX45" fmla="*/ 196704 w 1357911"/>
                        <a:gd name="connsiteY45" fmla="*/ 1004119 h 1357911"/>
                        <a:gd name="connsiteX46" fmla="*/ 109195 w 1357911"/>
                        <a:gd name="connsiteY46" fmla="*/ 796162 h 1357911"/>
                        <a:gd name="connsiteX47" fmla="*/ 105137 w 1357911"/>
                        <a:gd name="connsiteY47" fmla="*/ 769574 h 1357911"/>
                        <a:gd name="connsiteX48" fmla="*/ 42290 w 1357911"/>
                        <a:gd name="connsiteY48" fmla="*/ 769573 h 1357911"/>
                        <a:gd name="connsiteX49" fmla="*/ 0 w 1357911"/>
                        <a:gd name="connsiteY49" fmla="*/ 727283 h 1357911"/>
                        <a:gd name="connsiteX50" fmla="*/ 0 w 1357911"/>
                        <a:gd name="connsiteY50" fmla="*/ 630626 h 1357911"/>
                        <a:gd name="connsiteX51" fmla="*/ 42290 w 1357911"/>
                        <a:gd name="connsiteY51" fmla="*/ 588337 h 1357911"/>
                        <a:gd name="connsiteX52" fmla="*/ 105138 w 1357911"/>
                        <a:gd name="connsiteY52" fmla="*/ 588337 h 1357911"/>
                        <a:gd name="connsiteX53" fmla="*/ 109196 w 1357911"/>
                        <a:gd name="connsiteY53" fmla="*/ 561748 h 1357911"/>
                        <a:gd name="connsiteX54" fmla="*/ 196704 w 1357911"/>
                        <a:gd name="connsiteY54" fmla="*/ 353791 h 1357911"/>
                        <a:gd name="connsiteX55" fmla="*/ 209784 w 1357911"/>
                        <a:gd name="connsiteY55" fmla="*/ 337937 h 1357911"/>
                        <a:gd name="connsiteX56" fmla="*/ 164688 w 1357911"/>
                        <a:gd name="connsiteY56" fmla="*/ 292842 h 1357911"/>
                        <a:gd name="connsiteX57" fmla="*/ 164688 w 1357911"/>
                        <a:gd name="connsiteY57" fmla="*/ 233033 h 1357911"/>
                        <a:gd name="connsiteX58" fmla="*/ 233033 w 1357911"/>
                        <a:gd name="connsiteY58" fmla="*/ 164688 h 1357911"/>
                        <a:gd name="connsiteX59" fmla="*/ 262938 w 1357911"/>
                        <a:gd name="connsiteY59" fmla="*/ 152302 h 1357911"/>
                        <a:gd name="connsiteX60" fmla="*/ 292842 w 1357911"/>
                        <a:gd name="connsiteY60" fmla="*/ 164688 h 1357911"/>
                        <a:gd name="connsiteX61" fmla="*/ 337938 w 1357911"/>
                        <a:gd name="connsiteY61" fmla="*/ 209783 h 1357911"/>
                        <a:gd name="connsiteX62" fmla="*/ 353791 w 1357911"/>
                        <a:gd name="connsiteY62" fmla="*/ 196704 h 1357911"/>
                        <a:gd name="connsiteX63" fmla="*/ 561746 w 1357911"/>
                        <a:gd name="connsiteY63" fmla="*/ 109195 h 1357911"/>
                        <a:gd name="connsiteX64" fmla="*/ 588337 w 1357911"/>
                        <a:gd name="connsiteY64" fmla="*/ 105138 h 1357911"/>
                        <a:gd name="connsiteX65" fmla="*/ 588337 w 1357911"/>
                        <a:gd name="connsiteY65" fmla="*/ 42290 h 1357911"/>
                        <a:gd name="connsiteX66" fmla="*/ 630627 w 1357911"/>
                        <a:gd name="connsiteY66" fmla="*/ 0 h 1357911"/>
                        <a:gd name="connsiteX67" fmla="*/ 678955 w 1357911"/>
                        <a:gd name="connsiteY67" fmla="*/ 339023 h 1357911"/>
                        <a:gd name="connsiteX68" fmla="*/ 339023 w 1357911"/>
                        <a:gd name="connsiteY68" fmla="*/ 678955 h 1357911"/>
                        <a:gd name="connsiteX69" fmla="*/ 678955 w 1357911"/>
                        <a:gd name="connsiteY69" fmla="*/ 1018887 h 1357911"/>
                        <a:gd name="connsiteX70" fmla="*/ 1018888 w 1357911"/>
                        <a:gd name="connsiteY70" fmla="*/ 678955 h 1357911"/>
                        <a:gd name="connsiteX71" fmla="*/ 678955 w 1357911"/>
                        <a:gd name="connsiteY71" fmla="*/ 339023 h 135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57911" h="1357911">
                          <a:moveTo>
                            <a:pt x="630627" y="0"/>
                          </a:moveTo>
                          <a:lnTo>
                            <a:pt x="727283" y="0"/>
                          </a:lnTo>
                          <a:cubicBezTo>
                            <a:pt x="750640" y="0"/>
                            <a:pt x="769573" y="18934"/>
                            <a:pt x="769573" y="42290"/>
                          </a:cubicBezTo>
                          <a:lnTo>
                            <a:pt x="769573" y="105138"/>
                          </a:lnTo>
                          <a:lnTo>
                            <a:pt x="796163" y="109195"/>
                          </a:lnTo>
                          <a:cubicBezTo>
                            <a:pt x="871880" y="124690"/>
                            <a:pt x="942239" y="154899"/>
                            <a:pt x="1004119" y="196704"/>
                          </a:cubicBezTo>
                          <a:lnTo>
                            <a:pt x="1019973" y="209784"/>
                          </a:lnTo>
                          <a:lnTo>
                            <a:pt x="1065069" y="164688"/>
                          </a:lnTo>
                          <a:cubicBezTo>
                            <a:pt x="1073327" y="156430"/>
                            <a:pt x="1084150" y="152302"/>
                            <a:pt x="1094973" y="152302"/>
                          </a:cubicBezTo>
                          <a:cubicBezTo>
                            <a:pt x="1105796" y="152302"/>
                            <a:pt x="1116618" y="156430"/>
                            <a:pt x="1124876" y="164688"/>
                          </a:cubicBezTo>
                          <a:lnTo>
                            <a:pt x="1193223" y="233034"/>
                          </a:lnTo>
                          <a:cubicBezTo>
                            <a:pt x="1209738" y="249550"/>
                            <a:pt x="1209738" y="276326"/>
                            <a:pt x="1193223" y="292841"/>
                          </a:cubicBezTo>
                          <a:lnTo>
                            <a:pt x="1148126" y="337938"/>
                          </a:lnTo>
                          <a:lnTo>
                            <a:pt x="1161206" y="353791"/>
                          </a:lnTo>
                          <a:cubicBezTo>
                            <a:pt x="1203011" y="415670"/>
                            <a:pt x="1233219" y="486029"/>
                            <a:pt x="1248714" y="561746"/>
                          </a:cubicBezTo>
                          <a:lnTo>
                            <a:pt x="1252771" y="588337"/>
                          </a:lnTo>
                          <a:lnTo>
                            <a:pt x="1315621" y="588337"/>
                          </a:lnTo>
                          <a:cubicBezTo>
                            <a:pt x="1338976" y="588337"/>
                            <a:pt x="1357911" y="607271"/>
                            <a:pt x="1357911" y="630626"/>
                          </a:cubicBezTo>
                          <a:lnTo>
                            <a:pt x="1357911" y="727283"/>
                          </a:lnTo>
                          <a:cubicBezTo>
                            <a:pt x="1357911" y="750638"/>
                            <a:pt x="1338977" y="769574"/>
                            <a:pt x="1315621" y="769573"/>
                          </a:cubicBezTo>
                          <a:lnTo>
                            <a:pt x="1252771" y="769573"/>
                          </a:lnTo>
                          <a:lnTo>
                            <a:pt x="1248715" y="796162"/>
                          </a:lnTo>
                          <a:cubicBezTo>
                            <a:pt x="1233220" y="871880"/>
                            <a:pt x="1203011" y="942239"/>
                            <a:pt x="1161206" y="1004119"/>
                          </a:cubicBezTo>
                          <a:lnTo>
                            <a:pt x="1148126" y="1019972"/>
                          </a:lnTo>
                          <a:lnTo>
                            <a:pt x="1193222" y="1065067"/>
                          </a:lnTo>
                          <a:cubicBezTo>
                            <a:pt x="1209737" y="1081584"/>
                            <a:pt x="1209737" y="1108360"/>
                            <a:pt x="1193222" y="1124876"/>
                          </a:cubicBezTo>
                          <a:lnTo>
                            <a:pt x="1124877" y="1193221"/>
                          </a:lnTo>
                          <a:cubicBezTo>
                            <a:pt x="1108361" y="1209737"/>
                            <a:pt x="1081584" y="1209737"/>
                            <a:pt x="1065068" y="1193221"/>
                          </a:cubicBezTo>
                          <a:lnTo>
                            <a:pt x="1019973" y="1148125"/>
                          </a:lnTo>
                          <a:lnTo>
                            <a:pt x="1004119" y="1161206"/>
                          </a:lnTo>
                          <a:cubicBezTo>
                            <a:pt x="942239" y="1203010"/>
                            <a:pt x="871880" y="1233219"/>
                            <a:pt x="796162" y="1248714"/>
                          </a:cubicBezTo>
                          <a:lnTo>
                            <a:pt x="769572" y="1252771"/>
                          </a:lnTo>
                          <a:lnTo>
                            <a:pt x="769572" y="1315621"/>
                          </a:lnTo>
                          <a:cubicBezTo>
                            <a:pt x="769573" y="1338975"/>
                            <a:pt x="750639" y="1357910"/>
                            <a:pt x="727283" y="1357911"/>
                          </a:cubicBezTo>
                          <a:lnTo>
                            <a:pt x="630627" y="1357910"/>
                          </a:lnTo>
                          <a:cubicBezTo>
                            <a:pt x="607271" y="1357911"/>
                            <a:pt x="588337" y="1338976"/>
                            <a:pt x="588337" y="1315620"/>
                          </a:cubicBezTo>
                          <a:lnTo>
                            <a:pt x="588337" y="1252772"/>
                          </a:lnTo>
                          <a:lnTo>
                            <a:pt x="561746" y="1248714"/>
                          </a:lnTo>
                          <a:cubicBezTo>
                            <a:pt x="486028" y="1233219"/>
                            <a:pt x="415671" y="1203010"/>
                            <a:pt x="353791" y="1161206"/>
                          </a:cubicBezTo>
                          <a:lnTo>
                            <a:pt x="337938" y="1148126"/>
                          </a:lnTo>
                          <a:lnTo>
                            <a:pt x="292841" y="1193222"/>
                          </a:lnTo>
                          <a:cubicBezTo>
                            <a:pt x="276327" y="1209737"/>
                            <a:pt x="249550" y="1209737"/>
                            <a:pt x="233034" y="1193222"/>
                          </a:cubicBezTo>
                          <a:lnTo>
                            <a:pt x="164688" y="1124876"/>
                          </a:lnTo>
                          <a:cubicBezTo>
                            <a:pt x="148173" y="1108360"/>
                            <a:pt x="148173" y="1081583"/>
                            <a:pt x="164688" y="1065068"/>
                          </a:cubicBezTo>
                          <a:lnTo>
                            <a:pt x="209784" y="1019972"/>
                          </a:lnTo>
                          <a:lnTo>
                            <a:pt x="196704" y="1004119"/>
                          </a:lnTo>
                          <a:cubicBezTo>
                            <a:pt x="154898" y="942239"/>
                            <a:pt x="124689" y="871881"/>
                            <a:pt x="109195" y="796162"/>
                          </a:cubicBezTo>
                          <a:lnTo>
                            <a:pt x="105137" y="769574"/>
                          </a:lnTo>
                          <a:lnTo>
                            <a:pt x="42290" y="769573"/>
                          </a:lnTo>
                          <a:cubicBezTo>
                            <a:pt x="18934" y="769574"/>
                            <a:pt x="0" y="750639"/>
                            <a:pt x="0" y="727283"/>
                          </a:cubicBezTo>
                          <a:lnTo>
                            <a:pt x="0" y="630626"/>
                          </a:lnTo>
                          <a:cubicBezTo>
                            <a:pt x="0" y="607271"/>
                            <a:pt x="18933" y="588337"/>
                            <a:pt x="42290" y="588337"/>
                          </a:cubicBezTo>
                          <a:lnTo>
                            <a:pt x="105138" y="588337"/>
                          </a:lnTo>
                          <a:lnTo>
                            <a:pt x="109196" y="561748"/>
                          </a:lnTo>
                          <a:cubicBezTo>
                            <a:pt x="124689" y="486029"/>
                            <a:pt x="154898" y="415670"/>
                            <a:pt x="196704" y="353791"/>
                          </a:cubicBezTo>
                          <a:lnTo>
                            <a:pt x="209784" y="337937"/>
                          </a:lnTo>
                          <a:lnTo>
                            <a:pt x="164688" y="292842"/>
                          </a:lnTo>
                          <a:cubicBezTo>
                            <a:pt x="148174" y="276325"/>
                            <a:pt x="148174" y="249550"/>
                            <a:pt x="164688" y="233033"/>
                          </a:cubicBezTo>
                          <a:lnTo>
                            <a:pt x="233033" y="164688"/>
                          </a:lnTo>
                          <a:cubicBezTo>
                            <a:pt x="241293" y="156431"/>
                            <a:pt x="252115" y="152303"/>
                            <a:pt x="262938" y="152302"/>
                          </a:cubicBezTo>
                          <a:cubicBezTo>
                            <a:pt x="273761" y="152303"/>
                            <a:pt x="284584" y="156431"/>
                            <a:pt x="292842" y="164688"/>
                          </a:cubicBezTo>
                          <a:lnTo>
                            <a:pt x="337938" y="209783"/>
                          </a:lnTo>
                          <a:lnTo>
                            <a:pt x="353791" y="196704"/>
                          </a:lnTo>
                          <a:cubicBezTo>
                            <a:pt x="415671" y="154899"/>
                            <a:pt x="486029" y="124689"/>
                            <a:pt x="561746" y="109195"/>
                          </a:cubicBezTo>
                          <a:lnTo>
                            <a:pt x="588337" y="105138"/>
                          </a:lnTo>
                          <a:lnTo>
                            <a:pt x="588337" y="42290"/>
                          </a:lnTo>
                          <a:cubicBezTo>
                            <a:pt x="588337" y="18934"/>
                            <a:pt x="607272" y="0"/>
                            <a:pt x="630627" y="0"/>
                          </a:cubicBezTo>
                          <a:close/>
                          <a:moveTo>
                            <a:pt x="678955" y="339023"/>
                          </a:moveTo>
                          <a:cubicBezTo>
                            <a:pt x="491215" y="339022"/>
                            <a:pt x="339023" y="491215"/>
                            <a:pt x="339023" y="678955"/>
                          </a:cubicBezTo>
                          <a:cubicBezTo>
                            <a:pt x="339023" y="866696"/>
                            <a:pt x="491215" y="1018887"/>
                            <a:pt x="678955" y="1018887"/>
                          </a:cubicBezTo>
                          <a:cubicBezTo>
                            <a:pt x="866696" y="1018887"/>
                            <a:pt x="1018888" y="866696"/>
                            <a:pt x="1018888" y="678955"/>
                          </a:cubicBezTo>
                          <a:cubicBezTo>
                            <a:pt x="1018888" y="491215"/>
                            <a:pt x="866696" y="339022"/>
                            <a:pt x="678955" y="339023"/>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16" name="Group 15"/>
                  <p:cNvGrpSpPr/>
                  <p:nvPr/>
                </p:nvGrpSpPr>
                <p:grpSpPr>
                  <a:xfrm>
                    <a:off x="1738168" y="5203655"/>
                    <a:ext cx="706207" cy="713266"/>
                    <a:chOff x="1804327" y="5270488"/>
                    <a:chExt cx="573883" cy="579621"/>
                  </a:xfrm>
                </p:grpSpPr>
                <p:grpSp>
                  <p:nvGrpSpPr>
                    <p:cNvPr id="24" name="Group 23"/>
                    <p:cNvGrpSpPr/>
                    <p:nvPr/>
                  </p:nvGrpSpPr>
                  <p:grpSpPr>
                    <a:xfrm>
                      <a:off x="1804327" y="5270488"/>
                      <a:ext cx="573883" cy="579621"/>
                      <a:chOff x="184644" y="2284066"/>
                      <a:chExt cx="1452815" cy="1452812"/>
                    </a:xfrm>
                  </p:grpSpPr>
                  <p:grpSp>
                    <p:nvGrpSpPr>
                      <p:cNvPr id="38" name="Group 37"/>
                      <p:cNvGrpSpPr/>
                      <p:nvPr/>
                    </p:nvGrpSpPr>
                    <p:grpSpPr>
                      <a:xfrm>
                        <a:off x="184644" y="2284066"/>
                        <a:ext cx="1452815" cy="1452812"/>
                        <a:chOff x="924992" y="2114551"/>
                        <a:chExt cx="1232848" cy="1232846"/>
                      </a:xfrm>
                    </p:grpSpPr>
                    <p:sp>
                      <p:nvSpPr>
                        <p:cNvPr id="40" name="Oval 39"/>
                        <p:cNvSpPr/>
                        <p:nvPr/>
                      </p:nvSpPr>
                      <p:spPr>
                        <a:xfrm>
                          <a:off x="924992" y="2114551"/>
                          <a:ext cx="1232848" cy="1232846"/>
                        </a:xfrm>
                        <a:prstGeom prst="ellipse">
                          <a:avLst/>
                        </a:prstGeom>
                        <a:solidFill>
                          <a:sysClr val="window" lastClr="FFFFFF">
                            <a:lumMod val="95000"/>
                          </a:sysClr>
                        </a:solidFill>
                        <a:ln w="12700" cap="flat" cmpd="sng" algn="ctr">
                          <a:noFill/>
                          <a:prstDash val="solid"/>
                          <a:miter lim="800000"/>
                        </a:ln>
                        <a:effectLst>
                          <a:outerShdw blurRad="76200" dist="25400" dir="2700000" sx="101000" sy="101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1" name="Oval 40"/>
                        <p:cNvSpPr/>
                        <p:nvPr/>
                      </p:nvSpPr>
                      <p:spPr>
                        <a:xfrm>
                          <a:off x="1034527" y="2224087"/>
                          <a:ext cx="1013776" cy="1013774"/>
                        </a:xfrm>
                        <a:prstGeom prst="ellipse">
                          <a:avLst/>
                        </a:prstGeom>
                        <a:gradFill>
                          <a:gsLst>
                            <a:gs pos="0">
                              <a:srgbClr val="677899"/>
                            </a:gs>
                            <a:gs pos="100000">
                              <a:srgbClr val="414C61"/>
                            </a:gs>
                          </a:gsLst>
                          <a:path path="circle">
                            <a:fillToRect l="50000" t="50000" r="50000" b="50000"/>
                          </a:path>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39" name="Tåre 106"/>
                      <p:cNvSpPr/>
                      <p:nvPr/>
                    </p:nvSpPr>
                    <p:spPr bwMode="auto">
                      <a:xfrm>
                        <a:off x="384732" y="2428903"/>
                        <a:ext cx="1052639" cy="1039481"/>
                      </a:xfrm>
                      <a:prstGeom prst="ellipse">
                        <a:avLst/>
                      </a:prstGeom>
                      <a:gradFill flip="none" rotWithShape="1">
                        <a:gsLst>
                          <a:gs pos="45000">
                            <a:srgbClr val="FFFFFF">
                              <a:lumMod val="40000"/>
                              <a:lumOff val="60000"/>
                              <a:alpha val="0"/>
                            </a:srgbClr>
                          </a:gs>
                          <a:gs pos="100000">
                            <a:srgbClr val="FFFCF9">
                              <a:alpha val="75000"/>
                            </a:srgbClr>
                          </a:gs>
                        </a:gsLst>
                        <a:lin ang="16200000" scaled="1"/>
                        <a:tileRect/>
                      </a:gradFill>
                      <a:ln w="9525" cap="flat" cmpd="sng" algn="ctr">
                        <a:noFill/>
                        <a:prstDash val="soli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ctr" defTabSz="914400" rtl="0" eaLnBrk="1" fontAlgn="auto" latinLnBrk="0" hangingPunct="1">
                          <a:lnSpc>
                            <a:spcPct val="100000"/>
                          </a:lnSpc>
                          <a:spcBef>
                            <a:spcPts val="0"/>
                          </a:spcBef>
                          <a:spcAft>
                            <a:spcPts val="0"/>
                          </a:spcAft>
                          <a:buClrTx/>
                          <a:buSzTx/>
                          <a:buFont typeface="+mj-lt"/>
                          <a:buAutoNum type="arabicPeriod"/>
                          <a:tabLst/>
                          <a:defRPr/>
                        </a:pPr>
                        <a:endParaRPr kumimoji="0" lang="da-DK" sz="1800" b="0"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endParaRPr>
                      </a:p>
                    </p:txBody>
                  </p:sp>
                </p:grpSp>
                <p:grpSp>
                  <p:nvGrpSpPr>
                    <p:cNvPr id="25" name="Group 24"/>
                    <p:cNvGrpSpPr/>
                    <p:nvPr/>
                  </p:nvGrpSpPr>
                  <p:grpSpPr>
                    <a:xfrm>
                      <a:off x="1996813" y="5476191"/>
                      <a:ext cx="188920" cy="168202"/>
                      <a:chOff x="2691686" y="1471544"/>
                      <a:chExt cx="4610636" cy="4105009"/>
                    </a:xfrm>
                    <a:solidFill>
                      <a:sysClr val="window" lastClr="FFFFFF"/>
                    </a:solidFill>
                  </p:grpSpPr>
                  <p:sp>
                    <p:nvSpPr>
                      <p:cNvPr id="26" name="Freeform 25"/>
                      <p:cNvSpPr/>
                      <p:nvPr/>
                    </p:nvSpPr>
                    <p:spPr>
                      <a:xfrm>
                        <a:off x="2691686" y="1803043"/>
                        <a:ext cx="4610636" cy="3773510"/>
                      </a:xfrm>
                      <a:custGeom>
                        <a:avLst/>
                        <a:gdLst>
                          <a:gd name="connsiteX0" fmla="*/ 595581 w 4610636"/>
                          <a:gd name="connsiteY0" fmla="*/ 1063982 h 3773510"/>
                          <a:gd name="connsiteX1" fmla="*/ 595581 w 4610636"/>
                          <a:gd name="connsiteY1" fmla="*/ 3407132 h 3773510"/>
                          <a:gd name="connsiteX2" fmla="*/ 4015056 w 4610636"/>
                          <a:gd name="connsiteY2" fmla="*/ 3407132 h 3773510"/>
                          <a:gd name="connsiteX3" fmla="*/ 4015056 w 4610636"/>
                          <a:gd name="connsiteY3" fmla="*/ 1063982 h 3773510"/>
                          <a:gd name="connsiteX4" fmla="*/ 448633 w 4610636"/>
                          <a:gd name="connsiteY4" fmla="*/ 0 h 3773510"/>
                          <a:gd name="connsiteX5" fmla="*/ 1019251 w 4610636"/>
                          <a:gd name="connsiteY5" fmla="*/ 0 h 3773510"/>
                          <a:gd name="connsiteX6" fmla="*/ 1019251 w 4610636"/>
                          <a:gd name="connsiteY6" fmla="*/ 170957 h 3773510"/>
                          <a:gd name="connsiteX7" fmla="*/ 988643 w 4610636"/>
                          <a:gd name="connsiteY7" fmla="*/ 196211 h 3773510"/>
                          <a:gd name="connsiteX8" fmla="*/ 883364 w 4610636"/>
                          <a:gd name="connsiteY8" fmla="*/ 450378 h 3773510"/>
                          <a:gd name="connsiteX9" fmla="*/ 1242810 w 4610636"/>
                          <a:gd name="connsiteY9" fmla="*/ 809824 h 3773510"/>
                          <a:gd name="connsiteX10" fmla="*/ 1602256 w 4610636"/>
                          <a:gd name="connsiteY10" fmla="*/ 450378 h 3773510"/>
                          <a:gd name="connsiteX11" fmla="*/ 1496977 w 4610636"/>
                          <a:gd name="connsiteY11" fmla="*/ 196211 h 3773510"/>
                          <a:gd name="connsiteX12" fmla="*/ 1466369 w 4610636"/>
                          <a:gd name="connsiteY12" fmla="*/ 170957 h 3773510"/>
                          <a:gd name="connsiteX13" fmla="*/ 1466369 w 4610636"/>
                          <a:gd name="connsiteY13" fmla="*/ 0 h 3773510"/>
                          <a:gd name="connsiteX14" fmla="*/ 3172229 w 4610636"/>
                          <a:gd name="connsiteY14" fmla="*/ 0 h 3773510"/>
                          <a:gd name="connsiteX15" fmla="*/ 3172229 w 4610636"/>
                          <a:gd name="connsiteY15" fmla="*/ 170957 h 3773510"/>
                          <a:gd name="connsiteX16" fmla="*/ 3141621 w 4610636"/>
                          <a:gd name="connsiteY16" fmla="*/ 196211 h 3773510"/>
                          <a:gd name="connsiteX17" fmla="*/ 3036342 w 4610636"/>
                          <a:gd name="connsiteY17" fmla="*/ 450378 h 3773510"/>
                          <a:gd name="connsiteX18" fmla="*/ 3395788 w 4610636"/>
                          <a:gd name="connsiteY18" fmla="*/ 809824 h 3773510"/>
                          <a:gd name="connsiteX19" fmla="*/ 3755234 w 4610636"/>
                          <a:gd name="connsiteY19" fmla="*/ 450378 h 3773510"/>
                          <a:gd name="connsiteX20" fmla="*/ 3649955 w 4610636"/>
                          <a:gd name="connsiteY20" fmla="*/ 196211 h 3773510"/>
                          <a:gd name="connsiteX21" fmla="*/ 3619347 w 4610636"/>
                          <a:gd name="connsiteY21" fmla="*/ 170957 h 3773510"/>
                          <a:gd name="connsiteX22" fmla="*/ 3619347 w 4610636"/>
                          <a:gd name="connsiteY22" fmla="*/ 0 h 3773510"/>
                          <a:gd name="connsiteX23" fmla="*/ 4162003 w 4610636"/>
                          <a:gd name="connsiteY23" fmla="*/ 0 h 3773510"/>
                          <a:gd name="connsiteX24" fmla="*/ 4610636 w 4610636"/>
                          <a:gd name="connsiteY24" fmla="*/ 448633 h 3773510"/>
                          <a:gd name="connsiteX25" fmla="*/ 4610636 w 4610636"/>
                          <a:gd name="connsiteY25" fmla="*/ 3324877 h 3773510"/>
                          <a:gd name="connsiteX26" fmla="*/ 4162003 w 4610636"/>
                          <a:gd name="connsiteY26" fmla="*/ 3773510 h 3773510"/>
                          <a:gd name="connsiteX27" fmla="*/ 448633 w 4610636"/>
                          <a:gd name="connsiteY27" fmla="*/ 3773510 h 3773510"/>
                          <a:gd name="connsiteX28" fmla="*/ 0 w 4610636"/>
                          <a:gd name="connsiteY28" fmla="*/ 3324877 h 3773510"/>
                          <a:gd name="connsiteX29" fmla="*/ 0 w 4610636"/>
                          <a:gd name="connsiteY29" fmla="*/ 448633 h 3773510"/>
                          <a:gd name="connsiteX30" fmla="*/ 448633 w 4610636"/>
                          <a:gd name="connsiteY30" fmla="*/ 0 h 3773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610636" h="3773510">
                            <a:moveTo>
                              <a:pt x="595581" y="1063982"/>
                            </a:moveTo>
                            <a:lnTo>
                              <a:pt x="595581" y="3407132"/>
                            </a:lnTo>
                            <a:lnTo>
                              <a:pt x="4015056" y="3407132"/>
                            </a:lnTo>
                            <a:lnTo>
                              <a:pt x="4015056" y="1063982"/>
                            </a:lnTo>
                            <a:close/>
                            <a:moveTo>
                              <a:pt x="448633" y="0"/>
                            </a:moveTo>
                            <a:lnTo>
                              <a:pt x="1019251" y="0"/>
                            </a:lnTo>
                            <a:lnTo>
                              <a:pt x="1019251" y="170957"/>
                            </a:lnTo>
                            <a:lnTo>
                              <a:pt x="988643" y="196211"/>
                            </a:lnTo>
                            <a:cubicBezTo>
                              <a:pt x="923596" y="261258"/>
                              <a:pt x="883364" y="351120"/>
                              <a:pt x="883364" y="450378"/>
                            </a:cubicBezTo>
                            <a:cubicBezTo>
                              <a:pt x="883364" y="648895"/>
                              <a:pt x="1044293" y="809824"/>
                              <a:pt x="1242810" y="809824"/>
                            </a:cubicBezTo>
                            <a:cubicBezTo>
                              <a:pt x="1441327" y="809824"/>
                              <a:pt x="1602256" y="648895"/>
                              <a:pt x="1602256" y="450378"/>
                            </a:cubicBezTo>
                            <a:cubicBezTo>
                              <a:pt x="1602256" y="351120"/>
                              <a:pt x="1562024" y="261258"/>
                              <a:pt x="1496977" y="196211"/>
                            </a:cubicBezTo>
                            <a:lnTo>
                              <a:pt x="1466369" y="170957"/>
                            </a:lnTo>
                            <a:lnTo>
                              <a:pt x="1466369" y="0"/>
                            </a:lnTo>
                            <a:lnTo>
                              <a:pt x="3172229" y="0"/>
                            </a:lnTo>
                            <a:lnTo>
                              <a:pt x="3172229" y="170957"/>
                            </a:lnTo>
                            <a:lnTo>
                              <a:pt x="3141621" y="196211"/>
                            </a:lnTo>
                            <a:cubicBezTo>
                              <a:pt x="3076575" y="261258"/>
                              <a:pt x="3036342" y="351120"/>
                              <a:pt x="3036342" y="450378"/>
                            </a:cubicBezTo>
                            <a:cubicBezTo>
                              <a:pt x="3036342" y="648895"/>
                              <a:pt x="3197271" y="809824"/>
                              <a:pt x="3395788" y="809824"/>
                            </a:cubicBezTo>
                            <a:cubicBezTo>
                              <a:pt x="3594305" y="809824"/>
                              <a:pt x="3755234" y="648895"/>
                              <a:pt x="3755234" y="450378"/>
                            </a:cubicBezTo>
                            <a:cubicBezTo>
                              <a:pt x="3755234" y="351120"/>
                              <a:pt x="3715002" y="261258"/>
                              <a:pt x="3649955" y="196211"/>
                            </a:cubicBezTo>
                            <a:lnTo>
                              <a:pt x="3619347" y="170957"/>
                            </a:lnTo>
                            <a:lnTo>
                              <a:pt x="3619347" y="0"/>
                            </a:lnTo>
                            <a:lnTo>
                              <a:pt x="4162003" y="0"/>
                            </a:lnTo>
                            <a:cubicBezTo>
                              <a:pt x="4409776" y="0"/>
                              <a:pt x="4610636" y="200860"/>
                              <a:pt x="4610636" y="448633"/>
                            </a:cubicBezTo>
                            <a:lnTo>
                              <a:pt x="4610636" y="3324877"/>
                            </a:lnTo>
                            <a:cubicBezTo>
                              <a:pt x="4610636" y="3572650"/>
                              <a:pt x="4409776" y="3773510"/>
                              <a:pt x="4162003" y="3773510"/>
                            </a:cubicBezTo>
                            <a:lnTo>
                              <a:pt x="448633" y="3773510"/>
                            </a:lnTo>
                            <a:cubicBezTo>
                              <a:pt x="200860" y="3773510"/>
                              <a:pt x="0" y="3572650"/>
                              <a:pt x="0" y="3324877"/>
                            </a:cubicBezTo>
                            <a:lnTo>
                              <a:pt x="0" y="448633"/>
                            </a:lnTo>
                            <a:cubicBezTo>
                              <a:pt x="0" y="200860"/>
                              <a:pt x="200860" y="0"/>
                              <a:pt x="448633" y="0"/>
                            </a:cubicBez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7" name="Rounded Rectangle 26"/>
                      <p:cNvSpPr/>
                      <p:nvPr/>
                    </p:nvSpPr>
                    <p:spPr>
                      <a:xfrm>
                        <a:off x="3802561" y="1471544"/>
                        <a:ext cx="263871" cy="909705"/>
                      </a:xfrm>
                      <a:prstGeom prst="roundRect">
                        <a:avLst>
                          <a:gd name="adj" fmla="val 50000"/>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8" name="Rounded Rectangle 27"/>
                      <p:cNvSpPr/>
                      <p:nvPr/>
                    </p:nvSpPr>
                    <p:spPr>
                      <a:xfrm>
                        <a:off x="5955539" y="1471544"/>
                        <a:ext cx="263871" cy="909705"/>
                      </a:xfrm>
                      <a:prstGeom prst="roundRect">
                        <a:avLst>
                          <a:gd name="adj" fmla="val 50000"/>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9" name="Rectangle 28"/>
                      <p:cNvSpPr/>
                      <p:nvPr/>
                    </p:nvSpPr>
                    <p:spPr>
                      <a:xfrm>
                        <a:off x="4410075" y="3081337"/>
                        <a:ext cx="447675" cy="4953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0" name="Rectangle 29"/>
                      <p:cNvSpPr/>
                      <p:nvPr/>
                    </p:nvSpPr>
                    <p:spPr>
                      <a:xfrm>
                        <a:off x="5105715" y="3081337"/>
                        <a:ext cx="447675" cy="4953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1" name="Rectangle 30"/>
                      <p:cNvSpPr/>
                      <p:nvPr/>
                    </p:nvSpPr>
                    <p:spPr>
                      <a:xfrm>
                        <a:off x="5801355" y="3081337"/>
                        <a:ext cx="447675" cy="4953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2" name="Rectangle 31"/>
                      <p:cNvSpPr/>
                      <p:nvPr/>
                    </p:nvSpPr>
                    <p:spPr>
                      <a:xfrm>
                        <a:off x="5801355" y="3776566"/>
                        <a:ext cx="447675" cy="4953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3" name="Rectangle 32"/>
                      <p:cNvSpPr/>
                      <p:nvPr/>
                    </p:nvSpPr>
                    <p:spPr>
                      <a:xfrm>
                        <a:off x="5106602" y="3776566"/>
                        <a:ext cx="447675" cy="4953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4" name="Rectangle 33"/>
                      <p:cNvSpPr/>
                      <p:nvPr/>
                    </p:nvSpPr>
                    <p:spPr>
                      <a:xfrm>
                        <a:off x="4411848" y="3776566"/>
                        <a:ext cx="447675" cy="4953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5" name="Rectangle 34"/>
                      <p:cNvSpPr/>
                      <p:nvPr/>
                    </p:nvSpPr>
                    <p:spPr>
                      <a:xfrm>
                        <a:off x="3717094" y="3776566"/>
                        <a:ext cx="447675" cy="4953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6" name="Rectangle 35"/>
                      <p:cNvSpPr/>
                      <p:nvPr/>
                    </p:nvSpPr>
                    <p:spPr>
                      <a:xfrm>
                        <a:off x="3717094" y="4467033"/>
                        <a:ext cx="447675" cy="4953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7" name="Rectangle 36"/>
                      <p:cNvSpPr/>
                      <p:nvPr/>
                    </p:nvSpPr>
                    <p:spPr>
                      <a:xfrm>
                        <a:off x="4410075" y="4467033"/>
                        <a:ext cx="447675" cy="4953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grpSp>
              <p:grpSp>
                <p:nvGrpSpPr>
                  <p:cNvPr id="17" name="Group 16"/>
                  <p:cNvGrpSpPr/>
                  <p:nvPr/>
                </p:nvGrpSpPr>
                <p:grpSpPr>
                  <a:xfrm>
                    <a:off x="1738169" y="1637045"/>
                    <a:ext cx="706207" cy="713266"/>
                    <a:chOff x="1804332" y="1703867"/>
                    <a:chExt cx="573884" cy="579620"/>
                  </a:xfrm>
                </p:grpSpPr>
                <p:grpSp>
                  <p:nvGrpSpPr>
                    <p:cNvPr id="18" name="Group 17"/>
                    <p:cNvGrpSpPr/>
                    <p:nvPr/>
                  </p:nvGrpSpPr>
                  <p:grpSpPr>
                    <a:xfrm>
                      <a:off x="1804332" y="1703867"/>
                      <a:ext cx="573884" cy="579620"/>
                      <a:chOff x="184644" y="2284066"/>
                      <a:chExt cx="1452815" cy="1452812"/>
                    </a:xfrm>
                  </p:grpSpPr>
                  <p:grpSp>
                    <p:nvGrpSpPr>
                      <p:cNvPr id="20" name="Group 19"/>
                      <p:cNvGrpSpPr/>
                      <p:nvPr/>
                    </p:nvGrpSpPr>
                    <p:grpSpPr>
                      <a:xfrm>
                        <a:off x="184644" y="2284066"/>
                        <a:ext cx="1452815" cy="1452812"/>
                        <a:chOff x="924992" y="2114551"/>
                        <a:chExt cx="1232848" cy="1232846"/>
                      </a:xfrm>
                    </p:grpSpPr>
                    <p:sp>
                      <p:nvSpPr>
                        <p:cNvPr id="22" name="Oval 21"/>
                        <p:cNvSpPr/>
                        <p:nvPr/>
                      </p:nvSpPr>
                      <p:spPr>
                        <a:xfrm>
                          <a:off x="924992" y="2114551"/>
                          <a:ext cx="1232848" cy="1232846"/>
                        </a:xfrm>
                        <a:prstGeom prst="ellipse">
                          <a:avLst/>
                        </a:prstGeom>
                        <a:solidFill>
                          <a:sysClr val="window" lastClr="FFFFFF">
                            <a:lumMod val="95000"/>
                          </a:sysClr>
                        </a:solidFill>
                        <a:ln w="12700" cap="flat" cmpd="sng" algn="ctr">
                          <a:noFill/>
                          <a:prstDash val="solid"/>
                          <a:miter lim="800000"/>
                        </a:ln>
                        <a:effectLst>
                          <a:outerShdw blurRad="76200" dist="25400" dir="2700000" sx="101000" sy="101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3" name="Oval 22"/>
                        <p:cNvSpPr/>
                        <p:nvPr/>
                      </p:nvSpPr>
                      <p:spPr>
                        <a:xfrm>
                          <a:off x="1034527" y="2224087"/>
                          <a:ext cx="1013776" cy="1013774"/>
                        </a:xfrm>
                        <a:prstGeom prst="ellipse">
                          <a:avLst/>
                        </a:prstGeom>
                        <a:gradFill>
                          <a:gsLst>
                            <a:gs pos="0">
                              <a:srgbClr val="75CCEB"/>
                            </a:gs>
                            <a:gs pos="100000">
                              <a:srgbClr val="1FA9DD"/>
                            </a:gs>
                          </a:gsLst>
                          <a:path path="circle">
                            <a:fillToRect l="50000" t="50000" r="50000" b="50000"/>
                          </a:path>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21" name="Tåre 106"/>
                      <p:cNvSpPr/>
                      <p:nvPr/>
                    </p:nvSpPr>
                    <p:spPr bwMode="auto">
                      <a:xfrm>
                        <a:off x="384732" y="2428903"/>
                        <a:ext cx="1052639" cy="1039481"/>
                      </a:xfrm>
                      <a:prstGeom prst="ellipse">
                        <a:avLst/>
                      </a:prstGeom>
                      <a:gradFill flip="none" rotWithShape="1">
                        <a:gsLst>
                          <a:gs pos="45000">
                            <a:srgbClr val="FFFFFF">
                              <a:lumMod val="40000"/>
                              <a:lumOff val="60000"/>
                              <a:alpha val="0"/>
                            </a:srgbClr>
                          </a:gs>
                          <a:gs pos="100000">
                            <a:srgbClr val="FFFCF9">
                              <a:alpha val="75000"/>
                            </a:srgbClr>
                          </a:gs>
                        </a:gsLst>
                        <a:lin ang="16200000" scaled="1"/>
                        <a:tileRect/>
                      </a:gradFill>
                      <a:ln w="9525" cap="flat" cmpd="sng" algn="ctr">
                        <a:noFill/>
                        <a:prstDash val="soli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ctr" defTabSz="914400" rtl="0" eaLnBrk="1" fontAlgn="auto" latinLnBrk="0" hangingPunct="1">
                          <a:lnSpc>
                            <a:spcPct val="100000"/>
                          </a:lnSpc>
                          <a:spcBef>
                            <a:spcPts val="0"/>
                          </a:spcBef>
                          <a:spcAft>
                            <a:spcPts val="0"/>
                          </a:spcAft>
                          <a:buClrTx/>
                          <a:buSzTx/>
                          <a:buFont typeface="+mj-lt"/>
                          <a:buAutoNum type="arabicPeriod"/>
                          <a:tabLst/>
                          <a:defRPr/>
                        </a:pPr>
                        <a:endParaRPr kumimoji="0" lang="da-DK" sz="1800" b="0"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endParaRPr>
                      </a:p>
                    </p:txBody>
                  </p:sp>
                </p:grpSp>
                <p:sp>
                  <p:nvSpPr>
                    <p:cNvPr id="19" name="Freeform 18"/>
                    <p:cNvSpPr/>
                    <p:nvPr/>
                  </p:nvSpPr>
                  <p:spPr>
                    <a:xfrm>
                      <a:off x="1988608" y="1893027"/>
                      <a:ext cx="205330" cy="201302"/>
                    </a:xfrm>
                    <a:custGeom>
                      <a:avLst/>
                      <a:gdLst>
                        <a:gd name="connsiteX0" fmla="*/ 3991804 w 4867848"/>
                        <a:gd name="connsiteY0" fmla="*/ 1855150 h 4867848"/>
                        <a:gd name="connsiteX1" fmla="*/ 3300230 w 4867848"/>
                        <a:gd name="connsiteY1" fmla="*/ 2128830 h 4867848"/>
                        <a:gd name="connsiteX2" fmla="*/ 3317838 w 4867848"/>
                        <a:gd name="connsiteY2" fmla="*/ 2176079 h 4867848"/>
                        <a:gd name="connsiteX3" fmla="*/ 3359000 w 4867848"/>
                        <a:gd name="connsiteY3" fmla="*/ 2443449 h 4867848"/>
                        <a:gd name="connsiteX4" fmla="*/ 2715704 w 4867848"/>
                        <a:gd name="connsiteY4" fmla="*/ 3302146 h 4867848"/>
                        <a:gd name="connsiteX5" fmla="*/ 2663618 w 4867848"/>
                        <a:gd name="connsiteY5" fmla="*/ 3315299 h 4867848"/>
                        <a:gd name="connsiteX6" fmla="*/ 2663618 w 4867848"/>
                        <a:gd name="connsiteY6" fmla="*/ 4070708 h 4867848"/>
                        <a:gd name="connsiteX7" fmla="*/ 2777956 w 4867848"/>
                        <a:gd name="connsiteY7" fmla="*/ 4053431 h 4867848"/>
                        <a:gd name="connsiteX8" fmla="*/ 4103248 w 4867848"/>
                        <a:gd name="connsiteY8" fmla="*/ 2443449 h 4867848"/>
                        <a:gd name="connsiteX9" fmla="*/ 4028626 w 4867848"/>
                        <a:gd name="connsiteY9" fmla="*/ 1954761 h 4867848"/>
                        <a:gd name="connsiteX10" fmla="*/ 2663618 w 4867848"/>
                        <a:gd name="connsiteY10" fmla="*/ 814945 h 4867848"/>
                        <a:gd name="connsiteX11" fmla="*/ 2663618 w 4867848"/>
                        <a:gd name="connsiteY11" fmla="*/ 1571599 h 4867848"/>
                        <a:gd name="connsiteX12" fmla="*/ 2715704 w 4867848"/>
                        <a:gd name="connsiteY12" fmla="*/ 1584752 h 4867848"/>
                        <a:gd name="connsiteX13" fmla="*/ 3090840 w 4867848"/>
                        <a:gd name="connsiteY13" fmla="*/ 1807676 h 4867848"/>
                        <a:gd name="connsiteX14" fmla="*/ 3161446 w 4867848"/>
                        <a:gd name="connsiteY14" fmla="*/ 1891713 h 4867848"/>
                        <a:gd name="connsiteX15" fmla="*/ 3872390 w 4867848"/>
                        <a:gd name="connsiteY15" fmla="*/ 1610367 h 4867848"/>
                        <a:gd name="connsiteX16" fmla="*/ 3819780 w 4867848"/>
                        <a:gd name="connsiteY16" fmla="*/ 1524626 h 4867848"/>
                        <a:gd name="connsiteX17" fmla="*/ 2858258 w 4867848"/>
                        <a:gd name="connsiteY17" fmla="*/ 851818 h 4867848"/>
                        <a:gd name="connsiteX18" fmla="*/ 2439304 w 4867848"/>
                        <a:gd name="connsiteY18" fmla="*/ 800287 h 4867848"/>
                        <a:gd name="connsiteX19" fmla="*/ 2273742 w 4867848"/>
                        <a:gd name="connsiteY19" fmla="*/ 808565 h 4867848"/>
                        <a:gd name="connsiteX20" fmla="*/ 783644 w 4867848"/>
                        <a:gd name="connsiteY20" fmla="*/ 2443449 h 4867848"/>
                        <a:gd name="connsiteX21" fmla="*/ 2273742 w 4867848"/>
                        <a:gd name="connsiteY21" fmla="*/ 4078333 h 4867848"/>
                        <a:gd name="connsiteX22" fmla="*/ 2439304 w 4867848"/>
                        <a:gd name="connsiteY22" fmla="*/ 4086611 h 4867848"/>
                        <a:gd name="connsiteX23" fmla="*/ 2439304 w 4867848"/>
                        <a:gd name="connsiteY23" fmla="*/ 3342364 h 4867848"/>
                        <a:gd name="connsiteX24" fmla="*/ 2349838 w 4867848"/>
                        <a:gd name="connsiteY24" fmla="*/ 3337927 h 4867848"/>
                        <a:gd name="connsiteX25" fmla="*/ 1527894 w 4867848"/>
                        <a:gd name="connsiteY25" fmla="*/ 2443449 h 4867848"/>
                        <a:gd name="connsiteX26" fmla="*/ 2349838 w 4867848"/>
                        <a:gd name="connsiteY26" fmla="*/ 1548971 h 4867848"/>
                        <a:gd name="connsiteX27" fmla="*/ 2439304 w 4867848"/>
                        <a:gd name="connsiteY27" fmla="*/ 1544535 h 4867848"/>
                        <a:gd name="connsiteX28" fmla="*/ 2433924 w 4867848"/>
                        <a:gd name="connsiteY28" fmla="*/ 0 h 4867848"/>
                        <a:gd name="connsiteX29" fmla="*/ 4867848 w 4867848"/>
                        <a:gd name="connsiteY29" fmla="*/ 2433924 h 4867848"/>
                        <a:gd name="connsiteX30" fmla="*/ 2433924 w 4867848"/>
                        <a:gd name="connsiteY30" fmla="*/ 4867848 h 4867848"/>
                        <a:gd name="connsiteX31" fmla="*/ 0 w 4867848"/>
                        <a:gd name="connsiteY31" fmla="*/ 2433924 h 4867848"/>
                        <a:gd name="connsiteX32" fmla="*/ 2433924 w 4867848"/>
                        <a:gd name="connsiteY32" fmla="*/ 0 h 486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67848" h="4867848">
                          <a:moveTo>
                            <a:pt x="3991804" y="1855150"/>
                          </a:moveTo>
                          <a:lnTo>
                            <a:pt x="3300230" y="2128830"/>
                          </a:lnTo>
                          <a:lnTo>
                            <a:pt x="3317838" y="2176079"/>
                          </a:lnTo>
                          <a:cubicBezTo>
                            <a:pt x="3344590" y="2260541"/>
                            <a:pt x="3359000" y="2350342"/>
                            <a:pt x="3359000" y="2443449"/>
                          </a:cubicBezTo>
                          <a:cubicBezTo>
                            <a:pt x="3359000" y="2846912"/>
                            <a:pt x="3088396" y="3188307"/>
                            <a:pt x="2715704" y="3302146"/>
                          </a:cubicBezTo>
                          <a:lnTo>
                            <a:pt x="2663618" y="3315299"/>
                          </a:lnTo>
                          <a:lnTo>
                            <a:pt x="2663618" y="4070708"/>
                          </a:lnTo>
                          <a:lnTo>
                            <a:pt x="2777956" y="4053431"/>
                          </a:lnTo>
                          <a:cubicBezTo>
                            <a:pt x="3534298" y="3900193"/>
                            <a:pt x="4103248" y="3237606"/>
                            <a:pt x="4103248" y="2443449"/>
                          </a:cubicBezTo>
                          <a:cubicBezTo>
                            <a:pt x="4103248" y="2273273"/>
                            <a:pt x="4077122" y="2109138"/>
                            <a:pt x="4028626" y="1954761"/>
                          </a:cubicBezTo>
                          <a:close/>
                          <a:moveTo>
                            <a:pt x="2663618" y="814945"/>
                          </a:moveTo>
                          <a:lnTo>
                            <a:pt x="2663618" y="1571599"/>
                          </a:lnTo>
                          <a:lnTo>
                            <a:pt x="2715704" y="1584752"/>
                          </a:lnTo>
                          <a:cubicBezTo>
                            <a:pt x="2859048" y="1628536"/>
                            <a:pt x="2987288" y="1705983"/>
                            <a:pt x="3090840" y="1807676"/>
                          </a:cubicBezTo>
                          <a:lnTo>
                            <a:pt x="3161446" y="1891713"/>
                          </a:lnTo>
                          <a:lnTo>
                            <a:pt x="3872390" y="1610367"/>
                          </a:lnTo>
                          <a:lnTo>
                            <a:pt x="3819780" y="1524626"/>
                          </a:lnTo>
                          <a:cubicBezTo>
                            <a:pt x="3596072" y="1196772"/>
                            <a:pt x="3256010" y="953142"/>
                            <a:pt x="2858258" y="851818"/>
                          </a:cubicBezTo>
                          <a:close/>
                          <a:moveTo>
                            <a:pt x="2439304" y="800287"/>
                          </a:moveTo>
                          <a:lnTo>
                            <a:pt x="2273742" y="808565"/>
                          </a:lnTo>
                          <a:cubicBezTo>
                            <a:pt x="1436776" y="892722"/>
                            <a:pt x="783644" y="1592567"/>
                            <a:pt x="783644" y="2443449"/>
                          </a:cubicBezTo>
                          <a:cubicBezTo>
                            <a:pt x="783644" y="3294331"/>
                            <a:pt x="1436776" y="3994177"/>
                            <a:pt x="2273742" y="4078333"/>
                          </a:cubicBezTo>
                          <a:lnTo>
                            <a:pt x="2439304" y="4086611"/>
                          </a:lnTo>
                          <a:lnTo>
                            <a:pt x="2439304" y="3342364"/>
                          </a:lnTo>
                          <a:lnTo>
                            <a:pt x="2349838" y="3337927"/>
                          </a:lnTo>
                          <a:cubicBezTo>
                            <a:pt x="1888162" y="3291883"/>
                            <a:pt x="1527894" y="2908983"/>
                            <a:pt x="1527894" y="2443449"/>
                          </a:cubicBezTo>
                          <a:cubicBezTo>
                            <a:pt x="1527894" y="1977915"/>
                            <a:pt x="1888162" y="1595015"/>
                            <a:pt x="2349838" y="1548971"/>
                          </a:cubicBezTo>
                          <a:lnTo>
                            <a:pt x="2439304" y="1544535"/>
                          </a:lnTo>
                          <a:close/>
                          <a:moveTo>
                            <a:pt x="2433924" y="0"/>
                          </a:moveTo>
                          <a:cubicBezTo>
                            <a:pt x="3778142" y="0"/>
                            <a:pt x="4867848" y="1089705"/>
                            <a:pt x="4867848" y="2433924"/>
                          </a:cubicBezTo>
                          <a:cubicBezTo>
                            <a:pt x="4867848" y="3778143"/>
                            <a:pt x="3778142" y="4867848"/>
                            <a:pt x="2433924" y="4867848"/>
                          </a:cubicBezTo>
                          <a:cubicBezTo>
                            <a:pt x="1089704" y="4867848"/>
                            <a:pt x="0" y="3778143"/>
                            <a:pt x="0" y="2433924"/>
                          </a:cubicBezTo>
                          <a:cubicBezTo>
                            <a:pt x="0" y="1089705"/>
                            <a:pt x="1089704" y="0"/>
                            <a:pt x="2433924" y="0"/>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grpSp>
          </p:grpSp>
        </p:grpSp>
      </p:grpSp>
      <p:sp>
        <p:nvSpPr>
          <p:cNvPr id="4" name="Rectangle 3"/>
          <p:cNvSpPr/>
          <p:nvPr/>
        </p:nvSpPr>
        <p:spPr>
          <a:xfrm>
            <a:off x="1736510" y="4970980"/>
            <a:ext cx="10802060" cy="451406"/>
          </a:xfrm>
          <a:prstGeom prst="rect">
            <a:avLst/>
          </a:prstGeom>
        </p:spPr>
        <p:txBody>
          <a:bodyPr wrap="square">
            <a:spAutoFit/>
          </a:bodyPr>
          <a:lstStyle/>
          <a:p>
            <a:pPr algn="ctr" defTabSz="914400">
              <a:lnSpc>
                <a:spcPct val="150000"/>
              </a:lnSpc>
              <a:spcBef>
                <a:spcPct val="0"/>
              </a:spcBef>
              <a:defRPr/>
            </a:pPr>
            <a:r>
              <a:rPr lang="en-US" dirty="0">
                <a:solidFill>
                  <a:srgbClr val="000000"/>
                </a:solidFill>
                <a:ea typeface="Tahoma" pitchFamily="34" charset="0"/>
                <a:cs typeface="Tahoma" pitchFamily="34" charset="0"/>
              </a:rPr>
              <a:t>All documents submitted must be </a:t>
            </a:r>
            <a:r>
              <a:rPr lang="en-US" b="1" dirty="0">
                <a:solidFill>
                  <a:srgbClr val="000000"/>
                </a:solidFill>
                <a:ea typeface="Tahoma" pitchFamily="34" charset="0"/>
                <a:cs typeface="Tahoma" pitchFamily="34" charset="0"/>
              </a:rPr>
              <a:t>cross referenced </a:t>
            </a:r>
            <a:r>
              <a:rPr lang="en-US" dirty="0">
                <a:solidFill>
                  <a:srgbClr val="000000"/>
                </a:solidFill>
                <a:ea typeface="Tahoma" pitchFamily="34" charset="0"/>
                <a:cs typeface="Tahoma" pitchFamily="34" charset="0"/>
              </a:rPr>
              <a:t>to the relevant section of the RFP</a:t>
            </a:r>
          </a:p>
        </p:txBody>
      </p:sp>
    </p:spTree>
    <p:extLst>
      <p:ext uri="{BB962C8B-B14F-4D97-AF65-F5344CB8AC3E}">
        <p14:creationId xmlns:p14="http://schemas.microsoft.com/office/powerpoint/2010/main" val="20668576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618755" y="249933"/>
            <a:ext cx="10457775" cy="720105"/>
          </a:xfrm>
        </p:spPr>
        <p:txBody>
          <a:bodyPr/>
          <a:lstStyle/>
          <a:p>
            <a:r>
              <a:rPr lang="en-ZA" altLang="en-US" dirty="0"/>
              <a:t>Tender process (cont.)</a:t>
            </a:r>
          </a:p>
        </p:txBody>
      </p:sp>
      <p:grpSp>
        <p:nvGrpSpPr>
          <p:cNvPr id="6" name="Group 5"/>
          <p:cNvGrpSpPr/>
          <p:nvPr/>
        </p:nvGrpSpPr>
        <p:grpSpPr>
          <a:xfrm>
            <a:off x="458274" y="2090338"/>
            <a:ext cx="3243542" cy="4287302"/>
            <a:chOff x="1195981" y="1862169"/>
            <a:chExt cx="3243542" cy="4287302"/>
          </a:xfrm>
        </p:grpSpPr>
        <p:grpSp>
          <p:nvGrpSpPr>
            <p:cNvPr id="7" name="Group 6"/>
            <p:cNvGrpSpPr/>
            <p:nvPr/>
          </p:nvGrpSpPr>
          <p:grpSpPr>
            <a:xfrm>
              <a:off x="1195981" y="4177999"/>
              <a:ext cx="3040630" cy="1971472"/>
              <a:chOff x="832976" y="3955245"/>
              <a:chExt cx="2928772" cy="1898946"/>
            </a:xfrm>
          </p:grpSpPr>
          <p:grpSp>
            <p:nvGrpSpPr>
              <p:cNvPr id="36" name="Group 35"/>
              <p:cNvGrpSpPr/>
              <p:nvPr/>
            </p:nvGrpSpPr>
            <p:grpSpPr>
              <a:xfrm>
                <a:off x="832976" y="3955245"/>
                <a:ext cx="1118478" cy="1508141"/>
                <a:chOff x="832976" y="4260045"/>
                <a:chExt cx="1118478" cy="1508141"/>
              </a:xfrm>
            </p:grpSpPr>
            <p:sp>
              <p:nvSpPr>
                <p:cNvPr id="47" name="Oval 46"/>
                <p:cNvSpPr/>
                <p:nvPr/>
              </p:nvSpPr>
              <p:spPr>
                <a:xfrm>
                  <a:off x="832976" y="5590803"/>
                  <a:ext cx="784876" cy="177383"/>
                </a:xfrm>
                <a:prstGeom prst="ellipse">
                  <a:avLst/>
                </a:prstGeom>
                <a:gradFill flip="none" rotWithShape="1">
                  <a:gsLst>
                    <a:gs pos="0">
                      <a:schemeClr val="bg1">
                        <a:lumMod val="5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grpSp>
              <p:nvGrpSpPr>
                <p:cNvPr id="48" name="Group 47"/>
                <p:cNvGrpSpPr/>
                <p:nvPr/>
              </p:nvGrpSpPr>
              <p:grpSpPr>
                <a:xfrm>
                  <a:off x="1160791" y="4260045"/>
                  <a:ext cx="790663" cy="1417156"/>
                  <a:chOff x="5129102" y="4275528"/>
                  <a:chExt cx="896650" cy="1607125"/>
                </a:xfrm>
              </p:grpSpPr>
              <p:sp>
                <p:nvSpPr>
                  <p:cNvPr id="49" name="Freeform 48"/>
                  <p:cNvSpPr/>
                  <p:nvPr/>
                </p:nvSpPr>
                <p:spPr>
                  <a:xfrm>
                    <a:off x="5129102" y="5611091"/>
                    <a:ext cx="268586" cy="271562"/>
                  </a:xfrm>
                  <a:custGeom>
                    <a:avLst/>
                    <a:gdLst>
                      <a:gd name="connsiteX0" fmla="*/ 129893 w 268586"/>
                      <a:gd name="connsiteY0" fmla="*/ 0 h 271562"/>
                      <a:gd name="connsiteX1" fmla="*/ 268586 w 268586"/>
                      <a:gd name="connsiteY1" fmla="*/ 0 h 271562"/>
                      <a:gd name="connsiteX2" fmla="*/ 140882 w 268586"/>
                      <a:gd name="connsiteY2" fmla="*/ 271560 h 271562"/>
                      <a:gd name="connsiteX3" fmla="*/ 0 w 268586"/>
                      <a:gd name="connsiteY3" fmla="*/ 271562 h 271562"/>
                      <a:gd name="connsiteX4" fmla="*/ 129893 w 268586"/>
                      <a:gd name="connsiteY4" fmla="*/ 0 h 271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586" h="271562">
                        <a:moveTo>
                          <a:pt x="129893" y="0"/>
                        </a:moveTo>
                        <a:lnTo>
                          <a:pt x="268586" y="0"/>
                        </a:lnTo>
                        <a:lnTo>
                          <a:pt x="140882" y="271560"/>
                        </a:lnTo>
                        <a:lnTo>
                          <a:pt x="0" y="271562"/>
                        </a:lnTo>
                        <a:lnTo>
                          <a:pt x="129893" y="0"/>
                        </a:lnTo>
                        <a:close/>
                      </a:path>
                    </a:pathLst>
                  </a:cu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50" name="Freeform 49"/>
                  <p:cNvSpPr/>
                  <p:nvPr/>
                </p:nvSpPr>
                <p:spPr>
                  <a:xfrm>
                    <a:off x="5258995" y="4275528"/>
                    <a:ext cx="766757" cy="1335563"/>
                  </a:xfrm>
                  <a:custGeom>
                    <a:avLst/>
                    <a:gdLst>
                      <a:gd name="connsiteX0" fmla="*/ 766757 w 766757"/>
                      <a:gd name="connsiteY0" fmla="*/ 0 h 1335563"/>
                      <a:gd name="connsiteX1" fmla="*/ 138693 w 766757"/>
                      <a:gd name="connsiteY1" fmla="*/ 1335563 h 1335563"/>
                      <a:gd name="connsiteX2" fmla="*/ 0 w 766757"/>
                      <a:gd name="connsiteY2" fmla="*/ 1335563 h 1335563"/>
                      <a:gd name="connsiteX3" fmla="*/ 637044 w 766757"/>
                      <a:gd name="connsiteY3" fmla="*/ 3723 h 1335563"/>
                      <a:gd name="connsiteX4" fmla="*/ 766757 w 766757"/>
                      <a:gd name="connsiteY4" fmla="*/ 0 h 1335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757" h="1335563">
                        <a:moveTo>
                          <a:pt x="766757" y="0"/>
                        </a:moveTo>
                        <a:lnTo>
                          <a:pt x="138693" y="1335563"/>
                        </a:lnTo>
                        <a:lnTo>
                          <a:pt x="0" y="1335563"/>
                        </a:lnTo>
                        <a:lnTo>
                          <a:pt x="637044" y="3723"/>
                        </a:lnTo>
                        <a:lnTo>
                          <a:pt x="766757" y="0"/>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grpSp>
          </p:grpSp>
          <p:grpSp>
            <p:nvGrpSpPr>
              <p:cNvPr id="37" name="Group 36"/>
              <p:cNvGrpSpPr/>
              <p:nvPr/>
            </p:nvGrpSpPr>
            <p:grpSpPr>
              <a:xfrm>
                <a:off x="1919143" y="4058192"/>
                <a:ext cx="784876" cy="1795999"/>
                <a:chOff x="1919143" y="4058192"/>
                <a:chExt cx="784876" cy="1795999"/>
              </a:xfrm>
            </p:grpSpPr>
            <p:sp>
              <p:nvSpPr>
                <p:cNvPr id="43" name="Oval 42"/>
                <p:cNvSpPr/>
                <p:nvPr/>
              </p:nvSpPr>
              <p:spPr>
                <a:xfrm>
                  <a:off x="1919143" y="5676808"/>
                  <a:ext cx="784876" cy="177383"/>
                </a:xfrm>
                <a:prstGeom prst="ellipse">
                  <a:avLst/>
                </a:prstGeom>
                <a:gradFill flip="none" rotWithShape="1">
                  <a:gsLst>
                    <a:gs pos="0">
                      <a:schemeClr val="bg1">
                        <a:lumMod val="5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grpSp>
              <p:nvGrpSpPr>
                <p:cNvPr id="44" name="Group 43"/>
                <p:cNvGrpSpPr/>
                <p:nvPr/>
              </p:nvGrpSpPr>
              <p:grpSpPr>
                <a:xfrm>
                  <a:off x="2261230" y="4058192"/>
                  <a:ext cx="100702" cy="1706970"/>
                  <a:chOff x="2261230" y="4018787"/>
                  <a:chExt cx="100702" cy="1365375"/>
                </a:xfrm>
              </p:grpSpPr>
              <p:sp>
                <p:nvSpPr>
                  <p:cNvPr id="45" name="Freeform 44"/>
                  <p:cNvSpPr/>
                  <p:nvPr/>
                </p:nvSpPr>
                <p:spPr>
                  <a:xfrm>
                    <a:off x="2261230" y="5139824"/>
                    <a:ext cx="100702" cy="244338"/>
                  </a:xfrm>
                  <a:custGeom>
                    <a:avLst/>
                    <a:gdLst>
                      <a:gd name="connsiteX0" fmla="*/ 0 w 114201"/>
                      <a:gd name="connsiteY0" fmla="*/ 0 h 277091"/>
                      <a:gd name="connsiteX1" fmla="*/ 114201 w 114201"/>
                      <a:gd name="connsiteY1" fmla="*/ 0 h 277091"/>
                      <a:gd name="connsiteX2" fmla="*/ 114201 w 114201"/>
                      <a:gd name="connsiteY2" fmla="*/ 277091 h 277091"/>
                      <a:gd name="connsiteX3" fmla="*/ 0 w 114201"/>
                      <a:gd name="connsiteY3" fmla="*/ 277091 h 277091"/>
                      <a:gd name="connsiteX4" fmla="*/ 0 w 114201"/>
                      <a:gd name="connsiteY4" fmla="*/ 0 h 277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01" h="277091">
                        <a:moveTo>
                          <a:pt x="0" y="0"/>
                        </a:moveTo>
                        <a:lnTo>
                          <a:pt x="114201" y="0"/>
                        </a:lnTo>
                        <a:lnTo>
                          <a:pt x="114201" y="277091"/>
                        </a:lnTo>
                        <a:lnTo>
                          <a:pt x="0" y="277091"/>
                        </a:lnTo>
                        <a:lnTo>
                          <a:pt x="0" y="0"/>
                        </a:lnTo>
                        <a:close/>
                      </a:path>
                    </a:pathLst>
                  </a:cu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46" name="Freeform 45"/>
                  <p:cNvSpPr/>
                  <p:nvPr/>
                </p:nvSpPr>
                <p:spPr>
                  <a:xfrm>
                    <a:off x="2261230" y="4018787"/>
                    <a:ext cx="100702" cy="1121036"/>
                  </a:xfrm>
                  <a:custGeom>
                    <a:avLst/>
                    <a:gdLst>
                      <a:gd name="connsiteX0" fmla="*/ 0 w 114201"/>
                      <a:gd name="connsiteY0" fmla="*/ 0 h 1000358"/>
                      <a:gd name="connsiteX1" fmla="*/ 114201 w 114201"/>
                      <a:gd name="connsiteY1" fmla="*/ 0 h 1000358"/>
                      <a:gd name="connsiteX2" fmla="*/ 114201 w 114201"/>
                      <a:gd name="connsiteY2" fmla="*/ 1000358 h 1000358"/>
                      <a:gd name="connsiteX3" fmla="*/ 0 w 114201"/>
                      <a:gd name="connsiteY3" fmla="*/ 1000358 h 1000358"/>
                      <a:gd name="connsiteX4" fmla="*/ 0 w 114201"/>
                      <a:gd name="connsiteY4" fmla="*/ 0 h 1000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01" h="1000358">
                        <a:moveTo>
                          <a:pt x="0" y="0"/>
                        </a:moveTo>
                        <a:lnTo>
                          <a:pt x="114201" y="0"/>
                        </a:lnTo>
                        <a:lnTo>
                          <a:pt x="114201" y="1000358"/>
                        </a:lnTo>
                        <a:lnTo>
                          <a:pt x="0" y="1000358"/>
                        </a:lnTo>
                        <a:lnTo>
                          <a:pt x="0" y="0"/>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grpSp>
          </p:grpSp>
          <p:grpSp>
            <p:nvGrpSpPr>
              <p:cNvPr id="38" name="Group 37"/>
              <p:cNvGrpSpPr/>
              <p:nvPr/>
            </p:nvGrpSpPr>
            <p:grpSpPr>
              <a:xfrm>
                <a:off x="2640747" y="3955247"/>
                <a:ext cx="1121001" cy="1500519"/>
                <a:chOff x="2640747" y="4260047"/>
                <a:chExt cx="1121001" cy="1500519"/>
              </a:xfrm>
            </p:grpSpPr>
            <p:sp>
              <p:nvSpPr>
                <p:cNvPr id="39" name="Oval 38"/>
                <p:cNvSpPr/>
                <p:nvPr/>
              </p:nvSpPr>
              <p:spPr>
                <a:xfrm>
                  <a:off x="2976872" y="5583183"/>
                  <a:ext cx="784876" cy="177383"/>
                </a:xfrm>
                <a:prstGeom prst="ellipse">
                  <a:avLst/>
                </a:prstGeom>
                <a:gradFill flip="none" rotWithShape="1">
                  <a:gsLst>
                    <a:gs pos="0">
                      <a:schemeClr val="bg1">
                        <a:lumMod val="5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grpSp>
              <p:nvGrpSpPr>
                <p:cNvPr id="40" name="Group 39"/>
                <p:cNvGrpSpPr/>
                <p:nvPr/>
              </p:nvGrpSpPr>
              <p:grpSpPr>
                <a:xfrm>
                  <a:off x="2640747" y="4260047"/>
                  <a:ext cx="789123" cy="1413935"/>
                  <a:chOff x="7009072" y="4275529"/>
                  <a:chExt cx="894903" cy="1603472"/>
                </a:xfrm>
              </p:grpSpPr>
              <p:sp>
                <p:nvSpPr>
                  <p:cNvPr id="41" name="Freeform 40"/>
                  <p:cNvSpPr/>
                  <p:nvPr/>
                </p:nvSpPr>
                <p:spPr>
                  <a:xfrm>
                    <a:off x="7632818" y="5601910"/>
                    <a:ext cx="271157" cy="277091"/>
                  </a:xfrm>
                  <a:custGeom>
                    <a:avLst/>
                    <a:gdLst>
                      <a:gd name="connsiteX0" fmla="*/ 0 w 271157"/>
                      <a:gd name="connsiteY0" fmla="*/ 0 h 277091"/>
                      <a:gd name="connsiteX1" fmla="*/ 138619 w 271157"/>
                      <a:gd name="connsiteY1" fmla="*/ 0 h 277091"/>
                      <a:gd name="connsiteX2" fmla="*/ 271157 w 271157"/>
                      <a:gd name="connsiteY2" fmla="*/ 277091 h 277091"/>
                      <a:gd name="connsiteX3" fmla="*/ 130305 w 271157"/>
                      <a:gd name="connsiteY3" fmla="*/ 277091 h 277091"/>
                      <a:gd name="connsiteX4" fmla="*/ 0 w 271157"/>
                      <a:gd name="connsiteY4" fmla="*/ 0 h 277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157" h="277091">
                        <a:moveTo>
                          <a:pt x="0" y="0"/>
                        </a:moveTo>
                        <a:lnTo>
                          <a:pt x="138619" y="0"/>
                        </a:lnTo>
                        <a:lnTo>
                          <a:pt x="271157" y="277091"/>
                        </a:lnTo>
                        <a:lnTo>
                          <a:pt x="130305" y="277091"/>
                        </a:lnTo>
                        <a:lnTo>
                          <a:pt x="0" y="0"/>
                        </a:lnTo>
                        <a:close/>
                      </a:path>
                    </a:pathLst>
                  </a:cu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42" name="Freeform 41"/>
                  <p:cNvSpPr/>
                  <p:nvPr/>
                </p:nvSpPr>
                <p:spPr>
                  <a:xfrm>
                    <a:off x="7009072" y="4275529"/>
                    <a:ext cx="762365" cy="1326381"/>
                  </a:xfrm>
                  <a:custGeom>
                    <a:avLst/>
                    <a:gdLst>
                      <a:gd name="connsiteX0" fmla="*/ 0 w 762365"/>
                      <a:gd name="connsiteY0" fmla="*/ 0 h 1326381"/>
                      <a:gd name="connsiteX1" fmla="*/ 129714 w 762365"/>
                      <a:gd name="connsiteY1" fmla="*/ 3723 h 1326381"/>
                      <a:gd name="connsiteX2" fmla="*/ 762365 w 762365"/>
                      <a:gd name="connsiteY2" fmla="*/ 1326381 h 1326381"/>
                      <a:gd name="connsiteX3" fmla="*/ 623746 w 762365"/>
                      <a:gd name="connsiteY3" fmla="*/ 1326381 h 1326381"/>
                      <a:gd name="connsiteX4" fmla="*/ 0 w 762365"/>
                      <a:gd name="connsiteY4" fmla="*/ 0 h 1326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65" h="1326381">
                        <a:moveTo>
                          <a:pt x="0" y="0"/>
                        </a:moveTo>
                        <a:lnTo>
                          <a:pt x="129714" y="3723"/>
                        </a:lnTo>
                        <a:lnTo>
                          <a:pt x="762365" y="1326381"/>
                        </a:lnTo>
                        <a:lnTo>
                          <a:pt x="623746" y="1326381"/>
                        </a:lnTo>
                        <a:lnTo>
                          <a:pt x="0" y="0"/>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grpSp>
          </p:grpSp>
        </p:grpSp>
        <p:grpSp>
          <p:nvGrpSpPr>
            <p:cNvPr id="8" name="Group 7"/>
            <p:cNvGrpSpPr/>
            <p:nvPr/>
          </p:nvGrpSpPr>
          <p:grpSpPr>
            <a:xfrm>
              <a:off x="1695713" y="1862169"/>
              <a:ext cx="2743810" cy="2764520"/>
              <a:chOff x="1695713" y="1862169"/>
              <a:chExt cx="2743810" cy="2764520"/>
            </a:xfrm>
          </p:grpSpPr>
          <p:grpSp>
            <p:nvGrpSpPr>
              <p:cNvPr id="9" name="Group 8"/>
              <p:cNvGrpSpPr/>
              <p:nvPr/>
            </p:nvGrpSpPr>
            <p:grpSpPr>
              <a:xfrm flipH="1">
                <a:off x="1695713" y="2037550"/>
                <a:ext cx="1861004" cy="2421695"/>
                <a:chOff x="4501779" y="1708049"/>
                <a:chExt cx="2864594" cy="3727648"/>
              </a:xfrm>
            </p:grpSpPr>
            <p:sp>
              <p:nvSpPr>
                <p:cNvPr id="29" name="Oval 28"/>
                <p:cNvSpPr/>
                <p:nvPr/>
              </p:nvSpPr>
              <p:spPr>
                <a:xfrm rot="599196">
                  <a:off x="4501779" y="1708049"/>
                  <a:ext cx="2864594" cy="372764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30" name="Oval 29"/>
                <p:cNvSpPr/>
                <p:nvPr/>
              </p:nvSpPr>
              <p:spPr>
                <a:xfrm rot="599196">
                  <a:off x="4611444" y="1924757"/>
                  <a:ext cx="2508104" cy="326375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31" name="Oval 30"/>
                <p:cNvSpPr/>
                <p:nvPr/>
              </p:nvSpPr>
              <p:spPr>
                <a:xfrm rot="599196">
                  <a:off x="4784232" y="2179348"/>
                  <a:ext cx="2116810" cy="2754570"/>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32" name="Oval 31"/>
                <p:cNvSpPr/>
                <p:nvPr/>
              </p:nvSpPr>
              <p:spPr>
                <a:xfrm rot="599196">
                  <a:off x="4931630" y="2420735"/>
                  <a:ext cx="1745810" cy="227179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33" name="Oval 32"/>
                <p:cNvSpPr/>
                <p:nvPr/>
              </p:nvSpPr>
              <p:spPr>
                <a:xfrm rot="599196">
                  <a:off x="5082567" y="2658676"/>
                  <a:ext cx="1391819" cy="1811154"/>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34" name="Oval 33"/>
                <p:cNvSpPr/>
                <p:nvPr/>
              </p:nvSpPr>
              <p:spPr>
                <a:xfrm rot="599196">
                  <a:off x="5244721" y="2901726"/>
                  <a:ext cx="1006552" cy="130981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35" name="Oval 34"/>
                <p:cNvSpPr/>
                <p:nvPr/>
              </p:nvSpPr>
              <p:spPr>
                <a:xfrm rot="599196">
                  <a:off x="5498051" y="3241295"/>
                  <a:ext cx="484655" cy="630672"/>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grpSp>
          <p:grpSp>
            <p:nvGrpSpPr>
              <p:cNvPr id="10" name="Group 9"/>
              <p:cNvGrpSpPr/>
              <p:nvPr/>
            </p:nvGrpSpPr>
            <p:grpSpPr>
              <a:xfrm>
                <a:off x="2726335" y="1862169"/>
                <a:ext cx="1713188" cy="2764520"/>
                <a:chOff x="2231110" y="1971351"/>
                <a:chExt cx="1650164" cy="2662820"/>
              </a:xfrm>
            </p:grpSpPr>
            <p:grpSp>
              <p:nvGrpSpPr>
                <p:cNvPr id="11" name="Group 10"/>
                <p:cNvGrpSpPr/>
                <p:nvPr/>
              </p:nvGrpSpPr>
              <p:grpSpPr>
                <a:xfrm rot="2700069">
                  <a:off x="2538071" y="2681991"/>
                  <a:ext cx="1486352" cy="1200054"/>
                  <a:chOff x="4127117" y="1234712"/>
                  <a:chExt cx="1440194" cy="1162787"/>
                </a:xfrm>
              </p:grpSpPr>
              <p:sp>
                <p:nvSpPr>
                  <p:cNvPr id="24" name="Down Arrow 21"/>
                  <p:cNvSpPr/>
                  <p:nvPr/>
                </p:nvSpPr>
                <p:spPr>
                  <a:xfrm rot="2700000">
                    <a:off x="4298993" y="2199298"/>
                    <a:ext cx="26325" cy="370077"/>
                  </a:xfrm>
                  <a:custGeom>
                    <a:avLst/>
                    <a:gdLst>
                      <a:gd name="connsiteX0" fmla="*/ 0 w 56342"/>
                      <a:gd name="connsiteY0" fmla="*/ 389938 h 418109"/>
                      <a:gd name="connsiteX1" fmla="*/ 14086 w 56342"/>
                      <a:gd name="connsiteY1" fmla="*/ 389938 h 418109"/>
                      <a:gd name="connsiteX2" fmla="*/ 14086 w 56342"/>
                      <a:gd name="connsiteY2" fmla="*/ 0 h 418109"/>
                      <a:gd name="connsiteX3" fmla="*/ 42257 w 56342"/>
                      <a:gd name="connsiteY3" fmla="*/ 0 h 418109"/>
                      <a:gd name="connsiteX4" fmla="*/ 42257 w 56342"/>
                      <a:gd name="connsiteY4" fmla="*/ 389938 h 418109"/>
                      <a:gd name="connsiteX5" fmla="*/ 56342 w 56342"/>
                      <a:gd name="connsiteY5" fmla="*/ 389938 h 418109"/>
                      <a:gd name="connsiteX6" fmla="*/ 28171 w 56342"/>
                      <a:gd name="connsiteY6" fmla="*/ 418109 h 418109"/>
                      <a:gd name="connsiteX7" fmla="*/ 0 w 56342"/>
                      <a:gd name="connsiteY7" fmla="*/ 389938 h 418109"/>
                      <a:gd name="connsiteX0" fmla="*/ 0 w 56342"/>
                      <a:gd name="connsiteY0" fmla="*/ 389938 h 466696"/>
                      <a:gd name="connsiteX1" fmla="*/ 14086 w 56342"/>
                      <a:gd name="connsiteY1" fmla="*/ 389938 h 466696"/>
                      <a:gd name="connsiteX2" fmla="*/ 14086 w 56342"/>
                      <a:gd name="connsiteY2" fmla="*/ 0 h 466696"/>
                      <a:gd name="connsiteX3" fmla="*/ 42257 w 56342"/>
                      <a:gd name="connsiteY3" fmla="*/ 0 h 466696"/>
                      <a:gd name="connsiteX4" fmla="*/ 42257 w 56342"/>
                      <a:gd name="connsiteY4" fmla="*/ 389938 h 466696"/>
                      <a:gd name="connsiteX5" fmla="*/ 56342 w 56342"/>
                      <a:gd name="connsiteY5" fmla="*/ 389938 h 466696"/>
                      <a:gd name="connsiteX6" fmla="*/ 31908 w 56342"/>
                      <a:gd name="connsiteY6" fmla="*/ 466696 h 466696"/>
                      <a:gd name="connsiteX7" fmla="*/ 0 w 56342"/>
                      <a:gd name="connsiteY7" fmla="*/ 389938 h 466696"/>
                      <a:gd name="connsiteX0" fmla="*/ 0 w 56342"/>
                      <a:gd name="connsiteY0" fmla="*/ 389938 h 468564"/>
                      <a:gd name="connsiteX1" fmla="*/ 14086 w 56342"/>
                      <a:gd name="connsiteY1" fmla="*/ 389938 h 468564"/>
                      <a:gd name="connsiteX2" fmla="*/ 14086 w 56342"/>
                      <a:gd name="connsiteY2" fmla="*/ 0 h 468564"/>
                      <a:gd name="connsiteX3" fmla="*/ 42257 w 56342"/>
                      <a:gd name="connsiteY3" fmla="*/ 0 h 468564"/>
                      <a:gd name="connsiteX4" fmla="*/ 42257 w 56342"/>
                      <a:gd name="connsiteY4" fmla="*/ 389938 h 468564"/>
                      <a:gd name="connsiteX5" fmla="*/ 56342 w 56342"/>
                      <a:gd name="connsiteY5" fmla="*/ 389938 h 468564"/>
                      <a:gd name="connsiteX6" fmla="*/ 30040 w 56342"/>
                      <a:gd name="connsiteY6" fmla="*/ 468564 h 468564"/>
                      <a:gd name="connsiteX7" fmla="*/ 0 w 56342"/>
                      <a:gd name="connsiteY7" fmla="*/ 389938 h 468564"/>
                      <a:gd name="connsiteX0" fmla="*/ 0 w 56342"/>
                      <a:gd name="connsiteY0" fmla="*/ 389938 h 468564"/>
                      <a:gd name="connsiteX1" fmla="*/ 14086 w 56342"/>
                      <a:gd name="connsiteY1" fmla="*/ 389938 h 468564"/>
                      <a:gd name="connsiteX2" fmla="*/ 14086 w 56342"/>
                      <a:gd name="connsiteY2" fmla="*/ 0 h 468564"/>
                      <a:gd name="connsiteX3" fmla="*/ 42257 w 56342"/>
                      <a:gd name="connsiteY3" fmla="*/ 0 h 468564"/>
                      <a:gd name="connsiteX4" fmla="*/ 42257 w 56342"/>
                      <a:gd name="connsiteY4" fmla="*/ 389938 h 468564"/>
                      <a:gd name="connsiteX5" fmla="*/ 56342 w 56342"/>
                      <a:gd name="connsiteY5" fmla="*/ 389938 h 468564"/>
                      <a:gd name="connsiteX6" fmla="*/ 30040 w 56342"/>
                      <a:gd name="connsiteY6" fmla="*/ 468564 h 468564"/>
                      <a:gd name="connsiteX7" fmla="*/ 0 w 56342"/>
                      <a:gd name="connsiteY7" fmla="*/ 389938 h 468564"/>
                      <a:gd name="connsiteX0" fmla="*/ 15954 w 42256"/>
                      <a:gd name="connsiteY0" fmla="*/ 468564 h 468564"/>
                      <a:gd name="connsiteX1" fmla="*/ 0 w 42256"/>
                      <a:gd name="connsiteY1" fmla="*/ 389938 h 468564"/>
                      <a:gd name="connsiteX2" fmla="*/ 0 w 42256"/>
                      <a:gd name="connsiteY2" fmla="*/ 0 h 468564"/>
                      <a:gd name="connsiteX3" fmla="*/ 28171 w 42256"/>
                      <a:gd name="connsiteY3" fmla="*/ 0 h 468564"/>
                      <a:gd name="connsiteX4" fmla="*/ 28171 w 42256"/>
                      <a:gd name="connsiteY4" fmla="*/ 389938 h 468564"/>
                      <a:gd name="connsiteX5" fmla="*/ 42256 w 42256"/>
                      <a:gd name="connsiteY5" fmla="*/ 389938 h 468564"/>
                      <a:gd name="connsiteX6" fmla="*/ 15954 w 42256"/>
                      <a:gd name="connsiteY6" fmla="*/ 468564 h 468564"/>
                      <a:gd name="connsiteX0" fmla="*/ 15954 w 42256"/>
                      <a:gd name="connsiteY0" fmla="*/ 468564 h 468564"/>
                      <a:gd name="connsiteX1" fmla="*/ 0 w 42256"/>
                      <a:gd name="connsiteY1" fmla="*/ 389938 h 468564"/>
                      <a:gd name="connsiteX2" fmla="*/ 0 w 42256"/>
                      <a:gd name="connsiteY2" fmla="*/ 0 h 468564"/>
                      <a:gd name="connsiteX3" fmla="*/ 28171 w 42256"/>
                      <a:gd name="connsiteY3" fmla="*/ 0 h 468564"/>
                      <a:gd name="connsiteX4" fmla="*/ 42256 w 42256"/>
                      <a:gd name="connsiteY4" fmla="*/ 389938 h 468564"/>
                      <a:gd name="connsiteX5" fmla="*/ 15954 w 42256"/>
                      <a:gd name="connsiteY5" fmla="*/ 468564 h 468564"/>
                      <a:gd name="connsiteX0" fmla="*/ 15954 w 38519"/>
                      <a:gd name="connsiteY0" fmla="*/ 468564 h 468564"/>
                      <a:gd name="connsiteX1" fmla="*/ 0 w 38519"/>
                      <a:gd name="connsiteY1" fmla="*/ 389938 h 468564"/>
                      <a:gd name="connsiteX2" fmla="*/ 0 w 38519"/>
                      <a:gd name="connsiteY2" fmla="*/ 0 h 468564"/>
                      <a:gd name="connsiteX3" fmla="*/ 28171 w 38519"/>
                      <a:gd name="connsiteY3" fmla="*/ 0 h 468564"/>
                      <a:gd name="connsiteX4" fmla="*/ 38519 w 38519"/>
                      <a:gd name="connsiteY4" fmla="*/ 389938 h 468564"/>
                      <a:gd name="connsiteX5" fmla="*/ 15954 w 38519"/>
                      <a:gd name="connsiteY5" fmla="*/ 468564 h 468564"/>
                      <a:gd name="connsiteX0" fmla="*/ 15954 w 38519"/>
                      <a:gd name="connsiteY0" fmla="*/ 468564 h 468564"/>
                      <a:gd name="connsiteX1" fmla="*/ 0 w 38519"/>
                      <a:gd name="connsiteY1" fmla="*/ 389938 h 468564"/>
                      <a:gd name="connsiteX2" fmla="*/ 0 w 38519"/>
                      <a:gd name="connsiteY2" fmla="*/ 0 h 468564"/>
                      <a:gd name="connsiteX3" fmla="*/ 28171 w 38519"/>
                      <a:gd name="connsiteY3" fmla="*/ 0 h 468564"/>
                      <a:gd name="connsiteX4" fmla="*/ 38519 w 38519"/>
                      <a:gd name="connsiteY4" fmla="*/ 389938 h 468564"/>
                      <a:gd name="connsiteX5" fmla="*/ 15954 w 38519"/>
                      <a:gd name="connsiteY5" fmla="*/ 468564 h 468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19" h="468564">
                        <a:moveTo>
                          <a:pt x="15954" y="468564"/>
                        </a:moveTo>
                        <a:lnTo>
                          <a:pt x="0" y="389938"/>
                        </a:lnTo>
                        <a:lnTo>
                          <a:pt x="0" y="0"/>
                        </a:lnTo>
                        <a:lnTo>
                          <a:pt x="28171" y="0"/>
                        </a:lnTo>
                        <a:lnTo>
                          <a:pt x="38519" y="389938"/>
                        </a:lnTo>
                        <a:lnTo>
                          <a:pt x="15954" y="468564"/>
                        </a:lnTo>
                        <a:close/>
                      </a:path>
                    </a:pathLst>
                  </a:custGeom>
                  <a:solidFill>
                    <a:srgbClr val="769B9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25" name="Rectangle 24"/>
                  <p:cNvSpPr/>
                  <p:nvPr/>
                </p:nvSpPr>
                <p:spPr>
                  <a:xfrm rot="2700000" flipH="1">
                    <a:off x="5165691" y="1169687"/>
                    <a:ext cx="37496" cy="659454"/>
                  </a:xfrm>
                  <a:prstGeom prst="rect">
                    <a:avLst/>
                  </a:prstGeom>
                  <a:solidFill>
                    <a:srgbClr val="769B9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26" name="Rectangle 5"/>
                  <p:cNvSpPr/>
                  <p:nvPr/>
                </p:nvSpPr>
                <p:spPr>
                  <a:xfrm rot="13594864">
                    <a:off x="4924704" y="1050813"/>
                    <a:ext cx="279235" cy="647034"/>
                  </a:xfrm>
                  <a:custGeom>
                    <a:avLst/>
                    <a:gdLst>
                      <a:gd name="connsiteX0" fmla="*/ 0 w 836394"/>
                      <a:gd name="connsiteY0" fmla="*/ 0 h 1061744"/>
                      <a:gd name="connsiteX1" fmla="*/ 836394 w 836394"/>
                      <a:gd name="connsiteY1" fmla="*/ 0 h 1061744"/>
                      <a:gd name="connsiteX2" fmla="*/ 836394 w 836394"/>
                      <a:gd name="connsiteY2" fmla="*/ 1061744 h 1061744"/>
                      <a:gd name="connsiteX3" fmla="*/ 0 w 836394"/>
                      <a:gd name="connsiteY3" fmla="*/ 1061744 h 1061744"/>
                      <a:gd name="connsiteX4" fmla="*/ 0 w 836394"/>
                      <a:gd name="connsiteY4" fmla="*/ 0 h 1061744"/>
                      <a:gd name="connsiteX0" fmla="*/ 0 w 839645"/>
                      <a:gd name="connsiteY0" fmla="*/ 104317 h 1061744"/>
                      <a:gd name="connsiteX1" fmla="*/ 839645 w 839645"/>
                      <a:gd name="connsiteY1" fmla="*/ 0 h 1061744"/>
                      <a:gd name="connsiteX2" fmla="*/ 839645 w 839645"/>
                      <a:gd name="connsiteY2" fmla="*/ 1061744 h 1061744"/>
                      <a:gd name="connsiteX3" fmla="*/ 3251 w 839645"/>
                      <a:gd name="connsiteY3" fmla="*/ 1061744 h 1061744"/>
                      <a:gd name="connsiteX4" fmla="*/ 0 w 839645"/>
                      <a:gd name="connsiteY4" fmla="*/ 104317 h 1061744"/>
                      <a:gd name="connsiteX0" fmla="*/ 0 w 839645"/>
                      <a:gd name="connsiteY0" fmla="*/ 104317 h 1061744"/>
                      <a:gd name="connsiteX1" fmla="*/ 839645 w 839645"/>
                      <a:gd name="connsiteY1" fmla="*/ 0 h 1061744"/>
                      <a:gd name="connsiteX2" fmla="*/ 839645 w 839645"/>
                      <a:gd name="connsiteY2" fmla="*/ 1061744 h 1061744"/>
                      <a:gd name="connsiteX3" fmla="*/ 26911 w 839645"/>
                      <a:gd name="connsiteY3" fmla="*/ 1030436 h 1061744"/>
                      <a:gd name="connsiteX4" fmla="*/ 0 w 839645"/>
                      <a:gd name="connsiteY4" fmla="*/ 104317 h 1061744"/>
                      <a:gd name="connsiteX0" fmla="*/ 0 w 839645"/>
                      <a:gd name="connsiteY0" fmla="*/ 104317 h 1030436"/>
                      <a:gd name="connsiteX1" fmla="*/ 839645 w 839645"/>
                      <a:gd name="connsiteY1" fmla="*/ 0 h 1030436"/>
                      <a:gd name="connsiteX2" fmla="*/ 401394 w 839645"/>
                      <a:gd name="connsiteY2" fmla="*/ 843926 h 1030436"/>
                      <a:gd name="connsiteX3" fmla="*/ 26911 w 839645"/>
                      <a:gd name="connsiteY3" fmla="*/ 1030436 h 1030436"/>
                      <a:gd name="connsiteX4" fmla="*/ 0 w 839645"/>
                      <a:gd name="connsiteY4" fmla="*/ 104317 h 1030436"/>
                      <a:gd name="connsiteX0" fmla="*/ 0 w 401394"/>
                      <a:gd name="connsiteY0" fmla="*/ 0 h 926119"/>
                      <a:gd name="connsiteX1" fmla="*/ 401394 w 401394"/>
                      <a:gd name="connsiteY1" fmla="*/ 739609 h 926119"/>
                      <a:gd name="connsiteX2" fmla="*/ 26911 w 401394"/>
                      <a:gd name="connsiteY2" fmla="*/ 926119 h 926119"/>
                      <a:gd name="connsiteX3" fmla="*/ 0 w 401394"/>
                      <a:gd name="connsiteY3" fmla="*/ 0 h 926119"/>
                      <a:gd name="connsiteX0" fmla="*/ 0 w 408471"/>
                      <a:gd name="connsiteY0" fmla="*/ 0 h 926119"/>
                      <a:gd name="connsiteX1" fmla="*/ 408471 w 408471"/>
                      <a:gd name="connsiteY1" fmla="*/ 662776 h 926119"/>
                      <a:gd name="connsiteX2" fmla="*/ 26911 w 408471"/>
                      <a:gd name="connsiteY2" fmla="*/ 926119 h 926119"/>
                      <a:gd name="connsiteX3" fmla="*/ 0 w 408471"/>
                      <a:gd name="connsiteY3" fmla="*/ 0 h 926119"/>
                      <a:gd name="connsiteX0" fmla="*/ 0 w 408472"/>
                      <a:gd name="connsiteY0" fmla="*/ 0 h 926119"/>
                      <a:gd name="connsiteX1" fmla="*/ 408471 w 408472"/>
                      <a:gd name="connsiteY1" fmla="*/ 662776 h 926119"/>
                      <a:gd name="connsiteX2" fmla="*/ 26911 w 408472"/>
                      <a:gd name="connsiteY2" fmla="*/ 926119 h 926119"/>
                      <a:gd name="connsiteX3" fmla="*/ 0 w 408472"/>
                      <a:gd name="connsiteY3" fmla="*/ 0 h 926119"/>
                      <a:gd name="connsiteX0" fmla="*/ 0 w 408473"/>
                      <a:gd name="connsiteY0" fmla="*/ 0 h 992310"/>
                      <a:gd name="connsiteX1" fmla="*/ 408471 w 408473"/>
                      <a:gd name="connsiteY1" fmla="*/ 662776 h 992310"/>
                      <a:gd name="connsiteX2" fmla="*/ 26911 w 408473"/>
                      <a:gd name="connsiteY2" fmla="*/ 926119 h 992310"/>
                      <a:gd name="connsiteX3" fmla="*/ 0 w 408473"/>
                      <a:gd name="connsiteY3" fmla="*/ 0 h 992310"/>
                      <a:gd name="connsiteX0" fmla="*/ 0 w 415887"/>
                      <a:gd name="connsiteY0" fmla="*/ 0 h 989458"/>
                      <a:gd name="connsiteX1" fmla="*/ 408471 w 415887"/>
                      <a:gd name="connsiteY1" fmla="*/ 662776 h 989458"/>
                      <a:gd name="connsiteX2" fmla="*/ 26911 w 415887"/>
                      <a:gd name="connsiteY2" fmla="*/ 926119 h 989458"/>
                      <a:gd name="connsiteX3" fmla="*/ 0 w 415887"/>
                      <a:gd name="connsiteY3" fmla="*/ 0 h 989458"/>
                      <a:gd name="connsiteX0" fmla="*/ 0 w 415887"/>
                      <a:gd name="connsiteY0" fmla="*/ 0 h 989458"/>
                      <a:gd name="connsiteX1" fmla="*/ 408471 w 415887"/>
                      <a:gd name="connsiteY1" fmla="*/ 662776 h 989458"/>
                      <a:gd name="connsiteX2" fmla="*/ 26911 w 415887"/>
                      <a:gd name="connsiteY2" fmla="*/ 926119 h 989458"/>
                      <a:gd name="connsiteX3" fmla="*/ 0 w 415887"/>
                      <a:gd name="connsiteY3" fmla="*/ 0 h 989458"/>
                      <a:gd name="connsiteX0" fmla="*/ 0 w 415887"/>
                      <a:gd name="connsiteY0" fmla="*/ 0 h 989458"/>
                      <a:gd name="connsiteX1" fmla="*/ 408471 w 415887"/>
                      <a:gd name="connsiteY1" fmla="*/ 662776 h 989458"/>
                      <a:gd name="connsiteX2" fmla="*/ 26911 w 415887"/>
                      <a:gd name="connsiteY2" fmla="*/ 926119 h 989458"/>
                      <a:gd name="connsiteX3" fmla="*/ 0 w 415887"/>
                      <a:gd name="connsiteY3" fmla="*/ 0 h 989458"/>
                      <a:gd name="connsiteX0" fmla="*/ 0 w 408577"/>
                      <a:gd name="connsiteY0" fmla="*/ 0 h 946742"/>
                      <a:gd name="connsiteX1" fmla="*/ 401161 w 408577"/>
                      <a:gd name="connsiteY1" fmla="*/ 620060 h 946742"/>
                      <a:gd name="connsiteX2" fmla="*/ 19601 w 408577"/>
                      <a:gd name="connsiteY2" fmla="*/ 883403 h 946742"/>
                      <a:gd name="connsiteX3" fmla="*/ 0 w 408577"/>
                      <a:gd name="connsiteY3" fmla="*/ 0 h 946742"/>
                    </a:gdLst>
                    <a:ahLst/>
                    <a:cxnLst>
                      <a:cxn ang="0">
                        <a:pos x="connsiteX0" y="connsiteY0"/>
                      </a:cxn>
                      <a:cxn ang="0">
                        <a:pos x="connsiteX1" y="connsiteY1"/>
                      </a:cxn>
                      <a:cxn ang="0">
                        <a:pos x="connsiteX2" y="connsiteY2"/>
                      </a:cxn>
                      <a:cxn ang="0">
                        <a:pos x="connsiteX3" y="connsiteY3"/>
                      </a:cxn>
                    </a:cxnLst>
                    <a:rect l="l" t="t" r="r" b="b"/>
                    <a:pathLst>
                      <a:path w="408577" h="946742">
                        <a:moveTo>
                          <a:pt x="0" y="0"/>
                        </a:moveTo>
                        <a:cubicBezTo>
                          <a:pt x="168246" y="161795"/>
                          <a:pt x="383369" y="356014"/>
                          <a:pt x="401161" y="620060"/>
                        </a:cubicBezTo>
                        <a:cubicBezTo>
                          <a:pt x="453563" y="883751"/>
                          <a:pt x="217963" y="1041965"/>
                          <a:pt x="19601" y="883403"/>
                        </a:cubicBezTo>
                        <a:cubicBezTo>
                          <a:pt x="18517" y="564261"/>
                          <a:pt x="1084" y="319142"/>
                          <a:pt x="0" y="0"/>
                        </a:cubicBezTo>
                        <a:close/>
                      </a:path>
                    </a:pathLst>
                  </a:custGeom>
                  <a:solidFill>
                    <a:srgbClr val="769B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27" name="Rectangle 12"/>
                  <p:cNvSpPr/>
                  <p:nvPr/>
                </p:nvSpPr>
                <p:spPr>
                  <a:xfrm rot="2721202">
                    <a:off x="4613914" y="1645770"/>
                    <a:ext cx="116700" cy="749855"/>
                  </a:xfrm>
                  <a:custGeom>
                    <a:avLst/>
                    <a:gdLst>
                      <a:gd name="connsiteX0" fmla="*/ 0 w 340727"/>
                      <a:gd name="connsiteY0" fmla="*/ 0 h 417217"/>
                      <a:gd name="connsiteX1" fmla="*/ 340727 w 340727"/>
                      <a:gd name="connsiteY1" fmla="*/ 0 h 417217"/>
                      <a:gd name="connsiteX2" fmla="*/ 340727 w 340727"/>
                      <a:gd name="connsiteY2" fmla="*/ 417217 h 417217"/>
                      <a:gd name="connsiteX3" fmla="*/ 0 w 340727"/>
                      <a:gd name="connsiteY3" fmla="*/ 417217 h 417217"/>
                      <a:gd name="connsiteX4" fmla="*/ 0 w 340727"/>
                      <a:gd name="connsiteY4" fmla="*/ 0 h 417217"/>
                      <a:gd name="connsiteX0" fmla="*/ 0 w 340727"/>
                      <a:gd name="connsiteY0" fmla="*/ 0 h 417217"/>
                      <a:gd name="connsiteX1" fmla="*/ 217806 w 340727"/>
                      <a:gd name="connsiteY1" fmla="*/ 758 h 417217"/>
                      <a:gd name="connsiteX2" fmla="*/ 340727 w 340727"/>
                      <a:gd name="connsiteY2" fmla="*/ 417217 h 417217"/>
                      <a:gd name="connsiteX3" fmla="*/ 0 w 340727"/>
                      <a:gd name="connsiteY3" fmla="*/ 417217 h 417217"/>
                      <a:gd name="connsiteX4" fmla="*/ 0 w 340727"/>
                      <a:gd name="connsiteY4" fmla="*/ 0 h 417217"/>
                      <a:gd name="connsiteX0" fmla="*/ 117975 w 340727"/>
                      <a:gd name="connsiteY0" fmla="*/ 0 h 422862"/>
                      <a:gd name="connsiteX1" fmla="*/ 217806 w 340727"/>
                      <a:gd name="connsiteY1" fmla="*/ 6403 h 422862"/>
                      <a:gd name="connsiteX2" fmla="*/ 340727 w 340727"/>
                      <a:gd name="connsiteY2" fmla="*/ 422862 h 422862"/>
                      <a:gd name="connsiteX3" fmla="*/ 0 w 340727"/>
                      <a:gd name="connsiteY3" fmla="*/ 422862 h 422862"/>
                      <a:gd name="connsiteX4" fmla="*/ 117975 w 340727"/>
                      <a:gd name="connsiteY4" fmla="*/ 0 h 422862"/>
                      <a:gd name="connsiteX0" fmla="*/ 18624 w 241376"/>
                      <a:gd name="connsiteY0" fmla="*/ 0 h 985250"/>
                      <a:gd name="connsiteX1" fmla="*/ 118455 w 241376"/>
                      <a:gd name="connsiteY1" fmla="*/ 6403 h 985250"/>
                      <a:gd name="connsiteX2" fmla="*/ 241376 w 241376"/>
                      <a:gd name="connsiteY2" fmla="*/ 422862 h 985250"/>
                      <a:gd name="connsiteX3" fmla="*/ 0 w 241376"/>
                      <a:gd name="connsiteY3" fmla="*/ 985250 h 985250"/>
                      <a:gd name="connsiteX4" fmla="*/ 18624 w 241376"/>
                      <a:gd name="connsiteY4" fmla="*/ 0 h 985250"/>
                      <a:gd name="connsiteX0" fmla="*/ 18624 w 158834"/>
                      <a:gd name="connsiteY0" fmla="*/ 0 h 991289"/>
                      <a:gd name="connsiteX1" fmla="*/ 118455 w 158834"/>
                      <a:gd name="connsiteY1" fmla="*/ 6403 h 991289"/>
                      <a:gd name="connsiteX2" fmla="*/ 158834 w 158834"/>
                      <a:gd name="connsiteY2" fmla="*/ 991289 h 991289"/>
                      <a:gd name="connsiteX3" fmla="*/ 0 w 158834"/>
                      <a:gd name="connsiteY3" fmla="*/ 985250 h 991289"/>
                      <a:gd name="connsiteX4" fmla="*/ 18624 w 158834"/>
                      <a:gd name="connsiteY4" fmla="*/ 0 h 991289"/>
                      <a:gd name="connsiteX0" fmla="*/ 23682 w 163892"/>
                      <a:gd name="connsiteY0" fmla="*/ 0 h 997255"/>
                      <a:gd name="connsiteX1" fmla="*/ 123513 w 163892"/>
                      <a:gd name="connsiteY1" fmla="*/ 6403 h 997255"/>
                      <a:gd name="connsiteX2" fmla="*/ 163892 w 163892"/>
                      <a:gd name="connsiteY2" fmla="*/ 991289 h 997255"/>
                      <a:gd name="connsiteX3" fmla="*/ 0 w 163892"/>
                      <a:gd name="connsiteY3" fmla="*/ 997255 h 997255"/>
                      <a:gd name="connsiteX4" fmla="*/ 23682 w 163892"/>
                      <a:gd name="connsiteY4" fmla="*/ 0 h 997255"/>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70755"/>
                      <a:gd name="connsiteY0" fmla="*/ 0 h 1097252"/>
                      <a:gd name="connsiteX1" fmla="*/ 123513 w 170755"/>
                      <a:gd name="connsiteY1" fmla="*/ 6403 h 1097252"/>
                      <a:gd name="connsiteX2" fmla="*/ 170755 w 170755"/>
                      <a:gd name="connsiteY2" fmla="*/ 994667 h 1097252"/>
                      <a:gd name="connsiteX3" fmla="*/ 76234 w 170755"/>
                      <a:gd name="connsiteY3" fmla="*/ 1097252 h 1097252"/>
                      <a:gd name="connsiteX4" fmla="*/ 0 w 170755"/>
                      <a:gd name="connsiteY4" fmla="*/ 997255 h 1097252"/>
                      <a:gd name="connsiteX5" fmla="*/ 23682 w 170755"/>
                      <a:gd name="connsiteY5" fmla="*/ 0 h 1097252"/>
                      <a:gd name="connsiteX0" fmla="*/ 23682 w 170755"/>
                      <a:gd name="connsiteY0" fmla="*/ 0 h 1097252"/>
                      <a:gd name="connsiteX1" fmla="*/ 123513 w 170755"/>
                      <a:gd name="connsiteY1" fmla="*/ 6403 h 1097252"/>
                      <a:gd name="connsiteX2" fmla="*/ 170755 w 170755"/>
                      <a:gd name="connsiteY2" fmla="*/ 994667 h 1097252"/>
                      <a:gd name="connsiteX3" fmla="*/ 76234 w 170755"/>
                      <a:gd name="connsiteY3" fmla="*/ 1097252 h 1097252"/>
                      <a:gd name="connsiteX4" fmla="*/ 0 w 170755"/>
                      <a:gd name="connsiteY4" fmla="*/ 997255 h 1097252"/>
                      <a:gd name="connsiteX5" fmla="*/ 23682 w 170755"/>
                      <a:gd name="connsiteY5" fmla="*/ 0 h 1097252"/>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755" h="1097189">
                        <a:moveTo>
                          <a:pt x="23682" y="0"/>
                        </a:moveTo>
                        <a:lnTo>
                          <a:pt x="123513" y="6403"/>
                        </a:lnTo>
                        <a:lnTo>
                          <a:pt x="170755" y="994667"/>
                        </a:lnTo>
                        <a:cubicBezTo>
                          <a:pt x="136134" y="1035737"/>
                          <a:pt x="119266" y="1054040"/>
                          <a:pt x="86496" y="1097189"/>
                        </a:cubicBezTo>
                        <a:lnTo>
                          <a:pt x="0" y="997255"/>
                        </a:lnTo>
                        <a:lnTo>
                          <a:pt x="23682" y="0"/>
                        </a:lnTo>
                        <a:close/>
                      </a:path>
                    </a:pathLst>
                  </a:custGeom>
                  <a:solidFill>
                    <a:srgbClr val="769B9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28" name="Rectangle 4"/>
                  <p:cNvSpPr/>
                  <p:nvPr/>
                </p:nvSpPr>
                <p:spPr>
                  <a:xfrm>
                    <a:off x="4982019" y="1322582"/>
                    <a:ext cx="585292" cy="441500"/>
                  </a:xfrm>
                  <a:custGeom>
                    <a:avLst/>
                    <a:gdLst>
                      <a:gd name="connsiteX0" fmla="*/ 0 w 1087746"/>
                      <a:gd name="connsiteY0" fmla="*/ 0 h 966404"/>
                      <a:gd name="connsiteX1" fmla="*/ 1087746 w 1087746"/>
                      <a:gd name="connsiteY1" fmla="*/ 0 h 966404"/>
                      <a:gd name="connsiteX2" fmla="*/ 1087746 w 1087746"/>
                      <a:gd name="connsiteY2" fmla="*/ 966404 h 966404"/>
                      <a:gd name="connsiteX3" fmla="*/ 0 w 1087746"/>
                      <a:gd name="connsiteY3" fmla="*/ 966404 h 966404"/>
                      <a:gd name="connsiteX4" fmla="*/ 0 w 1087746"/>
                      <a:gd name="connsiteY4" fmla="*/ 0 h 966404"/>
                      <a:gd name="connsiteX0" fmla="*/ 0 w 1087746"/>
                      <a:gd name="connsiteY0" fmla="*/ 0 h 966404"/>
                      <a:gd name="connsiteX1" fmla="*/ 1087746 w 1087746"/>
                      <a:gd name="connsiteY1" fmla="*/ 0 h 966404"/>
                      <a:gd name="connsiteX2" fmla="*/ 1087746 w 1087746"/>
                      <a:gd name="connsiteY2" fmla="*/ 966404 h 966404"/>
                      <a:gd name="connsiteX3" fmla="*/ 169012 w 1087746"/>
                      <a:gd name="connsiteY3" fmla="*/ 944736 h 966404"/>
                      <a:gd name="connsiteX4" fmla="*/ 0 w 1087746"/>
                      <a:gd name="connsiteY4" fmla="*/ 0 h 966404"/>
                      <a:gd name="connsiteX0" fmla="*/ 0 w 1087746"/>
                      <a:gd name="connsiteY0" fmla="*/ 0 h 944736"/>
                      <a:gd name="connsiteX1" fmla="*/ 1087746 w 1087746"/>
                      <a:gd name="connsiteY1" fmla="*/ 0 h 944736"/>
                      <a:gd name="connsiteX2" fmla="*/ 858062 w 1087746"/>
                      <a:gd name="connsiteY2" fmla="*/ 806059 h 944736"/>
                      <a:gd name="connsiteX3" fmla="*/ 169012 w 1087746"/>
                      <a:gd name="connsiteY3" fmla="*/ 944736 h 944736"/>
                      <a:gd name="connsiteX4" fmla="*/ 0 w 1087746"/>
                      <a:gd name="connsiteY4" fmla="*/ 0 h 944736"/>
                      <a:gd name="connsiteX0" fmla="*/ 0 w 858062"/>
                      <a:gd name="connsiteY0" fmla="*/ 0 h 944736"/>
                      <a:gd name="connsiteX1" fmla="*/ 810393 w 858062"/>
                      <a:gd name="connsiteY1" fmla="*/ 338025 h 944736"/>
                      <a:gd name="connsiteX2" fmla="*/ 858062 w 858062"/>
                      <a:gd name="connsiteY2" fmla="*/ 806059 h 944736"/>
                      <a:gd name="connsiteX3" fmla="*/ 169012 w 858062"/>
                      <a:gd name="connsiteY3" fmla="*/ 944736 h 944736"/>
                      <a:gd name="connsiteX4" fmla="*/ 0 w 858062"/>
                      <a:gd name="connsiteY4" fmla="*/ 0 h 944736"/>
                      <a:gd name="connsiteX0" fmla="*/ 0 w 689050"/>
                      <a:gd name="connsiteY0" fmla="*/ 606711 h 606711"/>
                      <a:gd name="connsiteX1" fmla="*/ 641381 w 689050"/>
                      <a:gd name="connsiteY1" fmla="*/ 0 h 606711"/>
                      <a:gd name="connsiteX2" fmla="*/ 689050 w 689050"/>
                      <a:gd name="connsiteY2" fmla="*/ 468034 h 606711"/>
                      <a:gd name="connsiteX3" fmla="*/ 0 w 689050"/>
                      <a:gd name="connsiteY3" fmla="*/ 606711 h 606711"/>
                      <a:gd name="connsiteX0" fmla="*/ 0 w 689050"/>
                      <a:gd name="connsiteY0" fmla="*/ 619712 h 619712"/>
                      <a:gd name="connsiteX1" fmla="*/ 606712 w 689050"/>
                      <a:gd name="connsiteY1" fmla="*/ 0 h 619712"/>
                      <a:gd name="connsiteX2" fmla="*/ 689050 w 689050"/>
                      <a:gd name="connsiteY2" fmla="*/ 481035 h 619712"/>
                      <a:gd name="connsiteX3" fmla="*/ 0 w 689050"/>
                      <a:gd name="connsiteY3" fmla="*/ 619712 h 619712"/>
                      <a:gd name="connsiteX0" fmla="*/ 0 w 783026"/>
                      <a:gd name="connsiteY0" fmla="*/ 619712 h 619712"/>
                      <a:gd name="connsiteX1" fmla="*/ 606712 w 783026"/>
                      <a:gd name="connsiteY1" fmla="*/ 0 h 619712"/>
                      <a:gd name="connsiteX2" fmla="*/ 689050 w 783026"/>
                      <a:gd name="connsiteY2" fmla="*/ 481035 h 619712"/>
                      <a:gd name="connsiteX3" fmla="*/ 0 w 783026"/>
                      <a:gd name="connsiteY3" fmla="*/ 619712 h 619712"/>
                      <a:gd name="connsiteX0" fmla="*/ 0 w 847208"/>
                      <a:gd name="connsiteY0" fmla="*/ 619712 h 619712"/>
                      <a:gd name="connsiteX1" fmla="*/ 606712 w 847208"/>
                      <a:gd name="connsiteY1" fmla="*/ 0 h 619712"/>
                      <a:gd name="connsiteX2" fmla="*/ 689050 w 847208"/>
                      <a:gd name="connsiteY2" fmla="*/ 481035 h 619712"/>
                      <a:gd name="connsiteX3" fmla="*/ 0 w 847208"/>
                      <a:gd name="connsiteY3" fmla="*/ 619712 h 619712"/>
                      <a:gd name="connsiteX0" fmla="*/ 0 w 858417"/>
                      <a:gd name="connsiteY0" fmla="*/ 645714 h 645714"/>
                      <a:gd name="connsiteX1" fmla="*/ 632713 w 858417"/>
                      <a:gd name="connsiteY1" fmla="*/ 0 h 645714"/>
                      <a:gd name="connsiteX2" fmla="*/ 689050 w 858417"/>
                      <a:gd name="connsiteY2" fmla="*/ 507037 h 645714"/>
                      <a:gd name="connsiteX3" fmla="*/ 0 w 858417"/>
                      <a:gd name="connsiteY3" fmla="*/ 645714 h 645714"/>
                      <a:gd name="connsiteX0" fmla="*/ 0 w 843784"/>
                      <a:gd name="connsiteY0" fmla="*/ 645714 h 645714"/>
                      <a:gd name="connsiteX1" fmla="*/ 632713 w 843784"/>
                      <a:gd name="connsiteY1" fmla="*/ 0 h 645714"/>
                      <a:gd name="connsiteX2" fmla="*/ 689050 w 843784"/>
                      <a:gd name="connsiteY2" fmla="*/ 507037 h 645714"/>
                      <a:gd name="connsiteX3" fmla="*/ 0 w 843784"/>
                      <a:gd name="connsiteY3" fmla="*/ 645714 h 645714"/>
                      <a:gd name="connsiteX0" fmla="*/ 0 w 856401"/>
                      <a:gd name="connsiteY0" fmla="*/ 645714 h 645714"/>
                      <a:gd name="connsiteX1" fmla="*/ 632713 w 856401"/>
                      <a:gd name="connsiteY1" fmla="*/ 0 h 645714"/>
                      <a:gd name="connsiteX2" fmla="*/ 689050 w 856401"/>
                      <a:gd name="connsiteY2" fmla="*/ 507037 h 645714"/>
                      <a:gd name="connsiteX3" fmla="*/ 0 w 856401"/>
                      <a:gd name="connsiteY3" fmla="*/ 645714 h 645714"/>
                      <a:gd name="connsiteX0" fmla="*/ 0 w 856401"/>
                      <a:gd name="connsiteY0" fmla="*/ 645714 h 645714"/>
                      <a:gd name="connsiteX1" fmla="*/ 632713 w 856401"/>
                      <a:gd name="connsiteY1" fmla="*/ 0 h 645714"/>
                      <a:gd name="connsiteX2" fmla="*/ 689050 w 856401"/>
                      <a:gd name="connsiteY2" fmla="*/ 507037 h 645714"/>
                      <a:gd name="connsiteX3" fmla="*/ 0 w 856401"/>
                      <a:gd name="connsiteY3" fmla="*/ 645714 h 645714"/>
                      <a:gd name="connsiteX0" fmla="*/ 0 w 856401"/>
                      <a:gd name="connsiteY0" fmla="*/ 645714 h 646004"/>
                      <a:gd name="connsiteX1" fmla="*/ 632713 w 856401"/>
                      <a:gd name="connsiteY1" fmla="*/ 0 h 646004"/>
                      <a:gd name="connsiteX2" fmla="*/ 689050 w 856401"/>
                      <a:gd name="connsiteY2" fmla="*/ 507037 h 646004"/>
                      <a:gd name="connsiteX3" fmla="*/ 0 w 856401"/>
                      <a:gd name="connsiteY3" fmla="*/ 645714 h 646004"/>
                    </a:gdLst>
                    <a:ahLst/>
                    <a:cxnLst>
                      <a:cxn ang="0">
                        <a:pos x="connsiteX0" y="connsiteY0"/>
                      </a:cxn>
                      <a:cxn ang="0">
                        <a:pos x="connsiteX1" y="connsiteY1"/>
                      </a:cxn>
                      <a:cxn ang="0">
                        <a:pos x="connsiteX2" y="connsiteY2"/>
                      </a:cxn>
                      <a:cxn ang="0">
                        <a:pos x="connsiteX3" y="connsiteY3"/>
                      </a:cxn>
                    </a:cxnLst>
                    <a:rect l="l" t="t" r="r" b="b"/>
                    <a:pathLst>
                      <a:path w="856401" h="646004">
                        <a:moveTo>
                          <a:pt x="0" y="645714"/>
                        </a:moveTo>
                        <a:lnTo>
                          <a:pt x="632713" y="0"/>
                        </a:lnTo>
                        <a:cubicBezTo>
                          <a:pt x="872509" y="65004"/>
                          <a:pt x="960626" y="303355"/>
                          <a:pt x="689050" y="507037"/>
                        </a:cubicBezTo>
                        <a:cubicBezTo>
                          <a:pt x="476701" y="648604"/>
                          <a:pt x="221016" y="647158"/>
                          <a:pt x="0" y="645714"/>
                        </a:cubicBezTo>
                        <a:close/>
                      </a:path>
                    </a:pathLst>
                  </a:custGeom>
                  <a:solidFill>
                    <a:srgbClr val="769B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grpSp>
            <p:grpSp>
              <p:nvGrpSpPr>
                <p:cNvPr id="12" name="Group 11"/>
                <p:cNvGrpSpPr/>
                <p:nvPr/>
              </p:nvGrpSpPr>
              <p:grpSpPr>
                <a:xfrm>
                  <a:off x="2231110" y="1971351"/>
                  <a:ext cx="1486352" cy="1200054"/>
                  <a:chOff x="4127117" y="1234712"/>
                  <a:chExt cx="1440194" cy="1162787"/>
                </a:xfrm>
              </p:grpSpPr>
              <p:sp>
                <p:nvSpPr>
                  <p:cNvPr id="19" name="Down Arrow 21"/>
                  <p:cNvSpPr/>
                  <p:nvPr/>
                </p:nvSpPr>
                <p:spPr>
                  <a:xfrm rot="2700000">
                    <a:off x="4298993" y="2199298"/>
                    <a:ext cx="26325" cy="370077"/>
                  </a:xfrm>
                  <a:custGeom>
                    <a:avLst/>
                    <a:gdLst>
                      <a:gd name="connsiteX0" fmla="*/ 0 w 56342"/>
                      <a:gd name="connsiteY0" fmla="*/ 389938 h 418109"/>
                      <a:gd name="connsiteX1" fmla="*/ 14086 w 56342"/>
                      <a:gd name="connsiteY1" fmla="*/ 389938 h 418109"/>
                      <a:gd name="connsiteX2" fmla="*/ 14086 w 56342"/>
                      <a:gd name="connsiteY2" fmla="*/ 0 h 418109"/>
                      <a:gd name="connsiteX3" fmla="*/ 42257 w 56342"/>
                      <a:gd name="connsiteY3" fmla="*/ 0 h 418109"/>
                      <a:gd name="connsiteX4" fmla="*/ 42257 w 56342"/>
                      <a:gd name="connsiteY4" fmla="*/ 389938 h 418109"/>
                      <a:gd name="connsiteX5" fmla="*/ 56342 w 56342"/>
                      <a:gd name="connsiteY5" fmla="*/ 389938 h 418109"/>
                      <a:gd name="connsiteX6" fmla="*/ 28171 w 56342"/>
                      <a:gd name="connsiteY6" fmla="*/ 418109 h 418109"/>
                      <a:gd name="connsiteX7" fmla="*/ 0 w 56342"/>
                      <a:gd name="connsiteY7" fmla="*/ 389938 h 418109"/>
                      <a:gd name="connsiteX0" fmla="*/ 0 w 56342"/>
                      <a:gd name="connsiteY0" fmla="*/ 389938 h 466696"/>
                      <a:gd name="connsiteX1" fmla="*/ 14086 w 56342"/>
                      <a:gd name="connsiteY1" fmla="*/ 389938 h 466696"/>
                      <a:gd name="connsiteX2" fmla="*/ 14086 w 56342"/>
                      <a:gd name="connsiteY2" fmla="*/ 0 h 466696"/>
                      <a:gd name="connsiteX3" fmla="*/ 42257 w 56342"/>
                      <a:gd name="connsiteY3" fmla="*/ 0 h 466696"/>
                      <a:gd name="connsiteX4" fmla="*/ 42257 w 56342"/>
                      <a:gd name="connsiteY4" fmla="*/ 389938 h 466696"/>
                      <a:gd name="connsiteX5" fmla="*/ 56342 w 56342"/>
                      <a:gd name="connsiteY5" fmla="*/ 389938 h 466696"/>
                      <a:gd name="connsiteX6" fmla="*/ 31908 w 56342"/>
                      <a:gd name="connsiteY6" fmla="*/ 466696 h 466696"/>
                      <a:gd name="connsiteX7" fmla="*/ 0 w 56342"/>
                      <a:gd name="connsiteY7" fmla="*/ 389938 h 466696"/>
                      <a:gd name="connsiteX0" fmla="*/ 0 w 56342"/>
                      <a:gd name="connsiteY0" fmla="*/ 389938 h 468564"/>
                      <a:gd name="connsiteX1" fmla="*/ 14086 w 56342"/>
                      <a:gd name="connsiteY1" fmla="*/ 389938 h 468564"/>
                      <a:gd name="connsiteX2" fmla="*/ 14086 w 56342"/>
                      <a:gd name="connsiteY2" fmla="*/ 0 h 468564"/>
                      <a:gd name="connsiteX3" fmla="*/ 42257 w 56342"/>
                      <a:gd name="connsiteY3" fmla="*/ 0 h 468564"/>
                      <a:gd name="connsiteX4" fmla="*/ 42257 w 56342"/>
                      <a:gd name="connsiteY4" fmla="*/ 389938 h 468564"/>
                      <a:gd name="connsiteX5" fmla="*/ 56342 w 56342"/>
                      <a:gd name="connsiteY5" fmla="*/ 389938 h 468564"/>
                      <a:gd name="connsiteX6" fmla="*/ 30040 w 56342"/>
                      <a:gd name="connsiteY6" fmla="*/ 468564 h 468564"/>
                      <a:gd name="connsiteX7" fmla="*/ 0 w 56342"/>
                      <a:gd name="connsiteY7" fmla="*/ 389938 h 468564"/>
                      <a:gd name="connsiteX0" fmla="*/ 0 w 56342"/>
                      <a:gd name="connsiteY0" fmla="*/ 389938 h 468564"/>
                      <a:gd name="connsiteX1" fmla="*/ 14086 w 56342"/>
                      <a:gd name="connsiteY1" fmla="*/ 389938 h 468564"/>
                      <a:gd name="connsiteX2" fmla="*/ 14086 w 56342"/>
                      <a:gd name="connsiteY2" fmla="*/ 0 h 468564"/>
                      <a:gd name="connsiteX3" fmla="*/ 42257 w 56342"/>
                      <a:gd name="connsiteY3" fmla="*/ 0 h 468564"/>
                      <a:gd name="connsiteX4" fmla="*/ 42257 w 56342"/>
                      <a:gd name="connsiteY4" fmla="*/ 389938 h 468564"/>
                      <a:gd name="connsiteX5" fmla="*/ 56342 w 56342"/>
                      <a:gd name="connsiteY5" fmla="*/ 389938 h 468564"/>
                      <a:gd name="connsiteX6" fmla="*/ 30040 w 56342"/>
                      <a:gd name="connsiteY6" fmla="*/ 468564 h 468564"/>
                      <a:gd name="connsiteX7" fmla="*/ 0 w 56342"/>
                      <a:gd name="connsiteY7" fmla="*/ 389938 h 468564"/>
                      <a:gd name="connsiteX0" fmla="*/ 15954 w 42256"/>
                      <a:gd name="connsiteY0" fmla="*/ 468564 h 468564"/>
                      <a:gd name="connsiteX1" fmla="*/ 0 w 42256"/>
                      <a:gd name="connsiteY1" fmla="*/ 389938 h 468564"/>
                      <a:gd name="connsiteX2" fmla="*/ 0 w 42256"/>
                      <a:gd name="connsiteY2" fmla="*/ 0 h 468564"/>
                      <a:gd name="connsiteX3" fmla="*/ 28171 w 42256"/>
                      <a:gd name="connsiteY3" fmla="*/ 0 h 468564"/>
                      <a:gd name="connsiteX4" fmla="*/ 28171 w 42256"/>
                      <a:gd name="connsiteY4" fmla="*/ 389938 h 468564"/>
                      <a:gd name="connsiteX5" fmla="*/ 42256 w 42256"/>
                      <a:gd name="connsiteY5" fmla="*/ 389938 h 468564"/>
                      <a:gd name="connsiteX6" fmla="*/ 15954 w 42256"/>
                      <a:gd name="connsiteY6" fmla="*/ 468564 h 468564"/>
                      <a:gd name="connsiteX0" fmla="*/ 15954 w 42256"/>
                      <a:gd name="connsiteY0" fmla="*/ 468564 h 468564"/>
                      <a:gd name="connsiteX1" fmla="*/ 0 w 42256"/>
                      <a:gd name="connsiteY1" fmla="*/ 389938 h 468564"/>
                      <a:gd name="connsiteX2" fmla="*/ 0 w 42256"/>
                      <a:gd name="connsiteY2" fmla="*/ 0 h 468564"/>
                      <a:gd name="connsiteX3" fmla="*/ 28171 w 42256"/>
                      <a:gd name="connsiteY3" fmla="*/ 0 h 468564"/>
                      <a:gd name="connsiteX4" fmla="*/ 42256 w 42256"/>
                      <a:gd name="connsiteY4" fmla="*/ 389938 h 468564"/>
                      <a:gd name="connsiteX5" fmla="*/ 15954 w 42256"/>
                      <a:gd name="connsiteY5" fmla="*/ 468564 h 468564"/>
                      <a:gd name="connsiteX0" fmla="*/ 15954 w 38519"/>
                      <a:gd name="connsiteY0" fmla="*/ 468564 h 468564"/>
                      <a:gd name="connsiteX1" fmla="*/ 0 w 38519"/>
                      <a:gd name="connsiteY1" fmla="*/ 389938 h 468564"/>
                      <a:gd name="connsiteX2" fmla="*/ 0 w 38519"/>
                      <a:gd name="connsiteY2" fmla="*/ 0 h 468564"/>
                      <a:gd name="connsiteX3" fmla="*/ 28171 w 38519"/>
                      <a:gd name="connsiteY3" fmla="*/ 0 h 468564"/>
                      <a:gd name="connsiteX4" fmla="*/ 38519 w 38519"/>
                      <a:gd name="connsiteY4" fmla="*/ 389938 h 468564"/>
                      <a:gd name="connsiteX5" fmla="*/ 15954 w 38519"/>
                      <a:gd name="connsiteY5" fmla="*/ 468564 h 468564"/>
                      <a:gd name="connsiteX0" fmla="*/ 15954 w 38519"/>
                      <a:gd name="connsiteY0" fmla="*/ 468564 h 468564"/>
                      <a:gd name="connsiteX1" fmla="*/ 0 w 38519"/>
                      <a:gd name="connsiteY1" fmla="*/ 389938 h 468564"/>
                      <a:gd name="connsiteX2" fmla="*/ 0 w 38519"/>
                      <a:gd name="connsiteY2" fmla="*/ 0 h 468564"/>
                      <a:gd name="connsiteX3" fmla="*/ 28171 w 38519"/>
                      <a:gd name="connsiteY3" fmla="*/ 0 h 468564"/>
                      <a:gd name="connsiteX4" fmla="*/ 38519 w 38519"/>
                      <a:gd name="connsiteY4" fmla="*/ 389938 h 468564"/>
                      <a:gd name="connsiteX5" fmla="*/ 15954 w 38519"/>
                      <a:gd name="connsiteY5" fmla="*/ 468564 h 468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19" h="468564">
                        <a:moveTo>
                          <a:pt x="15954" y="468564"/>
                        </a:moveTo>
                        <a:lnTo>
                          <a:pt x="0" y="389938"/>
                        </a:lnTo>
                        <a:lnTo>
                          <a:pt x="0" y="0"/>
                        </a:lnTo>
                        <a:lnTo>
                          <a:pt x="28171" y="0"/>
                        </a:lnTo>
                        <a:lnTo>
                          <a:pt x="38519" y="389938"/>
                        </a:lnTo>
                        <a:lnTo>
                          <a:pt x="15954" y="468564"/>
                        </a:lnTo>
                        <a:close/>
                      </a:path>
                    </a:pathLst>
                  </a:custGeom>
                  <a:solidFill>
                    <a:srgbClr val="C0B45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20" name="Rectangle 19"/>
                  <p:cNvSpPr/>
                  <p:nvPr/>
                </p:nvSpPr>
                <p:spPr>
                  <a:xfrm rot="2700000" flipH="1">
                    <a:off x="5165691" y="1169687"/>
                    <a:ext cx="37496" cy="659454"/>
                  </a:xfrm>
                  <a:prstGeom prst="rect">
                    <a:avLst/>
                  </a:prstGeom>
                  <a:solidFill>
                    <a:srgbClr val="C0B45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21" name="Rectangle 5"/>
                  <p:cNvSpPr/>
                  <p:nvPr/>
                </p:nvSpPr>
                <p:spPr>
                  <a:xfrm rot="13594864">
                    <a:off x="4924704" y="1050813"/>
                    <a:ext cx="279235" cy="647034"/>
                  </a:xfrm>
                  <a:custGeom>
                    <a:avLst/>
                    <a:gdLst>
                      <a:gd name="connsiteX0" fmla="*/ 0 w 836394"/>
                      <a:gd name="connsiteY0" fmla="*/ 0 h 1061744"/>
                      <a:gd name="connsiteX1" fmla="*/ 836394 w 836394"/>
                      <a:gd name="connsiteY1" fmla="*/ 0 h 1061744"/>
                      <a:gd name="connsiteX2" fmla="*/ 836394 w 836394"/>
                      <a:gd name="connsiteY2" fmla="*/ 1061744 h 1061744"/>
                      <a:gd name="connsiteX3" fmla="*/ 0 w 836394"/>
                      <a:gd name="connsiteY3" fmla="*/ 1061744 h 1061744"/>
                      <a:gd name="connsiteX4" fmla="*/ 0 w 836394"/>
                      <a:gd name="connsiteY4" fmla="*/ 0 h 1061744"/>
                      <a:gd name="connsiteX0" fmla="*/ 0 w 839645"/>
                      <a:gd name="connsiteY0" fmla="*/ 104317 h 1061744"/>
                      <a:gd name="connsiteX1" fmla="*/ 839645 w 839645"/>
                      <a:gd name="connsiteY1" fmla="*/ 0 h 1061744"/>
                      <a:gd name="connsiteX2" fmla="*/ 839645 w 839645"/>
                      <a:gd name="connsiteY2" fmla="*/ 1061744 h 1061744"/>
                      <a:gd name="connsiteX3" fmla="*/ 3251 w 839645"/>
                      <a:gd name="connsiteY3" fmla="*/ 1061744 h 1061744"/>
                      <a:gd name="connsiteX4" fmla="*/ 0 w 839645"/>
                      <a:gd name="connsiteY4" fmla="*/ 104317 h 1061744"/>
                      <a:gd name="connsiteX0" fmla="*/ 0 w 839645"/>
                      <a:gd name="connsiteY0" fmla="*/ 104317 h 1061744"/>
                      <a:gd name="connsiteX1" fmla="*/ 839645 w 839645"/>
                      <a:gd name="connsiteY1" fmla="*/ 0 h 1061744"/>
                      <a:gd name="connsiteX2" fmla="*/ 839645 w 839645"/>
                      <a:gd name="connsiteY2" fmla="*/ 1061744 h 1061744"/>
                      <a:gd name="connsiteX3" fmla="*/ 26911 w 839645"/>
                      <a:gd name="connsiteY3" fmla="*/ 1030436 h 1061744"/>
                      <a:gd name="connsiteX4" fmla="*/ 0 w 839645"/>
                      <a:gd name="connsiteY4" fmla="*/ 104317 h 1061744"/>
                      <a:gd name="connsiteX0" fmla="*/ 0 w 839645"/>
                      <a:gd name="connsiteY0" fmla="*/ 104317 h 1030436"/>
                      <a:gd name="connsiteX1" fmla="*/ 839645 w 839645"/>
                      <a:gd name="connsiteY1" fmla="*/ 0 h 1030436"/>
                      <a:gd name="connsiteX2" fmla="*/ 401394 w 839645"/>
                      <a:gd name="connsiteY2" fmla="*/ 843926 h 1030436"/>
                      <a:gd name="connsiteX3" fmla="*/ 26911 w 839645"/>
                      <a:gd name="connsiteY3" fmla="*/ 1030436 h 1030436"/>
                      <a:gd name="connsiteX4" fmla="*/ 0 w 839645"/>
                      <a:gd name="connsiteY4" fmla="*/ 104317 h 1030436"/>
                      <a:gd name="connsiteX0" fmla="*/ 0 w 401394"/>
                      <a:gd name="connsiteY0" fmla="*/ 0 h 926119"/>
                      <a:gd name="connsiteX1" fmla="*/ 401394 w 401394"/>
                      <a:gd name="connsiteY1" fmla="*/ 739609 h 926119"/>
                      <a:gd name="connsiteX2" fmla="*/ 26911 w 401394"/>
                      <a:gd name="connsiteY2" fmla="*/ 926119 h 926119"/>
                      <a:gd name="connsiteX3" fmla="*/ 0 w 401394"/>
                      <a:gd name="connsiteY3" fmla="*/ 0 h 926119"/>
                      <a:gd name="connsiteX0" fmla="*/ 0 w 408471"/>
                      <a:gd name="connsiteY0" fmla="*/ 0 h 926119"/>
                      <a:gd name="connsiteX1" fmla="*/ 408471 w 408471"/>
                      <a:gd name="connsiteY1" fmla="*/ 662776 h 926119"/>
                      <a:gd name="connsiteX2" fmla="*/ 26911 w 408471"/>
                      <a:gd name="connsiteY2" fmla="*/ 926119 h 926119"/>
                      <a:gd name="connsiteX3" fmla="*/ 0 w 408471"/>
                      <a:gd name="connsiteY3" fmla="*/ 0 h 926119"/>
                      <a:gd name="connsiteX0" fmla="*/ 0 w 408472"/>
                      <a:gd name="connsiteY0" fmla="*/ 0 h 926119"/>
                      <a:gd name="connsiteX1" fmla="*/ 408471 w 408472"/>
                      <a:gd name="connsiteY1" fmla="*/ 662776 h 926119"/>
                      <a:gd name="connsiteX2" fmla="*/ 26911 w 408472"/>
                      <a:gd name="connsiteY2" fmla="*/ 926119 h 926119"/>
                      <a:gd name="connsiteX3" fmla="*/ 0 w 408472"/>
                      <a:gd name="connsiteY3" fmla="*/ 0 h 926119"/>
                      <a:gd name="connsiteX0" fmla="*/ 0 w 408473"/>
                      <a:gd name="connsiteY0" fmla="*/ 0 h 992310"/>
                      <a:gd name="connsiteX1" fmla="*/ 408471 w 408473"/>
                      <a:gd name="connsiteY1" fmla="*/ 662776 h 992310"/>
                      <a:gd name="connsiteX2" fmla="*/ 26911 w 408473"/>
                      <a:gd name="connsiteY2" fmla="*/ 926119 h 992310"/>
                      <a:gd name="connsiteX3" fmla="*/ 0 w 408473"/>
                      <a:gd name="connsiteY3" fmla="*/ 0 h 992310"/>
                      <a:gd name="connsiteX0" fmla="*/ 0 w 415887"/>
                      <a:gd name="connsiteY0" fmla="*/ 0 h 989458"/>
                      <a:gd name="connsiteX1" fmla="*/ 408471 w 415887"/>
                      <a:gd name="connsiteY1" fmla="*/ 662776 h 989458"/>
                      <a:gd name="connsiteX2" fmla="*/ 26911 w 415887"/>
                      <a:gd name="connsiteY2" fmla="*/ 926119 h 989458"/>
                      <a:gd name="connsiteX3" fmla="*/ 0 w 415887"/>
                      <a:gd name="connsiteY3" fmla="*/ 0 h 989458"/>
                      <a:gd name="connsiteX0" fmla="*/ 0 w 415887"/>
                      <a:gd name="connsiteY0" fmla="*/ 0 h 989458"/>
                      <a:gd name="connsiteX1" fmla="*/ 408471 w 415887"/>
                      <a:gd name="connsiteY1" fmla="*/ 662776 h 989458"/>
                      <a:gd name="connsiteX2" fmla="*/ 26911 w 415887"/>
                      <a:gd name="connsiteY2" fmla="*/ 926119 h 989458"/>
                      <a:gd name="connsiteX3" fmla="*/ 0 w 415887"/>
                      <a:gd name="connsiteY3" fmla="*/ 0 h 989458"/>
                      <a:gd name="connsiteX0" fmla="*/ 0 w 415887"/>
                      <a:gd name="connsiteY0" fmla="*/ 0 h 989458"/>
                      <a:gd name="connsiteX1" fmla="*/ 408471 w 415887"/>
                      <a:gd name="connsiteY1" fmla="*/ 662776 h 989458"/>
                      <a:gd name="connsiteX2" fmla="*/ 26911 w 415887"/>
                      <a:gd name="connsiteY2" fmla="*/ 926119 h 989458"/>
                      <a:gd name="connsiteX3" fmla="*/ 0 w 415887"/>
                      <a:gd name="connsiteY3" fmla="*/ 0 h 989458"/>
                      <a:gd name="connsiteX0" fmla="*/ 0 w 408577"/>
                      <a:gd name="connsiteY0" fmla="*/ 0 h 946742"/>
                      <a:gd name="connsiteX1" fmla="*/ 401161 w 408577"/>
                      <a:gd name="connsiteY1" fmla="*/ 620060 h 946742"/>
                      <a:gd name="connsiteX2" fmla="*/ 19601 w 408577"/>
                      <a:gd name="connsiteY2" fmla="*/ 883403 h 946742"/>
                      <a:gd name="connsiteX3" fmla="*/ 0 w 408577"/>
                      <a:gd name="connsiteY3" fmla="*/ 0 h 946742"/>
                    </a:gdLst>
                    <a:ahLst/>
                    <a:cxnLst>
                      <a:cxn ang="0">
                        <a:pos x="connsiteX0" y="connsiteY0"/>
                      </a:cxn>
                      <a:cxn ang="0">
                        <a:pos x="connsiteX1" y="connsiteY1"/>
                      </a:cxn>
                      <a:cxn ang="0">
                        <a:pos x="connsiteX2" y="connsiteY2"/>
                      </a:cxn>
                      <a:cxn ang="0">
                        <a:pos x="connsiteX3" y="connsiteY3"/>
                      </a:cxn>
                    </a:cxnLst>
                    <a:rect l="l" t="t" r="r" b="b"/>
                    <a:pathLst>
                      <a:path w="408577" h="946742">
                        <a:moveTo>
                          <a:pt x="0" y="0"/>
                        </a:moveTo>
                        <a:cubicBezTo>
                          <a:pt x="168246" y="161795"/>
                          <a:pt x="383369" y="356014"/>
                          <a:pt x="401161" y="620060"/>
                        </a:cubicBezTo>
                        <a:cubicBezTo>
                          <a:pt x="453563" y="883751"/>
                          <a:pt x="217963" y="1041965"/>
                          <a:pt x="19601" y="883403"/>
                        </a:cubicBezTo>
                        <a:cubicBezTo>
                          <a:pt x="18517" y="564261"/>
                          <a:pt x="1084" y="319142"/>
                          <a:pt x="0" y="0"/>
                        </a:cubicBezTo>
                        <a:close/>
                      </a:path>
                    </a:pathLst>
                  </a:custGeom>
                  <a:solidFill>
                    <a:srgbClr val="C0B45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22" name="Rectangle 12"/>
                  <p:cNvSpPr/>
                  <p:nvPr/>
                </p:nvSpPr>
                <p:spPr>
                  <a:xfrm rot="2721202">
                    <a:off x="4613914" y="1645770"/>
                    <a:ext cx="116700" cy="749855"/>
                  </a:xfrm>
                  <a:custGeom>
                    <a:avLst/>
                    <a:gdLst>
                      <a:gd name="connsiteX0" fmla="*/ 0 w 340727"/>
                      <a:gd name="connsiteY0" fmla="*/ 0 h 417217"/>
                      <a:gd name="connsiteX1" fmla="*/ 340727 w 340727"/>
                      <a:gd name="connsiteY1" fmla="*/ 0 h 417217"/>
                      <a:gd name="connsiteX2" fmla="*/ 340727 w 340727"/>
                      <a:gd name="connsiteY2" fmla="*/ 417217 h 417217"/>
                      <a:gd name="connsiteX3" fmla="*/ 0 w 340727"/>
                      <a:gd name="connsiteY3" fmla="*/ 417217 h 417217"/>
                      <a:gd name="connsiteX4" fmla="*/ 0 w 340727"/>
                      <a:gd name="connsiteY4" fmla="*/ 0 h 417217"/>
                      <a:gd name="connsiteX0" fmla="*/ 0 w 340727"/>
                      <a:gd name="connsiteY0" fmla="*/ 0 h 417217"/>
                      <a:gd name="connsiteX1" fmla="*/ 217806 w 340727"/>
                      <a:gd name="connsiteY1" fmla="*/ 758 h 417217"/>
                      <a:gd name="connsiteX2" fmla="*/ 340727 w 340727"/>
                      <a:gd name="connsiteY2" fmla="*/ 417217 h 417217"/>
                      <a:gd name="connsiteX3" fmla="*/ 0 w 340727"/>
                      <a:gd name="connsiteY3" fmla="*/ 417217 h 417217"/>
                      <a:gd name="connsiteX4" fmla="*/ 0 w 340727"/>
                      <a:gd name="connsiteY4" fmla="*/ 0 h 417217"/>
                      <a:gd name="connsiteX0" fmla="*/ 117975 w 340727"/>
                      <a:gd name="connsiteY0" fmla="*/ 0 h 422862"/>
                      <a:gd name="connsiteX1" fmla="*/ 217806 w 340727"/>
                      <a:gd name="connsiteY1" fmla="*/ 6403 h 422862"/>
                      <a:gd name="connsiteX2" fmla="*/ 340727 w 340727"/>
                      <a:gd name="connsiteY2" fmla="*/ 422862 h 422862"/>
                      <a:gd name="connsiteX3" fmla="*/ 0 w 340727"/>
                      <a:gd name="connsiteY3" fmla="*/ 422862 h 422862"/>
                      <a:gd name="connsiteX4" fmla="*/ 117975 w 340727"/>
                      <a:gd name="connsiteY4" fmla="*/ 0 h 422862"/>
                      <a:gd name="connsiteX0" fmla="*/ 18624 w 241376"/>
                      <a:gd name="connsiteY0" fmla="*/ 0 h 985250"/>
                      <a:gd name="connsiteX1" fmla="*/ 118455 w 241376"/>
                      <a:gd name="connsiteY1" fmla="*/ 6403 h 985250"/>
                      <a:gd name="connsiteX2" fmla="*/ 241376 w 241376"/>
                      <a:gd name="connsiteY2" fmla="*/ 422862 h 985250"/>
                      <a:gd name="connsiteX3" fmla="*/ 0 w 241376"/>
                      <a:gd name="connsiteY3" fmla="*/ 985250 h 985250"/>
                      <a:gd name="connsiteX4" fmla="*/ 18624 w 241376"/>
                      <a:gd name="connsiteY4" fmla="*/ 0 h 985250"/>
                      <a:gd name="connsiteX0" fmla="*/ 18624 w 158834"/>
                      <a:gd name="connsiteY0" fmla="*/ 0 h 991289"/>
                      <a:gd name="connsiteX1" fmla="*/ 118455 w 158834"/>
                      <a:gd name="connsiteY1" fmla="*/ 6403 h 991289"/>
                      <a:gd name="connsiteX2" fmla="*/ 158834 w 158834"/>
                      <a:gd name="connsiteY2" fmla="*/ 991289 h 991289"/>
                      <a:gd name="connsiteX3" fmla="*/ 0 w 158834"/>
                      <a:gd name="connsiteY3" fmla="*/ 985250 h 991289"/>
                      <a:gd name="connsiteX4" fmla="*/ 18624 w 158834"/>
                      <a:gd name="connsiteY4" fmla="*/ 0 h 991289"/>
                      <a:gd name="connsiteX0" fmla="*/ 23682 w 163892"/>
                      <a:gd name="connsiteY0" fmla="*/ 0 h 997255"/>
                      <a:gd name="connsiteX1" fmla="*/ 123513 w 163892"/>
                      <a:gd name="connsiteY1" fmla="*/ 6403 h 997255"/>
                      <a:gd name="connsiteX2" fmla="*/ 163892 w 163892"/>
                      <a:gd name="connsiteY2" fmla="*/ 991289 h 997255"/>
                      <a:gd name="connsiteX3" fmla="*/ 0 w 163892"/>
                      <a:gd name="connsiteY3" fmla="*/ 997255 h 997255"/>
                      <a:gd name="connsiteX4" fmla="*/ 23682 w 163892"/>
                      <a:gd name="connsiteY4" fmla="*/ 0 h 997255"/>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70755"/>
                      <a:gd name="connsiteY0" fmla="*/ 0 h 1097252"/>
                      <a:gd name="connsiteX1" fmla="*/ 123513 w 170755"/>
                      <a:gd name="connsiteY1" fmla="*/ 6403 h 1097252"/>
                      <a:gd name="connsiteX2" fmla="*/ 170755 w 170755"/>
                      <a:gd name="connsiteY2" fmla="*/ 994667 h 1097252"/>
                      <a:gd name="connsiteX3" fmla="*/ 76234 w 170755"/>
                      <a:gd name="connsiteY3" fmla="*/ 1097252 h 1097252"/>
                      <a:gd name="connsiteX4" fmla="*/ 0 w 170755"/>
                      <a:gd name="connsiteY4" fmla="*/ 997255 h 1097252"/>
                      <a:gd name="connsiteX5" fmla="*/ 23682 w 170755"/>
                      <a:gd name="connsiteY5" fmla="*/ 0 h 1097252"/>
                      <a:gd name="connsiteX0" fmla="*/ 23682 w 170755"/>
                      <a:gd name="connsiteY0" fmla="*/ 0 h 1097252"/>
                      <a:gd name="connsiteX1" fmla="*/ 123513 w 170755"/>
                      <a:gd name="connsiteY1" fmla="*/ 6403 h 1097252"/>
                      <a:gd name="connsiteX2" fmla="*/ 170755 w 170755"/>
                      <a:gd name="connsiteY2" fmla="*/ 994667 h 1097252"/>
                      <a:gd name="connsiteX3" fmla="*/ 76234 w 170755"/>
                      <a:gd name="connsiteY3" fmla="*/ 1097252 h 1097252"/>
                      <a:gd name="connsiteX4" fmla="*/ 0 w 170755"/>
                      <a:gd name="connsiteY4" fmla="*/ 997255 h 1097252"/>
                      <a:gd name="connsiteX5" fmla="*/ 23682 w 170755"/>
                      <a:gd name="connsiteY5" fmla="*/ 0 h 1097252"/>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755" h="1097189">
                        <a:moveTo>
                          <a:pt x="23682" y="0"/>
                        </a:moveTo>
                        <a:lnTo>
                          <a:pt x="123513" y="6403"/>
                        </a:lnTo>
                        <a:lnTo>
                          <a:pt x="170755" y="994667"/>
                        </a:lnTo>
                        <a:cubicBezTo>
                          <a:pt x="136134" y="1035737"/>
                          <a:pt x="119266" y="1054040"/>
                          <a:pt x="86496" y="1097189"/>
                        </a:cubicBezTo>
                        <a:lnTo>
                          <a:pt x="0" y="997255"/>
                        </a:lnTo>
                        <a:lnTo>
                          <a:pt x="23682" y="0"/>
                        </a:lnTo>
                        <a:close/>
                      </a:path>
                    </a:pathLst>
                  </a:custGeom>
                  <a:solidFill>
                    <a:srgbClr val="C0B45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23" name="Rectangle 4"/>
                  <p:cNvSpPr/>
                  <p:nvPr/>
                </p:nvSpPr>
                <p:spPr>
                  <a:xfrm>
                    <a:off x="4982019" y="1322582"/>
                    <a:ext cx="585292" cy="441500"/>
                  </a:xfrm>
                  <a:custGeom>
                    <a:avLst/>
                    <a:gdLst>
                      <a:gd name="connsiteX0" fmla="*/ 0 w 1087746"/>
                      <a:gd name="connsiteY0" fmla="*/ 0 h 966404"/>
                      <a:gd name="connsiteX1" fmla="*/ 1087746 w 1087746"/>
                      <a:gd name="connsiteY1" fmla="*/ 0 h 966404"/>
                      <a:gd name="connsiteX2" fmla="*/ 1087746 w 1087746"/>
                      <a:gd name="connsiteY2" fmla="*/ 966404 h 966404"/>
                      <a:gd name="connsiteX3" fmla="*/ 0 w 1087746"/>
                      <a:gd name="connsiteY3" fmla="*/ 966404 h 966404"/>
                      <a:gd name="connsiteX4" fmla="*/ 0 w 1087746"/>
                      <a:gd name="connsiteY4" fmla="*/ 0 h 966404"/>
                      <a:gd name="connsiteX0" fmla="*/ 0 w 1087746"/>
                      <a:gd name="connsiteY0" fmla="*/ 0 h 966404"/>
                      <a:gd name="connsiteX1" fmla="*/ 1087746 w 1087746"/>
                      <a:gd name="connsiteY1" fmla="*/ 0 h 966404"/>
                      <a:gd name="connsiteX2" fmla="*/ 1087746 w 1087746"/>
                      <a:gd name="connsiteY2" fmla="*/ 966404 h 966404"/>
                      <a:gd name="connsiteX3" fmla="*/ 169012 w 1087746"/>
                      <a:gd name="connsiteY3" fmla="*/ 944736 h 966404"/>
                      <a:gd name="connsiteX4" fmla="*/ 0 w 1087746"/>
                      <a:gd name="connsiteY4" fmla="*/ 0 h 966404"/>
                      <a:gd name="connsiteX0" fmla="*/ 0 w 1087746"/>
                      <a:gd name="connsiteY0" fmla="*/ 0 h 944736"/>
                      <a:gd name="connsiteX1" fmla="*/ 1087746 w 1087746"/>
                      <a:gd name="connsiteY1" fmla="*/ 0 h 944736"/>
                      <a:gd name="connsiteX2" fmla="*/ 858062 w 1087746"/>
                      <a:gd name="connsiteY2" fmla="*/ 806059 h 944736"/>
                      <a:gd name="connsiteX3" fmla="*/ 169012 w 1087746"/>
                      <a:gd name="connsiteY3" fmla="*/ 944736 h 944736"/>
                      <a:gd name="connsiteX4" fmla="*/ 0 w 1087746"/>
                      <a:gd name="connsiteY4" fmla="*/ 0 h 944736"/>
                      <a:gd name="connsiteX0" fmla="*/ 0 w 858062"/>
                      <a:gd name="connsiteY0" fmla="*/ 0 h 944736"/>
                      <a:gd name="connsiteX1" fmla="*/ 810393 w 858062"/>
                      <a:gd name="connsiteY1" fmla="*/ 338025 h 944736"/>
                      <a:gd name="connsiteX2" fmla="*/ 858062 w 858062"/>
                      <a:gd name="connsiteY2" fmla="*/ 806059 h 944736"/>
                      <a:gd name="connsiteX3" fmla="*/ 169012 w 858062"/>
                      <a:gd name="connsiteY3" fmla="*/ 944736 h 944736"/>
                      <a:gd name="connsiteX4" fmla="*/ 0 w 858062"/>
                      <a:gd name="connsiteY4" fmla="*/ 0 h 944736"/>
                      <a:gd name="connsiteX0" fmla="*/ 0 w 689050"/>
                      <a:gd name="connsiteY0" fmla="*/ 606711 h 606711"/>
                      <a:gd name="connsiteX1" fmla="*/ 641381 w 689050"/>
                      <a:gd name="connsiteY1" fmla="*/ 0 h 606711"/>
                      <a:gd name="connsiteX2" fmla="*/ 689050 w 689050"/>
                      <a:gd name="connsiteY2" fmla="*/ 468034 h 606711"/>
                      <a:gd name="connsiteX3" fmla="*/ 0 w 689050"/>
                      <a:gd name="connsiteY3" fmla="*/ 606711 h 606711"/>
                      <a:gd name="connsiteX0" fmla="*/ 0 w 689050"/>
                      <a:gd name="connsiteY0" fmla="*/ 619712 h 619712"/>
                      <a:gd name="connsiteX1" fmla="*/ 606712 w 689050"/>
                      <a:gd name="connsiteY1" fmla="*/ 0 h 619712"/>
                      <a:gd name="connsiteX2" fmla="*/ 689050 w 689050"/>
                      <a:gd name="connsiteY2" fmla="*/ 481035 h 619712"/>
                      <a:gd name="connsiteX3" fmla="*/ 0 w 689050"/>
                      <a:gd name="connsiteY3" fmla="*/ 619712 h 619712"/>
                      <a:gd name="connsiteX0" fmla="*/ 0 w 783026"/>
                      <a:gd name="connsiteY0" fmla="*/ 619712 h 619712"/>
                      <a:gd name="connsiteX1" fmla="*/ 606712 w 783026"/>
                      <a:gd name="connsiteY1" fmla="*/ 0 h 619712"/>
                      <a:gd name="connsiteX2" fmla="*/ 689050 w 783026"/>
                      <a:gd name="connsiteY2" fmla="*/ 481035 h 619712"/>
                      <a:gd name="connsiteX3" fmla="*/ 0 w 783026"/>
                      <a:gd name="connsiteY3" fmla="*/ 619712 h 619712"/>
                      <a:gd name="connsiteX0" fmla="*/ 0 w 847208"/>
                      <a:gd name="connsiteY0" fmla="*/ 619712 h 619712"/>
                      <a:gd name="connsiteX1" fmla="*/ 606712 w 847208"/>
                      <a:gd name="connsiteY1" fmla="*/ 0 h 619712"/>
                      <a:gd name="connsiteX2" fmla="*/ 689050 w 847208"/>
                      <a:gd name="connsiteY2" fmla="*/ 481035 h 619712"/>
                      <a:gd name="connsiteX3" fmla="*/ 0 w 847208"/>
                      <a:gd name="connsiteY3" fmla="*/ 619712 h 619712"/>
                      <a:gd name="connsiteX0" fmla="*/ 0 w 858417"/>
                      <a:gd name="connsiteY0" fmla="*/ 645714 h 645714"/>
                      <a:gd name="connsiteX1" fmla="*/ 632713 w 858417"/>
                      <a:gd name="connsiteY1" fmla="*/ 0 h 645714"/>
                      <a:gd name="connsiteX2" fmla="*/ 689050 w 858417"/>
                      <a:gd name="connsiteY2" fmla="*/ 507037 h 645714"/>
                      <a:gd name="connsiteX3" fmla="*/ 0 w 858417"/>
                      <a:gd name="connsiteY3" fmla="*/ 645714 h 645714"/>
                      <a:gd name="connsiteX0" fmla="*/ 0 w 843784"/>
                      <a:gd name="connsiteY0" fmla="*/ 645714 h 645714"/>
                      <a:gd name="connsiteX1" fmla="*/ 632713 w 843784"/>
                      <a:gd name="connsiteY1" fmla="*/ 0 h 645714"/>
                      <a:gd name="connsiteX2" fmla="*/ 689050 w 843784"/>
                      <a:gd name="connsiteY2" fmla="*/ 507037 h 645714"/>
                      <a:gd name="connsiteX3" fmla="*/ 0 w 843784"/>
                      <a:gd name="connsiteY3" fmla="*/ 645714 h 645714"/>
                      <a:gd name="connsiteX0" fmla="*/ 0 w 856401"/>
                      <a:gd name="connsiteY0" fmla="*/ 645714 h 645714"/>
                      <a:gd name="connsiteX1" fmla="*/ 632713 w 856401"/>
                      <a:gd name="connsiteY1" fmla="*/ 0 h 645714"/>
                      <a:gd name="connsiteX2" fmla="*/ 689050 w 856401"/>
                      <a:gd name="connsiteY2" fmla="*/ 507037 h 645714"/>
                      <a:gd name="connsiteX3" fmla="*/ 0 w 856401"/>
                      <a:gd name="connsiteY3" fmla="*/ 645714 h 645714"/>
                      <a:gd name="connsiteX0" fmla="*/ 0 w 856401"/>
                      <a:gd name="connsiteY0" fmla="*/ 645714 h 645714"/>
                      <a:gd name="connsiteX1" fmla="*/ 632713 w 856401"/>
                      <a:gd name="connsiteY1" fmla="*/ 0 h 645714"/>
                      <a:gd name="connsiteX2" fmla="*/ 689050 w 856401"/>
                      <a:gd name="connsiteY2" fmla="*/ 507037 h 645714"/>
                      <a:gd name="connsiteX3" fmla="*/ 0 w 856401"/>
                      <a:gd name="connsiteY3" fmla="*/ 645714 h 645714"/>
                      <a:gd name="connsiteX0" fmla="*/ 0 w 856401"/>
                      <a:gd name="connsiteY0" fmla="*/ 645714 h 646004"/>
                      <a:gd name="connsiteX1" fmla="*/ 632713 w 856401"/>
                      <a:gd name="connsiteY1" fmla="*/ 0 h 646004"/>
                      <a:gd name="connsiteX2" fmla="*/ 689050 w 856401"/>
                      <a:gd name="connsiteY2" fmla="*/ 507037 h 646004"/>
                      <a:gd name="connsiteX3" fmla="*/ 0 w 856401"/>
                      <a:gd name="connsiteY3" fmla="*/ 645714 h 646004"/>
                    </a:gdLst>
                    <a:ahLst/>
                    <a:cxnLst>
                      <a:cxn ang="0">
                        <a:pos x="connsiteX0" y="connsiteY0"/>
                      </a:cxn>
                      <a:cxn ang="0">
                        <a:pos x="connsiteX1" y="connsiteY1"/>
                      </a:cxn>
                      <a:cxn ang="0">
                        <a:pos x="connsiteX2" y="connsiteY2"/>
                      </a:cxn>
                      <a:cxn ang="0">
                        <a:pos x="connsiteX3" y="connsiteY3"/>
                      </a:cxn>
                    </a:cxnLst>
                    <a:rect l="l" t="t" r="r" b="b"/>
                    <a:pathLst>
                      <a:path w="856401" h="646004">
                        <a:moveTo>
                          <a:pt x="0" y="645714"/>
                        </a:moveTo>
                        <a:lnTo>
                          <a:pt x="632713" y="0"/>
                        </a:lnTo>
                        <a:cubicBezTo>
                          <a:pt x="872509" y="65004"/>
                          <a:pt x="960626" y="303355"/>
                          <a:pt x="689050" y="507037"/>
                        </a:cubicBezTo>
                        <a:cubicBezTo>
                          <a:pt x="476701" y="648604"/>
                          <a:pt x="221016" y="647158"/>
                          <a:pt x="0" y="645714"/>
                        </a:cubicBezTo>
                        <a:close/>
                      </a:path>
                    </a:pathLst>
                  </a:custGeom>
                  <a:solidFill>
                    <a:srgbClr val="C0B45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grpSp>
            <p:grpSp>
              <p:nvGrpSpPr>
                <p:cNvPr id="13" name="Group 12"/>
                <p:cNvGrpSpPr/>
                <p:nvPr/>
              </p:nvGrpSpPr>
              <p:grpSpPr>
                <a:xfrm flipV="1">
                  <a:off x="2231110" y="3434117"/>
                  <a:ext cx="1486352" cy="1200054"/>
                  <a:chOff x="4127117" y="1234712"/>
                  <a:chExt cx="1440194" cy="1162787"/>
                </a:xfrm>
              </p:grpSpPr>
              <p:sp>
                <p:nvSpPr>
                  <p:cNvPr id="14" name="Down Arrow 21"/>
                  <p:cNvSpPr/>
                  <p:nvPr/>
                </p:nvSpPr>
                <p:spPr>
                  <a:xfrm rot="2700000">
                    <a:off x="4298993" y="2199298"/>
                    <a:ext cx="26325" cy="370077"/>
                  </a:xfrm>
                  <a:custGeom>
                    <a:avLst/>
                    <a:gdLst>
                      <a:gd name="connsiteX0" fmla="*/ 0 w 56342"/>
                      <a:gd name="connsiteY0" fmla="*/ 389938 h 418109"/>
                      <a:gd name="connsiteX1" fmla="*/ 14086 w 56342"/>
                      <a:gd name="connsiteY1" fmla="*/ 389938 h 418109"/>
                      <a:gd name="connsiteX2" fmla="*/ 14086 w 56342"/>
                      <a:gd name="connsiteY2" fmla="*/ 0 h 418109"/>
                      <a:gd name="connsiteX3" fmla="*/ 42257 w 56342"/>
                      <a:gd name="connsiteY3" fmla="*/ 0 h 418109"/>
                      <a:gd name="connsiteX4" fmla="*/ 42257 w 56342"/>
                      <a:gd name="connsiteY4" fmla="*/ 389938 h 418109"/>
                      <a:gd name="connsiteX5" fmla="*/ 56342 w 56342"/>
                      <a:gd name="connsiteY5" fmla="*/ 389938 h 418109"/>
                      <a:gd name="connsiteX6" fmla="*/ 28171 w 56342"/>
                      <a:gd name="connsiteY6" fmla="*/ 418109 h 418109"/>
                      <a:gd name="connsiteX7" fmla="*/ 0 w 56342"/>
                      <a:gd name="connsiteY7" fmla="*/ 389938 h 418109"/>
                      <a:gd name="connsiteX0" fmla="*/ 0 w 56342"/>
                      <a:gd name="connsiteY0" fmla="*/ 389938 h 466696"/>
                      <a:gd name="connsiteX1" fmla="*/ 14086 w 56342"/>
                      <a:gd name="connsiteY1" fmla="*/ 389938 h 466696"/>
                      <a:gd name="connsiteX2" fmla="*/ 14086 w 56342"/>
                      <a:gd name="connsiteY2" fmla="*/ 0 h 466696"/>
                      <a:gd name="connsiteX3" fmla="*/ 42257 w 56342"/>
                      <a:gd name="connsiteY3" fmla="*/ 0 h 466696"/>
                      <a:gd name="connsiteX4" fmla="*/ 42257 w 56342"/>
                      <a:gd name="connsiteY4" fmla="*/ 389938 h 466696"/>
                      <a:gd name="connsiteX5" fmla="*/ 56342 w 56342"/>
                      <a:gd name="connsiteY5" fmla="*/ 389938 h 466696"/>
                      <a:gd name="connsiteX6" fmla="*/ 31908 w 56342"/>
                      <a:gd name="connsiteY6" fmla="*/ 466696 h 466696"/>
                      <a:gd name="connsiteX7" fmla="*/ 0 w 56342"/>
                      <a:gd name="connsiteY7" fmla="*/ 389938 h 466696"/>
                      <a:gd name="connsiteX0" fmla="*/ 0 w 56342"/>
                      <a:gd name="connsiteY0" fmla="*/ 389938 h 468564"/>
                      <a:gd name="connsiteX1" fmla="*/ 14086 w 56342"/>
                      <a:gd name="connsiteY1" fmla="*/ 389938 h 468564"/>
                      <a:gd name="connsiteX2" fmla="*/ 14086 w 56342"/>
                      <a:gd name="connsiteY2" fmla="*/ 0 h 468564"/>
                      <a:gd name="connsiteX3" fmla="*/ 42257 w 56342"/>
                      <a:gd name="connsiteY3" fmla="*/ 0 h 468564"/>
                      <a:gd name="connsiteX4" fmla="*/ 42257 w 56342"/>
                      <a:gd name="connsiteY4" fmla="*/ 389938 h 468564"/>
                      <a:gd name="connsiteX5" fmla="*/ 56342 w 56342"/>
                      <a:gd name="connsiteY5" fmla="*/ 389938 h 468564"/>
                      <a:gd name="connsiteX6" fmla="*/ 30040 w 56342"/>
                      <a:gd name="connsiteY6" fmla="*/ 468564 h 468564"/>
                      <a:gd name="connsiteX7" fmla="*/ 0 w 56342"/>
                      <a:gd name="connsiteY7" fmla="*/ 389938 h 468564"/>
                      <a:gd name="connsiteX0" fmla="*/ 0 w 56342"/>
                      <a:gd name="connsiteY0" fmla="*/ 389938 h 468564"/>
                      <a:gd name="connsiteX1" fmla="*/ 14086 w 56342"/>
                      <a:gd name="connsiteY1" fmla="*/ 389938 h 468564"/>
                      <a:gd name="connsiteX2" fmla="*/ 14086 w 56342"/>
                      <a:gd name="connsiteY2" fmla="*/ 0 h 468564"/>
                      <a:gd name="connsiteX3" fmla="*/ 42257 w 56342"/>
                      <a:gd name="connsiteY3" fmla="*/ 0 h 468564"/>
                      <a:gd name="connsiteX4" fmla="*/ 42257 w 56342"/>
                      <a:gd name="connsiteY4" fmla="*/ 389938 h 468564"/>
                      <a:gd name="connsiteX5" fmla="*/ 56342 w 56342"/>
                      <a:gd name="connsiteY5" fmla="*/ 389938 h 468564"/>
                      <a:gd name="connsiteX6" fmla="*/ 30040 w 56342"/>
                      <a:gd name="connsiteY6" fmla="*/ 468564 h 468564"/>
                      <a:gd name="connsiteX7" fmla="*/ 0 w 56342"/>
                      <a:gd name="connsiteY7" fmla="*/ 389938 h 468564"/>
                      <a:gd name="connsiteX0" fmla="*/ 15954 w 42256"/>
                      <a:gd name="connsiteY0" fmla="*/ 468564 h 468564"/>
                      <a:gd name="connsiteX1" fmla="*/ 0 w 42256"/>
                      <a:gd name="connsiteY1" fmla="*/ 389938 h 468564"/>
                      <a:gd name="connsiteX2" fmla="*/ 0 w 42256"/>
                      <a:gd name="connsiteY2" fmla="*/ 0 h 468564"/>
                      <a:gd name="connsiteX3" fmla="*/ 28171 w 42256"/>
                      <a:gd name="connsiteY3" fmla="*/ 0 h 468564"/>
                      <a:gd name="connsiteX4" fmla="*/ 28171 w 42256"/>
                      <a:gd name="connsiteY4" fmla="*/ 389938 h 468564"/>
                      <a:gd name="connsiteX5" fmla="*/ 42256 w 42256"/>
                      <a:gd name="connsiteY5" fmla="*/ 389938 h 468564"/>
                      <a:gd name="connsiteX6" fmla="*/ 15954 w 42256"/>
                      <a:gd name="connsiteY6" fmla="*/ 468564 h 468564"/>
                      <a:gd name="connsiteX0" fmla="*/ 15954 w 42256"/>
                      <a:gd name="connsiteY0" fmla="*/ 468564 h 468564"/>
                      <a:gd name="connsiteX1" fmla="*/ 0 w 42256"/>
                      <a:gd name="connsiteY1" fmla="*/ 389938 h 468564"/>
                      <a:gd name="connsiteX2" fmla="*/ 0 w 42256"/>
                      <a:gd name="connsiteY2" fmla="*/ 0 h 468564"/>
                      <a:gd name="connsiteX3" fmla="*/ 28171 w 42256"/>
                      <a:gd name="connsiteY3" fmla="*/ 0 h 468564"/>
                      <a:gd name="connsiteX4" fmla="*/ 42256 w 42256"/>
                      <a:gd name="connsiteY4" fmla="*/ 389938 h 468564"/>
                      <a:gd name="connsiteX5" fmla="*/ 15954 w 42256"/>
                      <a:gd name="connsiteY5" fmla="*/ 468564 h 468564"/>
                      <a:gd name="connsiteX0" fmla="*/ 15954 w 38519"/>
                      <a:gd name="connsiteY0" fmla="*/ 468564 h 468564"/>
                      <a:gd name="connsiteX1" fmla="*/ 0 w 38519"/>
                      <a:gd name="connsiteY1" fmla="*/ 389938 h 468564"/>
                      <a:gd name="connsiteX2" fmla="*/ 0 w 38519"/>
                      <a:gd name="connsiteY2" fmla="*/ 0 h 468564"/>
                      <a:gd name="connsiteX3" fmla="*/ 28171 w 38519"/>
                      <a:gd name="connsiteY3" fmla="*/ 0 h 468564"/>
                      <a:gd name="connsiteX4" fmla="*/ 38519 w 38519"/>
                      <a:gd name="connsiteY4" fmla="*/ 389938 h 468564"/>
                      <a:gd name="connsiteX5" fmla="*/ 15954 w 38519"/>
                      <a:gd name="connsiteY5" fmla="*/ 468564 h 468564"/>
                      <a:gd name="connsiteX0" fmla="*/ 15954 w 38519"/>
                      <a:gd name="connsiteY0" fmla="*/ 468564 h 468564"/>
                      <a:gd name="connsiteX1" fmla="*/ 0 w 38519"/>
                      <a:gd name="connsiteY1" fmla="*/ 389938 h 468564"/>
                      <a:gd name="connsiteX2" fmla="*/ 0 w 38519"/>
                      <a:gd name="connsiteY2" fmla="*/ 0 h 468564"/>
                      <a:gd name="connsiteX3" fmla="*/ 28171 w 38519"/>
                      <a:gd name="connsiteY3" fmla="*/ 0 h 468564"/>
                      <a:gd name="connsiteX4" fmla="*/ 38519 w 38519"/>
                      <a:gd name="connsiteY4" fmla="*/ 389938 h 468564"/>
                      <a:gd name="connsiteX5" fmla="*/ 15954 w 38519"/>
                      <a:gd name="connsiteY5" fmla="*/ 468564 h 468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19" h="468564">
                        <a:moveTo>
                          <a:pt x="15954" y="468564"/>
                        </a:moveTo>
                        <a:lnTo>
                          <a:pt x="0" y="389938"/>
                        </a:lnTo>
                        <a:lnTo>
                          <a:pt x="0" y="0"/>
                        </a:lnTo>
                        <a:lnTo>
                          <a:pt x="28171" y="0"/>
                        </a:lnTo>
                        <a:lnTo>
                          <a:pt x="38519" y="389938"/>
                        </a:lnTo>
                        <a:lnTo>
                          <a:pt x="15954" y="468564"/>
                        </a:lnTo>
                        <a:close/>
                      </a:path>
                    </a:pathLst>
                  </a:custGeom>
                  <a:solidFill>
                    <a:srgbClr val="C25D6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15" name="Rectangle 14"/>
                  <p:cNvSpPr/>
                  <p:nvPr/>
                </p:nvSpPr>
                <p:spPr>
                  <a:xfrm rot="2700000" flipH="1">
                    <a:off x="5165691" y="1169687"/>
                    <a:ext cx="37496" cy="659454"/>
                  </a:xfrm>
                  <a:prstGeom prst="rect">
                    <a:avLst/>
                  </a:prstGeom>
                  <a:solidFill>
                    <a:srgbClr val="C25D6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16" name="Rectangle 5"/>
                  <p:cNvSpPr/>
                  <p:nvPr/>
                </p:nvSpPr>
                <p:spPr>
                  <a:xfrm rot="13594864">
                    <a:off x="4924704" y="1050813"/>
                    <a:ext cx="279235" cy="647034"/>
                  </a:xfrm>
                  <a:custGeom>
                    <a:avLst/>
                    <a:gdLst>
                      <a:gd name="connsiteX0" fmla="*/ 0 w 836394"/>
                      <a:gd name="connsiteY0" fmla="*/ 0 h 1061744"/>
                      <a:gd name="connsiteX1" fmla="*/ 836394 w 836394"/>
                      <a:gd name="connsiteY1" fmla="*/ 0 h 1061744"/>
                      <a:gd name="connsiteX2" fmla="*/ 836394 w 836394"/>
                      <a:gd name="connsiteY2" fmla="*/ 1061744 h 1061744"/>
                      <a:gd name="connsiteX3" fmla="*/ 0 w 836394"/>
                      <a:gd name="connsiteY3" fmla="*/ 1061744 h 1061744"/>
                      <a:gd name="connsiteX4" fmla="*/ 0 w 836394"/>
                      <a:gd name="connsiteY4" fmla="*/ 0 h 1061744"/>
                      <a:gd name="connsiteX0" fmla="*/ 0 w 839645"/>
                      <a:gd name="connsiteY0" fmla="*/ 104317 h 1061744"/>
                      <a:gd name="connsiteX1" fmla="*/ 839645 w 839645"/>
                      <a:gd name="connsiteY1" fmla="*/ 0 h 1061744"/>
                      <a:gd name="connsiteX2" fmla="*/ 839645 w 839645"/>
                      <a:gd name="connsiteY2" fmla="*/ 1061744 h 1061744"/>
                      <a:gd name="connsiteX3" fmla="*/ 3251 w 839645"/>
                      <a:gd name="connsiteY3" fmla="*/ 1061744 h 1061744"/>
                      <a:gd name="connsiteX4" fmla="*/ 0 w 839645"/>
                      <a:gd name="connsiteY4" fmla="*/ 104317 h 1061744"/>
                      <a:gd name="connsiteX0" fmla="*/ 0 w 839645"/>
                      <a:gd name="connsiteY0" fmla="*/ 104317 h 1061744"/>
                      <a:gd name="connsiteX1" fmla="*/ 839645 w 839645"/>
                      <a:gd name="connsiteY1" fmla="*/ 0 h 1061744"/>
                      <a:gd name="connsiteX2" fmla="*/ 839645 w 839645"/>
                      <a:gd name="connsiteY2" fmla="*/ 1061744 h 1061744"/>
                      <a:gd name="connsiteX3" fmla="*/ 26911 w 839645"/>
                      <a:gd name="connsiteY3" fmla="*/ 1030436 h 1061744"/>
                      <a:gd name="connsiteX4" fmla="*/ 0 w 839645"/>
                      <a:gd name="connsiteY4" fmla="*/ 104317 h 1061744"/>
                      <a:gd name="connsiteX0" fmla="*/ 0 w 839645"/>
                      <a:gd name="connsiteY0" fmla="*/ 104317 h 1030436"/>
                      <a:gd name="connsiteX1" fmla="*/ 839645 w 839645"/>
                      <a:gd name="connsiteY1" fmla="*/ 0 h 1030436"/>
                      <a:gd name="connsiteX2" fmla="*/ 401394 w 839645"/>
                      <a:gd name="connsiteY2" fmla="*/ 843926 h 1030436"/>
                      <a:gd name="connsiteX3" fmla="*/ 26911 w 839645"/>
                      <a:gd name="connsiteY3" fmla="*/ 1030436 h 1030436"/>
                      <a:gd name="connsiteX4" fmla="*/ 0 w 839645"/>
                      <a:gd name="connsiteY4" fmla="*/ 104317 h 1030436"/>
                      <a:gd name="connsiteX0" fmla="*/ 0 w 401394"/>
                      <a:gd name="connsiteY0" fmla="*/ 0 h 926119"/>
                      <a:gd name="connsiteX1" fmla="*/ 401394 w 401394"/>
                      <a:gd name="connsiteY1" fmla="*/ 739609 h 926119"/>
                      <a:gd name="connsiteX2" fmla="*/ 26911 w 401394"/>
                      <a:gd name="connsiteY2" fmla="*/ 926119 h 926119"/>
                      <a:gd name="connsiteX3" fmla="*/ 0 w 401394"/>
                      <a:gd name="connsiteY3" fmla="*/ 0 h 926119"/>
                      <a:gd name="connsiteX0" fmla="*/ 0 w 408471"/>
                      <a:gd name="connsiteY0" fmla="*/ 0 h 926119"/>
                      <a:gd name="connsiteX1" fmla="*/ 408471 w 408471"/>
                      <a:gd name="connsiteY1" fmla="*/ 662776 h 926119"/>
                      <a:gd name="connsiteX2" fmla="*/ 26911 w 408471"/>
                      <a:gd name="connsiteY2" fmla="*/ 926119 h 926119"/>
                      <a:gd name="connsiteX3" fmla="*/ 0 w 408471"/>
                      <a:gd name="connsiteY3" fmla="*/ 0 h 926119"/>
                      <a:gd name="connsiteX0" fmla="*/ 0 w 408472"/>
                      <a:gd name="connsiteY0" fmla="*/ 0 h 926119"/>
                      <a:gd name="connsiteX1" fmla="*/ 408471 w 408472"/>
                      <a:gd name="connsiteY1" fmla="*/ 662776 h 926119"/>
                      <a:gd name="connsiteX2" fmla="*/ 26911 w 408472"/>
                      <a:gd name="connsiteY2" fmla="*/ 926119 h 926119"/>
                      <a:gd name="connsiteX3" fmla="*/ 0 w 408472"/>
                      <a:gd name="connsiteY3" fmla="*/ 0 h 926119"/>
                      <a:gd name="connsiteX0" fmla="*/ 0 w 408473"/>
                      <a:gd name="connsiteY0" fmla="*/ 0 h 992310"/>
                      <a:gd name="connsiteX1" fmla="*/ 408471 w 408473"/>
                      <a:gd name="connsiteY1" fmla="*/ 662776 h 992310"/>
                      <a:gd name="connsiteX2" fmla="*/ 26911 w 408473"/>
                      <a:gd name="connsiteY2" fmla="*/ 926119 h 992310"/>
                      <a:gd name="connsiteX3" fmla="*/ 0 w 408473"/>
                      <a:gd name="connsiteY3" fmla="*/ 0 h 992310"/>
                      <a:gd name="connsiteX0" fmla="*/ 0 w 415887"/>
                      <a:gd name="connsiteY0" fmla="*/ 0 h 989458"/>
                      <a:gd name="connsiteX1" fmla="*/ 408471 w 415887"/>
                      <a:gd name="connsiteY1" fmla="*/ 662776 h 989458"/>
                      <a:gd name="connsiteX2" fmla="*/ 26911 w 415887"/>
                      <a:gd name="connsiteY2" fmla="*/ 926119 h 989458"/>
                      <a:gd name="connsiteX3" fmla="*/ 0 w 415887"/>
                      <a:gd name="connsiteY3" fmla="*/ 0 h 989458"/>
                      <a:gd name="connsiteX0" fmla="*/ 0 w 415887"/>
                      <a:gd name="connsiteY0" fmla="*/ 0 h 989458"/>
                      <a:gd name="connsiteX1" fmla="*/ 408471 w 415887"/>
                      <a:gd name="connsiteY1" fmla="*/ 662776 h 989458"/>
                      <a:gd name="connsiteX2" fmla="*/ 26911 w 415887"/>
                      <a:gd name="connsiteY2" fmla="*/ 926119 h 989458"/>
                      <a:gd name="connsiteX3" fmla="*/ 0 w 415887"/>
                      <a:gd name="connsiteY3" fmla="*/ 0 h 989458"/>
                      <a:gd name="connsiteX0" fmla="*/ 0 w 415887"/>
                      <a:gd name="connsiteY0" fmla="*/ 0 h 989458"/>
                      <a:gd name="connsiteX1" fmla="*/ 408471 w 415887"/>
                      <a:gd name="connsiteY1" fmla="*/ 662776 h 989458"/>
                      <a:gd name="connsiteX2" fmla="*/ 26911 w 415887"/>
                      <a:gd name="connsiteY2" fmla="*/ 926119 h 989458"/>
                      <a:gd name="connsiteX3" fmla="*/ 0 w 415887"/>
                      <a:gd name="connsiteY3" fmla="*/ 0 h 989458"/>
                      <a:gd name="connsiteX0" fmla="*/ 0 w 408577"/>
                      <a:gd name="connsiteY0" fmla="*/ 0 h 946742"/>
                      <a:gd name="connsiteX1" fmla="*/ 401161 w 408577"/>
                      <a:gd name="connsiteY1" fmla="*/ 620060 h 946742"/>
                      <a:gd name="connsiteX2" fmla="*/ 19601 w 408577"/>
                      <a:gd name="connsiteY2" fmla="*/ 883403 h 946742"/>
                      <a:gd name="connsiteX3" fmla="*/ 0 w 408577"/>
                      <a:gd name="connsiteY3" fmla="*/ 0 h 946742"/>
                    </a:gdLst>
                    <a:ahLst/>
                    <a:cxnLst>
                      <a:cxn ang="0">
                        <a:pos x="connsiteX0" y="connsiteY0"/>
                      </a:cxn>
                      <a:cxn ang="0">
                        <a:pos x="connsiteX1" y="connsiteY1"/>
                      </a:cxn>
                      <a:cxn ang="0">
                        <a:pos x="connsiteX2" y="connsiteY2"/>
                      </a:cxn>
                      <a:cxn ang="0">
                        <a:pos x="connsiteX3" y="connsiteY3"/>
                      </a:cxn>
                    </a:cxnLst>
                    <a:rect l="l" t="t" r="r" b="b"/>
                    <a:pathLst>
                      <a:path w="408577" h="946742">
                        <a:moveTo>
                          <a:pt x="0" y="0"/>
                        </a:moveTo>
                        <a:cubicBezTo>
                          <a:pt x="168246" y="161795"/>
                          <a:pt x="383369" y="356014"/>
                          <a:pt x="401161" y="620060"/>
                        </a:cubicBezTo>
                        <a:cubicBezTo>
                          <a:pt x="453563" y="883751"/>
                          <a:pt x="217963" y="1041965"/>
                          <a:pt x="19601" y="883403"/>
                        </a:cubicBezTo>
                        <a:cubicBezTo>
                          <a:pt x="18517" y="564261"/>
                          <a:pt x="1084" y="319142"/>
                          <a:pt x="0" y="0"/>
                        </a:cubicBezTo>
                        <a:close/>
                      </a:path>
                    </a:pathLst>
                  </a:custGeom>
                  <a:solidFill>
                    <a:srgbClr val="C25D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17" name="Rectangle 12"/>
                  <p:cNvSpPr/>
                  <p:nvPr/>
                </p:nvSpPr>
                <p:spPr>
                  <a:xfrm rot="2721202">
                    <a:off x="4613914" y="1645770"/>
                    <a:ext cx="116700" cy="749855"/>
                  </a:xfrm>
                  <a:custGeom>
                    <a:avLst/>
                    <a:gdLst>
                      <a:gd name="connsiteX0" fmla="*/ 0 w 340727"/>
                      <a:gd name="connsiteY0" fmla="*/ 0 h 417217"/>
                      <a:gd name="connsiteX1" fmla="*/ 340727 w 340727"/>
                      <a:gd name="connsiteY1" fmla="*/ 0 h 417217"/>
                      <a:gd name="connsiteX2" fmla="*/ 340727 w 340727"/>
                      <a:gd name="connsiteY2" fmla="*/ 417217 h 417217"/>
                      <a:gd name="connsiteX3" fmla="*/ 0 w 340727"/>
                      <a:gd name="connsiteY3" fmla="*/ 417217 h 417217"/>
                      <a:gd name="connsiteX4" fmla="*/ 0 w 340727"/>
                      <a:gd name="connsiteY4" fmla="*/ 0 h 417217"/>
                      <a:gd name="connsiteX0" fmla="*/ 0 w 340727"/>
                      <a:gd name="connsiteY0" fmla="*/ 0 h 417217"/>
                      <a:gd name="connsiteX1" fmla="*/ 217806 w 340727"/>
                      <a:gd name="connsiteY1" fmla="*/ 758 h 417217"/>
                      <a:gd name="connsiteX2" fmla="*/ 340727 w 340727"/>
                      <a:gd name="connsiteY2" fmla="*/ 417217 h 417217"/>
                      <a:gd name="connsiteX3" fmla="*/ 0 w 340727"/>
                      <a:gd name="connsiteY3" fmla="*/ 417217 h 417217"/>
                      <a:gd name="connsiteX4" fmla="*/ 0 w 340727"/>
                      <a:gd name="connsiteY4" fmla="*/ 0 h 417217"/>
                      <a:gd name="connsiteX0" fmla="*/ 117975 w 340727"/>
                      <a:gd name="connsiteY0" fmla="*/ 0 h 422862"/>
                      <a:gd name="connsiteX1" fmla="*/ 217806 w 340727"/>
                      <a:gd name="connsiteY1" fmla="*/ 6403 h 422862"/>
                      <a:gd name="connsiteX2" fmla="*/ 340727 w 340727"/>
                      <a:gd name="connsiteY2" fmla="*/ 422862 h 422862"/>
                      <a:gd name="connsiteX3" fmla="*/ 0 w 340727"/>
                      <a:gd name="connsiteY3" fmla="*/ 422862 h 422862"/>
                      <a:gd name="connsiteX4" fmla="*/ 117975 w 340727"/>
                      <a:gd name="connsiteY4" fmla="*/ 0 h 422862"/>
                      <a:gd name="connsiteX0" fmla="*/ 18624 w 241376"/>
                      <a:gd name="connsiteY0" fmla="*/ 0 h 985250"/>
                      <a:gd name="connsiteX1" fmla="*/ 118455 w 241376"/>
                      <a:gd name="connsiteY1" fmla="*/ 6403 h 985250"/>
                      <a:gd name="connsiteX2" fmla="*/ 241376 w 241376"/>
                      <a:gd name="connsiteY2" fmla="*/ 422862 h 985250"/>
                      <a:gd name="connsiteX3" fmla="*/ 0 w 241376"/>
                      <a:gd name="connsiteY3" fmla="*/ 985250 h 985250"/>
                      <a:gd name="connsiteX4" fmla="*/ 18624 w 241376"/>
                      <a:gd name="connsiteY4" fmla="*/ 0 h 985250"/>
                      <a:gd name="connsiteX0" fmla="*/ 18624 w 158834"/>
                      <a:gd name="connsiteY0" fmla="*/ 0 h 991289"/>
                      <a:gd name="connsiteX1" fmla="*/ 118455 w 158834"/>
                      <a:gd name="connsiteY1" fmla="*/ 6403 h 991289"/>
                      <a:gd name="connsiteX2" fmla="*/ 158834 w 158834"/>
                      <a:gd name="connsiteY2" fmla="*/ 991289 h 991289"/>
                      <a:gd name="connsiteX3" fmla="*/ 0 w 158834"/>
                      <a:gd name="connsiteY3" fmla="*/ 985250 h 991289"/>
                      <a:gd name="connsiteX4" fmla="*/ 18624 w 158834"/>
                      <a:gd name="connsiteY4" fmla="*/ 0 h 991289"/>
                      <a:gd name="connsiteX0" fmla="*/ 23682 w 163892"/>
                      <a:gd name="connsiteY0" fmla="*/ 0 h 997255"/>
                      <a:gd name="connsiteX1" fmla="*/ 123513 w 163892"/>
                      <a:gd name="connsiteY1" fmla="*/ 6403 h 997255"/>
                      <a:gd name="connsiteX2" fmla="*/ 163892 w 163892"/>
                      <a:gd name="connsiteY2" fmla="*/ 991289 h 997255"/>
                      <a:gd name="connsiteX3" fmla="*/ 0 w 163892"/>
                      <a:gd name="connsiteY3" fmla="*/ 997255 h 997255"/>
                      <a:gd name="connsiteX4" fmla="*/ 23682 w 163892"/>
                      <a:gd name="connsiteY4" fmla="*/ 0 h 997255"/>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63892"/>
                      <a:gd name="connsiteY0" fmla="*/ 0 h 1097252"/>
                      <a:gd name="connsiteX1" fmla="*/ 123513 w 163892"/>
                      <a:gd name="connsiteY1" fmla="*/ 6403 h 1097252"/>
                      <a:gd name="connsiteX2" fmla="*/ 163892 w 163892"/>
                      <a:gd name="connsiteY2" fmla="*/ 991289 h 1097252"/>
                      <a:gd name="connsiteX3" fmla="*/ 76234 w 163892"/>
                      <a:gd name="connsiteY3" fmla="*/ 1097252 h 1097252"/>
                      <a:gd name="connsiteX4" fmla="*/ 0 w 163892"/>
                      <a:gd name="connsiteY4" fmla="*/ 997255 h 1097252"/>
                      <a:gd name="connsiteX5" fmla="*/ 23682 w 163892"/>
                      <a:gd name="connsiteY5" fmla="*/ 0 h 1097252"/>
                      <a:gd name="connsiteX0" fmla="*/ 23682 w 170755"/>
                      <a:gd name="connsiteY0" fmla="*/ 0 h 1097252"/>
                      <a:gd name="connsiteX1" fmla="*/ 123513 w 170755"/>
                      <a:gd name="connsiteY1" fmla="*/ 6403 h 1097252"/>
                      <a:gd name="connsiteX2" fmla="*/ 170755 w 170755"/>
                      <a:gd name="connsiteY2" fmla="*/ 994667 h 1097252"/>
                      <a:gd name="connsiteX3" fmla="*/ 76234 w 170755"/>
                      <a:gd name="connsiteY3" fmla="*/ 1097252 h 1097252"/>
                      <a:gd name="connsiteX4" fmla="*/ 0 w 170755"/>
                      <a:gd name="connsiteY4" fmla="*/ 997255 h 1097252"/>
                      <a:gd name="connsiteX5" fmla="*/ 23682 w 170755"/>
                      <a:gd name="connsiteY5" fmla="*/ 0 h 1097252"/>
                      <a:gd name="connsiteX0" fmla="*/ 23682 w 170755"/>
                      <a:gd name="connsiteY0" fmla="*/ 0 h 1097252"/>
                      <a:gd name="connsiteX1" fmla="*/ 123513 w 170755"/>
                      <a:gd name="connsiteY1" fmla="*/ 6403 h 1097252"/>
                      <a:gd name="connsiteX2" fmla="*/ 170755 w 170755"/>
                      <a:gd name="connsiteY2" fmla="*/ 994667 h 1097252"/>
                      <a:gd name="connsiteX3" fmla="*/ 76234 w 170755"/>
                      <a:gd name="connsiteY3" fmla="*/ 1097252 h 1097252"/>
                      <a:gd name="connsiteX4" fmla="*/ 0 w 170755"/>
                      <a:gd name="connsiteY4" fmla="*/ 997255 h 1097252"/>
                      <a:gd name="connsiteX5" fmla="*/ 23682 w 170755"/>
                      <a:gd name="connsiteY5" fmla="*/ 0 h 1097252"/>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 name="connsiteX0" fmla="*/ 23682 w 170755"/>
                      <a:gd name="connsiteY0" fmla="*/ 0 h 1097189"/>
                      <a:gd name="connsiteX1" fmla="*/ 123513 w 170755"/>
                      <a:gd name="connsiteY1" fmla="*/ 6403 h 1097189"/>
                      <a:gd name="connsiteX2" fmla="*/ 170755 w 170755"/>
                      <a:gd name="connsiteY2" fmla="*/ 994667 h 1097189"/>
                      <a:gd name="connsiteX3" fmla="*/ 86496 w 170755"/>
                      <a:gd name="connsiteY3" fmla="*/ 1097189 h 1097189"/>
                      <a:gd name="connsiteX4" fmla="*/ 0 w 170755"/>
                      <a:gd name="connsiteY4" fmla="*/ 997255 h 1097189"/>
                      <a:gd name="connsiteX5" fmla="*/ 23682 w 170755"/>
                      <a:gd name="connsiteY5" fmla="*/ 0 h 1097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755" h="1097189">
                        <a:moveTo>
                          <a:pt x="23682" y="0"/>
                        </a:moveTo>
                        <a:lnTo>
                          <a:pt x="123513" y="6403"/>
                        </a:lnTo>
                        <a:lnTo>
                          <a:pt x="170755" y="994667"/>
                        </a:lnTo>
                        <a:cubicBezTo>
                          <a:pt x="136134" y="1035737"/>
                          <a:pt x="119266" y="1054040"/>
                          <a:pt x="86496" y="1097189"/>
                        </a:cubicBezTo>
                        <a:lnTo>
                          <a:pt x="0" y="997255"/>
                        </a:lnTo>
                        <a:lnTo>
                          <a:pt x="23682" y="0"/>
                        </a:lnTo>
                        <a:close/>
                      </a:path>
                    </a:pathLst>
                  </a:custGeom>
                  <a:solidFill>
                    <a:srgbClr val="C25D6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sp>
                <p:nvSpPr>
                  <p:cNvPr id="18" name="Rectangle 4"/>
                  <p:cNvSpPr/>
                  <p:nvPr/>
                </p:nvSpPr>
                <p:spPr>
                  <a:xfrm>
                    <a:off x="4982019" y="1322582"/>
                    <a:ext cx="585292" cy="441500"/>
                  </a:xfrm>
                  <a:custGeom>
                    <a:avLst/>
                    <a:gdLst>
                      <a:gd name="connsiteX0" fmla="*/ 0 w 1087746"/>
                      <a:gd name="connsiteY0" fmla="*/ 0 h 966404"/>
                      <a:gd name="connsiteX1" fmla="*/ 1087746 w 1087746"/>
                      <a:gd name="connsiteY1" fmla="*/ 0 h 966404"/>
                      <a:gd name="connsiteX2" fmla="*/ 1087746 w 1087746"/>
                      <a:gd name="connsiteY2" fmla="*/ 966404 h 966404"/>
                      <a:gd name="connsiteX3" fmla="*/ 0 w 1087746"/>
                      <a:gd name="connsiteY3" fmla="*/ 966404 h 966404"/>
                      <a:gd name="connsiteX4" fmla="*/ 0 w 1087746"/>
                      <a:gd name="connsiteY4" fmla="*/ 0 h 966404"/>
                      <a:gd name="connsiteX0" fmla="*/ 0 w 1087746"/>
                      <a:gd name="connsiteY0" fmla="*/ 0 h 966404"/>
                      <a:gd name="connsiteX1" fmla="*/ 1087746 w 1087746"/>
                      <a:gd name="connsiteY1" fmla="*/ 0 h 966404"/>
                      <a:gd name="connsiteX2" fmla="*/ 1087746 w 1087746"/>
                      <a:gd name="connsiteY2" fmla="*/ 966404 h 966404"/>
                      <a:gd name="connsiteX3" fmla="*/ 169012 w 1087746"/>
                      <a:gd name="connsiteY3" fmla="*/ 944736 h 966404"/>
                      <a:gd name="connsiteX4" fmla="*/ 0 w 1087746"/>
                      <a:gd name="connsiteY4" fmla="*/ 0 h 966404"/>
                      <a:gd name="connsiteX0" fmla="*/ 0 w 1087746"/>
                      <a:gd name="connsiteY0" fmla="*/ 0 h 944736"/>
                      <a:gd name="connsiteX1" fmla="*/ 1087746 w 1087746"/>
                      <a:gd name="connsiteY1" fmla="*/ 0 h 944736"/>
                      <a:gd name="connsiteX2" fmla="*/ 858062 w 1087746"/>
                      <a:gd name="connsiteY2" fmla="*/ 806059 h 944736"/>
                      <a:gd name="connsiteX3" fmla="*/ 169012 w 1087746"/>
                      <a:gd name="connsiteY3" fmla="*/ 944736 h 944736"/>
                      <a:gd name="connsiteX4" fmla="*/ 0 w 1087746"/>
                      <a:gd name="connsiteY4" fmla="*/ 0 h 944736"/>
                      <a:gd name="connsiteX0" fmla="*/ 0 w 858062"/>
                      <a:gd name="connsiteY0" fmla="*/ 0 h 944736"/>
                      <a:gd name="connsiteX1" fmla="*/ 810393 w 858062"/>
                      <a:gd name="connsiteY1" fmla="*/ 338025 h 944736"/>
                      <a:gd name="connsiteX2" fmla="*/ 858062 w 858062"/>
                      <a:gd name="connsiteY2" fmla="*/ 806059 h 944736"/>
                      <a:gd name="connsiteX3" fmla="*/ 169012 w 858062"/>
                      <a:gd name="connsiteY3" fmla="*/ 944736 h 944736"/>
                      <a:gd name="connsiteX4" fmla="*/ 0 w 858062"/>
                      <a:gd name="connsiteY4" fmla="*/ 0 h 944736"/>
                      <a:gd name="connsiteX0" fmla="*/ 0 w 689050"/>
                      <a:gd name="connsiteY0" fmla="*/ 606711 h 606711"/>
                      <a:gd name="connsiteX1" fmla="*/ 641381 w 689050"/>
                      <a:gd name="connsiteY1" fmla="*/ 0 h 606711"/>
                      <a:gd name="connsiteX2" fmla="*/ 689050 w 689050"/>
                      <a:gd name="connsiteY2" fmla="*/ 468034 h 606711"/>
                      <a:gd name="connsiteX3" fmla="*/ 0 w 689050"/>
                      <a:gd name="connsiteY3" fmla="*/ 606711 h 606711"/>
                      <a:gd name="connsiteX0" fmla="*/ 0 w 689050"/>
                      <a:gd name="connsiteY0" fmla="*/ 619712 h 619712"/>
                      <a:gd name="connsiteX1" fmla="*/ 606712 w 689050"/>
                      <a:gd name="connsiteY1" fmla="*/ 0 h 619712"/>
                      <a:gd name="connsiteX2" fmla="*/ 689050 w 689050"/>
                      <a:gd name="connsiteY2" fmla="*/ 481035 h 619712"/>
                      <a:gd name="connsiteX3" fmla="*/ 0 w 689050"/>
                      <a:gd name="connsiteY3" fmla="*/ 619712 h 619712"/>
                      <a:gd name="connsiteX0" fmla="*/ 0 w 783026"/>
                      <a:gd name="connsiteY0" fmla="*/ 619712 h 619712"/>
                      <a:gd name="connsiteX1" fmla="*/ 606712 w 783026"/>
                      <a:gd name="connsiteY1" fmla="*/ 0 h 619712"/>
                      <a:gd name="connsiteX2" fmla="*/ 689050 w 783026"/>
                      <a:gd name="connsiteY2" fmla="*/ 481035 h 619712"/>
                      <a:gd name="connsiteX3" fmla="*/ 0 w 783026"/>
                      <a:gd name="connsiteY3" fmla="*/ 619712 h 619712"/>
                      <a:gd name="connsiteX0" fmla="*/ 0 w 847208"/>
                      <a:gd name="connsiteY0" fmla="*/ 619712 h 619712"/>
                      <a:gd name="connsiteX1" fmla="*/ 606712 w 847208"/>
                      <a:gd name="connsiteY1" fmla="*/ 0 h 619712"/>
                      <a:gd name="connsiteX2" fmla="*/ 689050 w 847208"/>
                      <a:gd name="connsiteY2" fmla="*/ 481035 h 619712"/>
                      <a:gd name="connsiteX3" fmla="*/ 0 w 847208"/>
                      <a:gd name="connsiteY3" fmla="*/ 619712 h 619712"/>
                      <a:gd name="connsiteX0" fmla="*/ 0 w 858417"/>
                      <a:gd name="connsiteY0" fmla="*/ 645714 h 645714"/>
                      <a:gd name="connsiteX1" fmla="*/ 632713 w 858417"/>
                      <a:gd name="connsiteY1" fmla="*/ 0 h 645714"/>
                      <a:gd name="connsiteX2" fmla="*/ 689050 w 858417"/>
                      <a:gd name="connsiteY2" fmla="*/ 507037 h 645714"/>
                      <a:gd name="connsiteX3" fmla="*/ 0 w 858417"/>
                      <a:gd name="connsiteY3" fmla="*/ 645714 h 645714"/>
                      <a:gd name="connsiteX0" fmla="*/ 0 w 843784"/>
                      <a:gd name="connsiteY0" fmla="*/ 645714 h 645714"/>
                      <a:gd name="connsiteX1" fmla="*/ 632713 w 843784"/>
                      <a:gd name="connsiteY1" fmla="*/ 0 h 645714"/>
                      <a:gd name="connsiteX2" fmla="*/ 689050 w 843784"/>
                      <a:gd name="connsiteY2" fmla="*/ 507037 h 645714"/>
                      <a:gd name="connsiteX3" fmla="*/ 0 w 843784"/>
                      <a:gd name="connsiteY3" fmla="*/ 645714 h 645714"/>
                      <a:gd name="connsiteX0" fmla="*/ 0 w 856401"/>
                      <a:gd name="connsiteY0" fmla="*/ 645714 h 645714"/>
                      <a:gd name="connsiteX1" fmla="*/ 632713 w 856401"/>
                      <a:gd name="connsiteY1" fmla="*/ 0 h 645714"/>
                      <a:gd name="connsiteX2" fmla="*/ 689050 w 856401"/>
                      <a:gd name="connsiteY2" fmla="*/ 507037 h 645714"/>
                      <a:gd name="connsiteX3" fmla="*/ 0 w 856401"/>
                      <a:gd name="connsiteY3" fmla="*/ 645714 h 645714"/>
                      <a:gd name="connsiteX0" fmla="*/ 0 w 856401"/>
                      <a:gd name="connsiteY0" fmla="*/ 645714 h 645714"/>
                      <a:gd name="connsiteX1" fmla="*/ 632713 w 856401"/>
                      <a:gd name="connsiteY1" fmla="*/ 0 h 645714"/>
                      <a:gd name="connsiteX2" fmla="*/ 689050 w 856401"/>
                      <a:gd name="connsiteY2" fmla="*/ 507037 h 645714"/>
                      <a:gd name="connsiteX3" fmla="*/ 0 w 856401"/>
                      <a:gd name="connsiteY3" fmla="*/ 645714 h 645714"/>
                      <a:gd name="connsiteX0" fmla="*/ 0 w 856401"/>
                      <a:gd name="connsiteY0" fmla="*/ 645714 h 646004"/>
                      <a:gd name="connsiteX1" fmla="*/ 632713 w 856401"/>
                      <a:gd name="connsiteY1" fmla="*/ 0 h 646004"/>
                      <a:gd name="connsiteX2" fmla="*/ 689050 w 856401"/>
                      <a:gd name="connsiteY2" fmla="*/ 507037 h 646004"/>
                      <a:gd name="connsiteX3" fmla="*/ 0 w 856401"/>
                      <a:gd name="connsiteY3" fmla="*/ 645714 h 646004"/>
                    </a:gdLst>
                    <a:ahLst/>
                    <a:cxnLst>
                      <a:cxn ang="0">
                        <a:pos x="connsiteX0" y="connsiteY0"/>
                      </a:cxn>
                      <a:cxn ang="0">
                        <a:pos x="connsiteX1" y="connsiteY1"/>
                      </a:cxn>
                      <a:cxn ang="0">
                        <a:pos x="connsiteX2" y="connsiteY2"/>
                      </a:cxn>
                      <a:cxn ang="0">
                        <a:pos x="connsiteX3" y="connsiteY3"/>
                      </a:cxn>
                    </a:cxnLst>
                    <a:rect l="l" t="t" r="r" b="b"/>
                    <a:pathLst>
                      <a:path w="856401" h="646004">
                        <a:moveTo>
                          <a:pt x="0" y="645714"/>
                        </a:moveTo>
                        <a:lnTo>
                          <a:pt x="632713" y="0"/>
                        </a:lnTo>
                        <a:cubicBezTo>
                          <a:pt x="872509" y="65004"/>
                          <a:pt x="960626" y="303355"/>
                          <a:pt x="689050" y="507037"/>
                        </a:cubicBezTo>
                        <a:cubicBezTo>
                          <a:pt x="476701" y="648604"/>
                          <a:pt x="221016" y="647158"/>
                          <a:pt x="0" y="645714"/>
                        </a:cubicBezTo>
                        <a:close/>
                      </a:path>
                    </a:pathLst>
                  </a:custGeom>
                  <a:solidFill>
                    <a:srgbClr val="C25D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grpSp>
          </p:grpSp>
        </p:grpSp>
      </p:grpSp>
      <p:sp>
        <p:nvSpPr>
          <p:cNvPr id="4" name="Rectangle 3"/>
          <p:cNvSpPr/>
          <p:nvPr/>
        </p:nvSpPr>
        <p:spPr>
          <a:xfrm>
            <a:off x="3166255" y="1347971"/>
            <a:ext cx="8130661" cy="1341073"/>
          </a:xfrm>
          <a:prstGeom prst="rect">
            <a:avLst/>
          </a:prstGeom>
        </p:spPr>
        <p:txBody>
          <a:bodyPr wrap="square">
            <a:spAutoFit/>
          </a:bodyPr>
          <a:lstStyle/>
          <a:p>
            <a:pPr marL="342900" indent="-342900" defTabSz="914400">
              <a:lnSpc>
                <a:spcPct val="150000"/>
              </a:lnSpc>
              <a:spcBef>
                <a:spcPct val="0"/>
              </a:spcBef>
              <a:buFont typeface="Wingdings" panose="05000000000000000000" pitchFamily="2" charset="2"/>
              <a:buChar char="v"/>
              <a:defRP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For specific clarification relating to this RFP, an RFP Clarification Request Form should be submitted to [</a:t>
            </a: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Emmanuel Moriri</a:t>
            </a:r>
            <a:r>
              <a:rPr lang="en-GB" sz="1400" dirty="0">
                <a:effectLst/>
                <a:latin typeface="Tahoma" panose="020B0604030504040204" pitchFamily="34" charset="0"/>
                <a:ea typeface="Times New Roman" panose="02020603050405020304" pitchFamily="18" charset="0"/>
                <a:cs typeface="Times New Roman" panose="02020603050405020304" pitchFamily="18" charset="0"/>
              </a:rPr>
              <a:t>] before 16:00pm </a:t>
            </a: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on 08</a:t>
            </a:r>
            <a:r>
              <a:rPr lang="en-GB" sz="1400" b="1" baseline="30000" dirty="0">
                <a:effectLst/>
                <a:latin typeface="Tahoma" panose="020B0604030504040204" pitchFamily="34" charset="0"/>
                <a:ea typeface="Times New Roman" panose="02020603050405020304" pitchFamily="18" charset="0"/>
                <a:cs typeface="Times New Roman" panose="02020603050405020304" pitchFamily="18" charset="0"/>
              </a:rPr>
              <a:t>th</a:t>
            </a:r>
            <a:r>
              <a:rPr lang="en-GB" sz="1400" b="1" dirty="0">
                <a:effectLst/>
                <a:latin typeface="Tahoma" panose="020B0604030504040204" pitchFamily="34" charset="0"/>
                <a:ea typeface="Times New Roman" panose="02020603050405020304" pitchFamily="18" charset="0"/>
                <a:cs typeface="Times New Roman" panose="02020603050405020304" pitchFamily="18" charset="0"/>
              </a:rPr>
              <a:t> December 2025</a:t>
            </a:r>
            <a:r>
              <a:rPr lang="en-GB" sz="1400" dirty="0">
                <a:effectLst/>
                <a:latin typeface="Tahoma" panose="020B0604030504040204" pitchFamily="34" charset="0"/>
                <a:ea typeface="Times New Roman" panose="02020603050405020304" pitchFamily="18" charset="0"/>
                <a:cs typeface="Times New Roman" panose="02020603050405020304" pitchFamily="18" charset="0"/>
              </a:rPr>
              <a:t>, substantially in the form set out in Section 8 hereto. </a:t>
            </a:r>
            <a:r>
              <a:rPr lang="en-GB" sz="1400" dirty="0">
                <a:effectLst/>
                <a:latin typeface="Tahoma" panose="020B0604030504040204" pitchFamily="34" charset="0"/>
                <a:ea typeface="Times New Roman" panose="02020603050405020304" pitchFamily="18" charset="0"/>
              </a:rPr>
              <a:t>In the interest of fairness and transparency, Transnet’s response to such a query will be published on the e-tender portal and Transnet website</a:t>
            </a:r>
            <a:endParaRPr lang="en-GB" sz="1400" dirty="0">
              <a:solidFill>
                <a:srgbClr val="000000"/>
              </a:solidFill>
              <a:ea typeface="Tahoma" pitchFamily="34" charset="0"/>
              <a:cs typeface="Tahoma" pitchFamily="34" charset="0"/>
            </a:endParaRPr>
          </a:p>
        </p:txBody>
      </p:sp>
      <p:sp>
        <p:nvSpPr>
          <p:cNvPr id="5" name="Rectangle 4"/>
          <p:cNvSpPr/>
          <p:nvPr/>
        </p:nvSpPr>
        <p:spPr>
          <a:xfrm>
            <a:off x="4014838" y="3145830"/>
            <a:ext cx="7548307" cy="2310569"/>
          </a:xfrm>
          <a:prstGeom prst="rect">
            <a:avLst/>
          </a:prstGeom>
        </p:spPr>
        <p:txBody>
          <a:bodyPr wrap="square">
            <a:spAutoFit/>
          </a:bodyPr>
          <a:lstStyle/>
          <a:p>
            <a:pPr marL="285750" indent="-285750" defTabSz="914400">
              <a:lnSpc>
                <a:spcPct val="150000"/>
              </a:lnSpc>
              <a:spcBef>
                <a:spcPct val="0"/>
              </a:spcBef>
              <a:buFont typeface="Wingdings" panose="05000000000000000000" pitchFamily="2" charset="2"/>
              <a:buChar char="v"/>
              <a:defRP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Specific complaints relating to this RFP before or after the closing date should be formally submitted by emailing to </a:t>
            </a:r>
            <a:r>
              <a:rPr lang="en-GB" sz="1400" u="sng" dirty="0">
                <a:solidFill>
                  <a:srgbClr val="0000FF"/>
                </a:solidFill>
                <a:effectLst/>
                <a:latin typeface="Tahoma" panose="020B0604030504040204" pitchFamily="34" charset="0"/>
                <a:ea typeface="Times New Roman" panose="02020603050405020304" pitchFamily="18" charset="0"/>
                <a:cs typeface="Times New Roman" panose="02020603050405020304" pitchFamily="18" charset="0"/>
                <a:hlinkClick r:id="rId2"/>
              </a:rPr>
              <a:t>groupscmcomplaints@transnet.net</a:t>
            </a:r>
            <a:r>
              <a:rPr lang="en-GB" sz="1400" dirty="0">
                <a:effectLst/>
                <a:latin typeface="Tahoma" panose="020B0604030504040204" pitchFamily="34" charset="0"/>
                <a:ea typeface="Times New Roman" panose="02020603050405020304" pitchFamily="18" charset="0"/>
                <a:cs typeface="Times New Roman" panose="02020603050405020304" pitchFamily="18" charset="0"/>
              </a:rPr>
              <a:t>. Once the complaint has been submitted, the Transnet SCM Complaints office will acknowledge your complaint and send you a complaint form for completion.</a:t>
            </a:r>
          </a:p>
          <a:p>
            <a:pPr marL="285750" indent="-285750" defTabSz="914400">
              <a:lnSpc>
                <a:spcPct val="150000"/>
              </a:lnSpc>
              <a:spcBef>
                <a:spcPct val="0"/>
              </a:spcBef>
              <a:buFont typeface="Wingdings" panose="05000000000000000000" pitchFamily="2" charset="2"/>
              <a:buChar char="v"/>
              <a:defRPr/>
            </a:pPr>
            <a:r>
              <a:rPr lang="en-US" sz="1400" dirty="0">
                <a:solidFill>
                  <a:srgbClr val="000000"/>
                </a:solidFill>
                <a:ea typeface="Tahoma" pitchFamily="34" charset="0"/>
                <a:cs typeface="Tahoma" pitchFamily="34" charset="0"/>
              </a:rPr>
              <a:t>After the closing date of the RFP, a Respondent may only communicate with the name of delegated individual (BEC chairperson), at email </a:t>
            </a:r>
            <a:r>
              <a:rPr lang="en-US" sz="1400" dirty="0">
                <a:solidFill>
                  <a:srgbClr val="000000"/>
                </a:solidFill>
                <a:ea typeface="Tahoma" pitchFamily="34" charset="0"/>
                <a:cs typeface="Tahoma" pitchFamily="34" charset="0"/>
                <a:hlinkClick r:id="rId3"/>
              </a:rPr>
              <a:t>Emmanuel.Moriri@Transnet.net</a:t>
            </a:r>
            <a:r>
              <a:rPr lang="en-US" sz="1400" dirty="0">
                <a:solidFill>
                  <a:srgbClr val="000000"/>
                </a:solidFill>
                <a:ea typeface="Tahoma" pitchFamily="34" charset="0"/>
                <a:cs typeface="Tahoma" pitchFamily="34" charset="0"/>
              </a:rPr>
              <a:t> on any matter relating to its RFP Proposal. </a:t>
            </a:r>
          </a:p>
        </p:txBody>
      </p:sp>
    </p:spTree>
    <p:extLst>
      <p:ext uri="{BB962C8B-B14F-4D97-AF65-F5344CB8AC3E}">
        <p14:creationId xmlns:p14="http://schemas.microsoft.com/office/powerpoint/2010/main" val="665164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Office Theme">
  <a:themeElements>
    <a:clrScheme name="Office Theme 1">
      <a:dk1>
        <a:srgbClr val="000000"/>
      </a:dk1>
      <a:lt1>
        <a:srgbClr val="FFFFFF"/>
      </a:lt1>
      <a:dk2>
        <a:srgbClr val="A19F49"/>
      </a:dk2>
      <a:lt2>
        <a:srgbClr val="D4CFB4"/>
      </a:lt2>
      <a:accent1>
        <a:srgbClr val="A19F49"/>
      </a:accent1>
      <a:accent2>
        <a:srgbClr val="D42E12"/>
      </a:accent2>
      <a:accent3>
        <a:srgbClr val="FFFFFF"/>
      </a:accent3>
      <a:accent4>
        <a:srgbClr val="000000"/>
      </a:accent4>
      <a:accent5>
        <a:srgbClr val="CDCDB1"/>
      </a:accent5>
      <a:accent6>
        <a:srgbClr val="C0290F"/>
      </a:accent6>
      <a:hlink>
        <a:srgbClr val="99CC00"/>
      </a:hlink>
      <a:folHlink>
        <a:srgbClr val="CC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Office Theme 1">
        <a:dk1>
          <a:srgbClr val="000000"/>
        </a:dk1>
        <a:lt1>
          <a:srgbClr val="FFFFFF"/>
        </a:lt1>
        <a:dk2>
          <a:srgbClr val="A19F49"/>
        </a:dk2>
        <a:lt2>
          <a:srgbClr val="D4CFB4"/>
        </a:lt2>
        <a:accent1>
          <a:srgbClr val="A19F49"/>
        </a:accent1>
        <a:accent2>
          <a:srgbClr val="D42E12"/>
        </a:accent2>
        <a:accent3>
          <a:srgbClr val="FFFFFF"/>
        </a:accent3>
        <a:accent4>
          <a:srgbClr val="000000"/>
        </a:accent4>
        <a:accent5>
          <a:srgbClr val="CDCDB1"/>
        </a:accent5>
        <a:accent6>
          <a:srgbClr val="C0290F"/>
        </a:accent6>
        <a:hlink>
          <a:srgbClr val="99CC00"/>
        </a:hlink>
        <a:folHlink>
          <a:srgbClr val="CC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4.xml><?xml version="1.0" encoding="utf-8"?>
<a:theme xmlns:a="http://schemas.openxmlformats.org/drawingml/2006/main" name="1_Office Theme">
  <a:themeElements>
    <a:clrScheme name="Office Theme 1">
      <a:dk1>
        <a:srgbClr val="000000"/>
      </a:dk1>
      <a:lt1>
        <a:srgbClr val="FFFFFF"/>
      </a:lt1>
      <a:dk2>
        <a:srgbClr val="A19F49"/>
      </a:dk2>
      <a:lt2>
        <a:srgbClr val="D4CFB4"/>
      </a:lt2>
      <a:accent1>
        <a:srgbClr val="A19F49"/>
      </a:accent1>
      <a:accent2>
        <a:srgbClr val="D42E12"/>
      </a:accent2>
      <a:accent3>
        <a:srgbClr val="FFFFFF"/>
      </a:accent3>
      <a:accent4>
        <a:srgbClr val="000000"/>
      </a:accent4>
      <a:accent5>
        <a:srgbClr val="CDCDB1"/>
      </a:accent5>
      <a:accent6>
        <a:srgbClr val="C0290F"/>
      </a:accent6>
      <a:hlink>
        <a:srgbClr val="99CC00"/>
      </a:hlink>
      <a:folHlink>
        <a:srgbClr val="CC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Office Theme 1">
        <a:dk1>
          <a:srgbClr val="000000"/>
        </a:dk1>
        <a:lt1>
          <a:srgbClr val="FFFFFF"/>
        </a:lt1>
        <a:dk2>
          <a:srgbClr val="A19F49"/>
        </a:dk2>
        <a:lt2>
          <a:srgbClr val="D4CFB4"/>
        </a:lt2>
        <a:accent1>
          <a:srgbClr val="A19F49"/>
        </a:accent1>
        <a:accent2>
          <a:srgbClr val="D42E12"/>
        </a:accent2>
        <a:accent3>
          <a:srgbClr val="FFFFFF"/>
        </a:accent3>
        <a:accent4>
          <a:srgbClr val="000000"/>
        </a:accent4>
        <a:accent5>
          <a:srgbClr val="CDCDB1"/>
        </a:accent5>
        <a:accent6>
          <a:srgbClr val="C0290F"/>
        </a:accent6>
        <a:hlink>
          <a:srgbClr val="99CC00"/>
        </a:hlink>
        <a:folHlink>
          <a:srgbClr val="CC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AF90D2D-1373-4F78-889D-9661A751FF36}"/>
</file>

<file path=customXml/itemProps2.xml><?xml version="1.0" encoding="utf-8"?>
<ds:datastoreItem xmlns:ds="http://schemas.openxmlformats.org/officeDocument/2006/customXml" ds:itemID="{246627B3-1AF0-41E1-8A4F-8449267153A8}"/>
</file>

<file path=customXml/itemProps3.xml><?xml version="1.0" encoding="utf-8"?>
<ds:datastoreItem xmlns:ds="http://schemas.openxmlformats.org/officeDocument/2006/customXml" ds:itemID="{C12B2526-B81A-4085-8F8F-FE9D35220D15}"/>
</file>

<file path=docMetadata/LabelInfo.xml><?xml version="1.0" encoding="utf-8"?>
<clbl:labelList xmlns:clbl="http://schemas.microsoft.com/office/2020/mipLabelMetadata">
  <clbl:label id="{58cf86ee-526f-4536-9daf-d1ee8064d50e}" enabled="1" method="Standard" siteId="{a1a39996-f913-4016-a58a-361c60dec580}" removed="0"/>
</clbl:labelList>
</file>

<file path=docProps/app.xml><?xml version="1.0" encoding="utf-8"?>
<Properties xmlns="http://schemas.openxmlformats.org/officeDocument/2006/extended-properties" xmlns:vt="http://schemas.openxmlformats.org/officeDocument/2006/docPropsVTypes">
  <Template/>
  <TotalTime>11328</TotalTime>
  <Words>4888</Words>
  <Application>Microsoft Office PowerPoint</Application>
  <PresentationFormat>Widescreen</PresentationFormat>
  <Paragraphs>485</Paragraphs>
  <Slides>37</Slides>
  <Notes>2</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54" baseType="lpstr">
      <vt:lpstr>Apex New Bold</vt:lpstr>
      <vt:lpstr>Apex New Book</vt:lpstr>
      <vt:lpstr>Apex New Medium</vt:lpstr>
      <vt:lpstr>Apex New Medium Italic</vt:lpstr>
      <vt:lpstr>Arial</vt:lpstr>
      <vt:lpstr>Calibri</vt:lpstr>
      <vt:lpstr>Courier New</vt:lpstr>
      <vt:lpstr>Symbol</vt:lpstr>
      <vt:lpstr>Tahoma</vt:lpstr>
      <vt:lpstr>Tahoma Regular</vt:lpstr>
      <vt:lpstr>Times New Roman</vt:lpstr>
      <vt:lpstr>Wingdings</vt:lpstr>
      <vt:lpstr>TEMPLATE MASTER</vt:lpstr>
      <vt:lpstr>Office Theme</vt:lpstr>
      <vt:lpstr>1_TEMPLATE MASTER</vt:lpstr>
      <vt:lpstr>1_Office Theme</vt:lpstr>
      <vt:lpstr>think-cell Slide</vt:lpstr>
      <vt:lpstr>PowerPoint Presentation</vt:lpstr>
      <vt:lpstr>Table of Contents</vt:lpstr>
      <vt:lpstr>Purpose of The Briefing Session</vt:lpstr>
      <vt:lpstr>Tender Process</vt:lpstr>
      <vt:lpstr>Tender Process</vt:lpstr>
      <vt:lpstr>Tender Process (Cont) </vt:lpstr>
      <vt:lpstr>Tender Process</vt:lpstr>
      <vt:lpstr>Tender Process (Cont) </vt:lpstr>
      <vt:lpstr>Tender process (cont.)</vt:lpstr>
      <vt:lpstr>Evaluation process </vt:lpstr>
      <vt:lpstr>Technical Evaluation Methodology</vt:lpstr>
      <vt:lpstr>Technical Evaluation Methodology</vt:lpstr>
      <vt:lpstr>Technical Evaluation Methodology (cont.)</vt:lpstr>
      <vt:lpstr>Technical: Briefing Session RECOVERY (TRACK BULLDOZERS</vt:lpstr>
      <vt:lpstr>PowerPoint Presentation</vt:lpstr>
      <vt:lpstr>The scope of the project is to supply and deliver already customised recovery track bulldozers and the off the shelve excavators and lowbed trailers as per the specification in Annexure A with 7 000hours/7 years fully managed maintenance plan to minimize disruption to operation and ensure prompt recovery during derailment.</vt:lpstr>
      <vt:lpstr>PowerPoint Presentation</vt:lpstr>
      <vt:lpstr>PowerPoint Presentation</vt:lpstr>
      <vt:lpstr>Recovery Excavators and   Lowbed Trailers</vt:lpstr>
      <vt:lpstr>PowerPoint Presentation</vt:lpstr>
      <vt:lpstr>     </vt:lpstr>
      <vt:lpstr>PowerPoint Presentation</vt:lpstr>
      <vt:lpstr>HOAC-HO-51865  SUPPLY AND DELIVERY OF RECOVERY (TRACK BULLDOZERS, EXCAVATORS AND LOW BED TRAILER) EQUIPMENT WITH A FULL MANAGED MAINTENANCE PLAN FOR A PERIOD OF 7 YEARS</vt:lpstr>
      <vt:lpstr>SPECIFIC GOALS</vt:lpstr>
      <vt:lpstr>PREFERENTIAL PROCUREMENT REGULATIONS 2022 </vt:lpstr>
      <vt:lpstr>PowerPoint Presentation</vt:lpstr>
      <vt:lpstr>VALID SWORN AFFIDAVIT</vt:lpstr>
      <vt:lpstr>VALID SWORN AFFIDAVIT</vt:lpstr>
      <vt:lpstr>VALID B-BBEE CERETIFICATE</vt:lpstr>
      <vt:lpstr>CONDITIONS OF CONTRACT (JOB CREATION AND SUBCONTRACTING) </vt:lpstr>
      <vt:lpstr>CONDITIONS OF CONTRACT (JOB CREATION) (Page 50 of 53 of the RFP)  </vt:lpstr>
      <vt:lpstr>CONDITIONS OF CONTRACT (POSSIBLE SUBCONTRATING OPPORTUNITIES) ANNEXURE K  </vt:lpstr>
      <vt:lpstr>SUBCONTRACTING SPECIFIC GOALS POINTS CLAIM FORM AS PAGE 47 OF 53, SECTION 9 </vt:lpstr>
      <vt:lpstr>EVALUATIONS &amp; MAXIMUM POINTS</vt:lpstr>
      <vt:lpstr>           SPECIFIC GOALS EVIDENCE   </vt:lpstr>
      <vt:lpstr>Questions &amp; Answer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Emmanuel Moriri   Transnet Freight Rail   Johannesburg</cp:lastModifiedBy>
  <cp:revision>255</cp:revision>
  <dcterms:created xsi:type="dcterms:W3CDTF">2020-05-19T16:46:16Z</dcterms:created>
  <dcterms:modified xsi:type="dcterms:W3CDTF">2025-11-25T09:4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cf86ee-526f-4536-9daf-d1ee8064d50e_Enabled">
    <vt:lpwstr>true</vt:lpwstr>
  </property>
  <property fmtid="{D5CDD505-2E9C-101B-9397-08002B2CF9AE}" pid="3" name="MSIP_Label_58cf86ee-526f-4536-9daf-d1ee8064d50e_SetDate">
    <vt:lpwstr>2025-01-20T07:49:30Z</vt:lpwstr>
  </property>
  <property fmtid="{D5CDD505-2E9C-101B-9397-08002B2CF9AE}" pid="4" name="MSIP_Label_58cf86ee-526f-4536-9daf-d1ee8064d50e_Method">
    <vt:lpwstr>Standard</vt:lpwstr>
  </property>
  <property fmtid="{D5CDD505-2E9C-101B-9397-08002B2CF9AE}" pid="5" name="MSIP_Label_58cf86ee-526f-4536-9daf-d1ee8064d50e_Name">
    <vt:lpwstr>Internal Only Information</vt:lpwstr>
  </property>
  <property fmtid="{D5CDD505-2E9C-101B-9397-08002B2CF9AE}" pid="6" name="MSIP_Label_58cf86ee-526f-4536-9daf-d1ee8064d50e_SiteId">
    <vt:lpwstr>a1a39996-f913-4016-a58a-361c60dec580</vt:lpwstr>
  </property>
  <property fmtid="{D5CDD505-2E9C-101B-9397-08002B2CF9AE}" pid="7" name="MSIP_Label_58cf86ee-526f-4536-9daf-d1ee8064d50e_ActionId">
    <vt:lpwstr>801d53c9-1d74-4add-ad72-8340170782a8</vt:lpwstr>
  </property>
  <property fmtid="{D5CDD505-2E9C-101B-9397-08002B2CF9AE}" pid="8" name="MSIP_Label_58cf86ee-526f-4536-9daf-d1ee8064d50e_ContentBits">
    <vt:lpwstr>0</vt:lpwstr>
  </property>
</Properties>
</file>